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6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7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8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9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0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1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501" r:id="rId1"/>
  </p:sldMasterIdLst>
  <p:notesMasterIdLst>
    <p:notesMasterId r:id="rId27"/>
  </p:notesMasterIdLst>
  <p:handoutMasterIdLst>
    <p:handoutMasterId r:id="rId28"/>
  </p:handoutMasterIdLst>
  <p:sldIdLst>
    <p:sldId id="256" r:id="rId2"/>
    <p:sldId id="497" r:id="rId3"/>
    <p:sldId id="362" r:id="rId4"/>
    <p:sldId id="374" r:id="rId5"/>
    <p:sldId id="442" r:id="rId6"/>
    <p:sldId id="423" r:id="rId7"/>
    <p:sldId id="452" r:id="rId8"/>
    <p:sldId id="453" r:id="rId9"/>
    <p:sldId id="431" r:id="rId10"/>
    <p:sldId id="434" r:id="rId11"/>
    <p:sldId id="480" r:id="rId12"/>
    <p:sldId id="482" r:id="rId13"/>
    <p:sldId id="439" r:id="rId14"/>
    <p:sldId id="479" r:id="rId15"/>
    <p:sldId id="501" r:id="rId16"/>
    <p:sldId id="502" r:id="rId17"/>
    <p:sldId id="503" r:id="rId18"/>
    <p:sldId id="539" r:id="rId19"/>
    <p:sldId id="504" r:id="rId20"/>
    <p:sldId id="508" r:id="rId21"/>
    <p:sldId id="507" r:id="rId22"/>
    <p:sldId id="509" r:id="rId23"/>
    <p:sldId id="538" r:id="rId24"/>
    <p:sldId id="540" r:id="rId25"/>
    <p:sldId id="541" r:id="rId26"/>
  </p:sldIdLst>
  <p:sldSz cx="9144000" cy="6858000" type="screen4x3"/>
  <p:notesSz cx="6888163" cy="10020300"/>
  <p:custDataLst>
    <p:tags r:id="rId29"/>
  </p:custDataLst>
  <p:defaultTextStyle>
    <a:defPPr>
      <a:defRPr lang="pt-B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E171933-4619-4E11-9A3F-F7608DF75F80}" styleName="Estilo Médio 1 - Ênfas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505E3EF-67EA-436B-97B2-0124C06EBD24}" styleName="Estilo Médio 4 - Ênfase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 varScale="1">
        <p:scale>
          <a:sx n="45" d="100"/>
          <a:sy n="45" d="100"/>
        </p:scale>
        <p:origin x="1236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8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OLAVO\Documents\CODEC\Portugal\DISTANCI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\\AMIANTO\Publica\DMER\Apresenta&#231;&#245;es\gr&#225;fico.xlsx" TargetMode="External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\\AMIANTO\Publica\DMER\Apresenta&#231;&#245;es\gr&#225;fico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95" b="1" i="0" u="none" strike="noStrike" kern="1200" cap="all" spc="100" normalizeH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/>
              <a:t>Valor do investimento (U$ Bilhões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95" b="1" i="0" u="none" strike="noStrike" kern="1200" cap="all" spc="100" normalizeH="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34925" cap="rnd">
              <a:solidFill>
                <a:schemeClr val="lt1"/>
              </a:solidFill>
              <a:round/>
            </a:ln>
            <a:effectLst>
              <a:outerShdw dist="25400" dir="2700000" algn="tl" rotWithShape="0">
                <a:schemeClr val="accent1"/>
              </a:outerShdw>
            </a:effectLst>
          </c:spPr>
          <c:marker>
            <c:symbol val="none"/>
          </c:marker>
          <c:dLbls>
            <c:dLbl>
              <c:idx val="2"/>
              <c:layout>
                <c:manualLayout>
                  <c:x val="-3.2624676493140103E-2"/>
                  <c:y val="-3.03865552652483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DBC-4CB2-B988-3048AEA27352}"/>
                </c:ext>
              </c:extLst>
            </c:dLbl>
            <c:dLbl>
              <c:idx val="3"/>
              <c:layout>
                <c:manualLayout>
                  <c:x val="-3.8504942984477132E-2"/>
                  <c:y val="-3.31489693802709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DBC-4CB2-B988-3048AEA27352}"/>
                </c:ext>
              </c:extLst>
            </c:dLbl>
            <c:dLbl>
              <c:idx val="4"/>
              <c:layout>
                <c:manualLayout>
                  <c:x val="-3.8504942984477243E-2"/>
                  <c:y val="-2.762414115022573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DBC-4CB2-B988-3048AEA27352}"/>
                </c:ext>
              </c:extLst>
            </c:dLbl>
            <c:dLbl>
              <c:idx val="5"/>
              <c:layout>
                <c:manualLayout>
                  <c:x val="-4.7178842605830787E-2"/>
                  <c:y val="-1.93368988051579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DBC-4CB2-B988-3048AEA27352}"/>
                </c:ext>
              </c:extLst>
            </c:dLbl>
            <c:dLbl>
              <c:idx val="6"/>
              <c:layout>
                <c:manualLayout>
                  <c:x val="-3.8111430241812842E-2"/>
                  <c:y val="-4.41986258403611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DBC-4CB2-B988-3048AEA27352}"/>
                </c:ext>
              </c:extLst>
            </c:dLbl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Planilha2!$B$3:$B$9</c:f>
              <c:strCache>
                <c:ptCount val="7"/>
                <c:pt idx="0">
                  <c:v>2000 - 2003</c:v>
                </c:pt>
                <c:pt idx="1">
                  <c:v>2004 - 2005</c:v>
                </c:pt>
                <c:pt idx="2">
                  <c:v>2006 - 2008</c:v>
                </c:pt>
                <c:pt idx="3">
                  <c:v>2009 - 2012</c:v>
                </c:pt>
                <c:pt idx="4">
                  <c:v>2010 - 2014</c:v>
                </c:pt>
                <c:pt idx="5">
                  <c:v>2012 - 2016</c:v>
                </c:pt>
                <c:pt idx="6">
                  <c:v>2015 - 2020</c:v>
                </c:pt>
              </c:strCache>
            </c:strRef>
          </c:cat>
          <c:val>
            <c:numRef>
              <c:f>Planilha2!$C$3:$C$9</c:f>
              <c:numCache>
                <c:formatCode>0</c:formatCode>
                <c:ptCount val="7"/>
                <c:pt idx="0">
                  <c:v>2.2727272727272729</c:v>
                </c:pt>
                <c:pt idx="1">
                  <c:v>0.85227272727272729</c:v>
                </c:pt>
                <c:pt idx="2">
                  <c:v>2.8409090909090908</c:v>
                </c:pt>
                <c:pt idx="3">
                  <c:v>22.727272727272727</c:v>
                </c:pt>
                <c:pt idx="4">
                  <c:v>29.829545454545453</c:v>
                </c:pt>
                <c:pt idx="5">
                  <c:v>36.93181818181818</c:v>
                </c:pt>
                <c:pt idx="6">
                  <c:v>50.8465909090909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DBC-4CB2-B988-3048AEA2735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gradFill>
                <a:gsLst>
                  <a:gs pos="0">
                    <a:schemeClr val="lt1"/>
                  </a:gs>
                  <a:gs pos="100000">
                    <a:schemeClr val="lt1">
                      <a:alpha val="0"/>
                    </a:schemeClr>
                  </a:gs>
                </a:gsLst>
                <a:lin ang="5400000" scaled="0"/>
              </a:gradFill>
              <a:round/>
            </a:ln>
            <a:effectLst/>
          </c:spPr>
        </c:dropLines>
        <c:smooth val="0"/>
        <c:axId val="121659136"/>
        <c:axId val="199220912"/>
      </c:lineChart>
      <c:catAx>
        <c:axId val="1216591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pt-BR"/>
                  <a:t>Períod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spc="1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9220912"/>
        <c:crosses val="autoZero"/>
        <c:auto val="1"/>
        <c:lblAlgn val="ctr"/>
        <c:lblOffset val="100"/>
        <c:noMultiLvlLbl val="0"/>
      </c:catAx>
      <c:valAx>
        <c:axId val="199220912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21659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solidFill>
            <a:schemeClr val="tx1">
              <a:lumMod val="75000"/>
              <a:lumOff val="25000"/>
            </a:schemeClr>
          </a:solidFill>
        </a:defRPr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800" b="1" i="0" baseline="0" dirty="0">
                <a:effectLst/>
              </a:rPr>
              <a:t>REBANHO BUBALINO</a:t>
            </a:r>
            <a:endParaRPr lang="pt-BR" dirty="0">
              <a:effectLst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view3D>
      <c:rotX val="0"/>
      <c:rotY val="0"/>
      <c:depthPercent val="60"/>
      <c:rAngAx val="0"/>
      <c:perspective val="100"/>
    </c:view3D>
    <c:floor>
      <c:thickness val="0"/>
      <c:spPr>
        <a:solidFill>
          <a:schemeClr val="lt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Plan1!$C$1</c:f>
              <c:strCache>
                <c:ptCount val="1"/>
                <c:pt idx="0">
                  <c:v>Rebanho Bubalino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accent1">
                  <a:lumMod val="75000"/>
                </a:schemeClr>
              </a:solidFill>
              <a:round/>
            </a:ln>
            <a:effectLst/>
            <a:sp3d contourW="9525">
              <a:contourClr>
                <a:schemeClr val="accent1">
                  <a:lumMod val="75000"/>
                </a:schemeClr>
              </a:contourClr>
            </a:sp3d>
          </c:spPr>
          <c:invertIfNegative val="0"/>
          <c:dLbls>
            <c:dLbl>
              <c:idx val="0"/>
              <c:layout>
                <c:manualLayout>
                  <c:x val="1.25978065929182E-2"/>
                  <c:y val="-2.877768265784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A95-4D1B-9987-6A7C3F76C4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Plan1!$A$2:$A$8</c:f>
              <c:numCache>
                <c:formatCode>General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Plan1!$C$2:$C$8</c:f>
              <c:numCache>
                <c:formatCode>#,##0</c:formatCode>
                <c:ptCount val="7"/>
                <c:pt idx="0">
                  <c:v>435775</c:v>
                </c:pt>
                <c:pt idx="1">
                  <c:v>442405</c:v>
                </c:pt>
                <c:pt idx="2">
                  <c:v>435937</c:v>
                </c:pt>
                <c:pt idx="3">
                  <c:v>457075</c:v>
                </c:pt>
                <c:pt idx="4">
                  <c:v>485033</c:v>
                </c:pt>
                <c:pt idx="5">
                  <c:v>454079</c:v>
                </c:pt>
                <c:pt idx="6">
                  <c:v>4612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95-4D1B-9987-6A7C3F76C4E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5"/>
        <c:shape val="box"/>
        <c:axId val="199223152"/>
        <c:axId val="199223712"/>
        <c:axId val="0"/>
      </c:bar3DChart>
      <c:catAx>
        <c:axId val="199223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9223712"/>
        <c:crosses val="autoZero"/>
        <c:auto val="1"/>
        <c:lblAlgn val="ctr"/>
        <c:lblOffset val="100"/>
        <c:noMultiLvlLbl val="0"/>
      </c:catAx>
      <c:valAx>
        <c:axId val="199223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9223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baseline="0"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solidFill>
          <a:schemeClr val="bg2">
            <a:lumMod val="75000"/>
            <a:alpha val="27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Rebanho Bovino</c:v>
                </c:pt>
              </c:strCache>
            </c:strRef>
          </c:tx>
          <c:spPr>
            <a:solidFill>
              <a:schemeClr val="accent2">
                <a:alpha val="88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  <a:scene3d>
              <a:camera prst="orthographicFront"/>
              <a:lightRig rig="threePt" dir="t"/>
            </a:scene3d>
            <a:sp3d prstMaterial="flat">
              <a:contourClr>
                <a:schemeClr val="accent2">
                  <a:lumMod val="50000"/>
                </a:schemeClr>
              </a:contourClr>
            </a:sp3d>
          </c:spPr>
          <c:invertIfNegative val="0"/>
          <c:dLbls>
            <c:dLbl>
              <c:idx val="0"/>
              <c:layout>
                <c:manualLayout>
                  <c:x val="-5.1099715563681723E-2"/>
                  <c:y val="-3.33143655268739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B09-49F3-8B28-E3A778F81A44}"/>
                </c:ext>
              </c:extLst>
            </c:dLbl>
            <c:dLbl>
              <c:idx val="1"/>
              <c:layout>
                <c:manualLayout>
                  <c:x val="-4.0257824774643923E-2"/>
                  <c:y val="-4.997120110654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B09-49F3-8B28-E3A778F81A44}"/>
                </c:ext>
              </c:extLst>
            </c:dLbl>
            <c:dLbl>
              <c:idx val="2"/>
              <c:layout>
                <c:manualLayout>
                  <c:x val="-1.5314776809094559E-2"/>
                  <c:y val="-5.53605347185502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B09-49F3-8B28-E3A778F81A44}"/>
                </c:ext>
              </c:extLst>
            </c:dLbl>
            <c:dLbl>
              <c:idx val="3"/>
              <c:layout>
                <c:manualLayout>
                  <c:x val="6.5958876097170997E-3"/>
                  <c:y val="-6.02596448518375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B09-49F3-8B28-E3A778F81A44}"/>
                </c:ext>
              </c:extLst>
            </c:dLbl>
            <c:dLbl>
              <c:idx val="4"/>
              <c:layout>
                <c:manualLayout>
                  <c:x val="3.1539120634679764E-2"/>
                  <c:y val="-6.61388547587958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B09-49F3-8B28-E3A778F81A44}"/>
                </c:ext>
              </c:extLst>
            </c:dLbl>
            <c:dLbl>
              <c:idx val="5"/>
              <c:layout>
                <c:manualLayout>
                  <c:x val="5.602729256227712E-2"/>
                  <c:y val="-7.39772226617954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B09-49F3-8B28-E3A778F81A44}"/>
                </c:ext>
              </c:extLst>
            </c:dLbl>
            <c:dLbl>
              <c:idx val="6"/>
              <c:layout>
                <c:manualLayout>
                  <c:x val="6.8309685824633995E-2"/>
                  <c:y val="-0.1131704509118608"/>
                </c:manualLayout>
              </c:layout>
              <c:spPr>
                <a:noFill/>
                <a:ln>
                  <a:solidFill>
                    <a:schemeClr val="lt1">
                      <a:alpha val="50000"/>
                    </a:schemeClr>
                  </a:solidFill>
                  <a:round/>
                </a:ln>
                <a:effectLst>
                  <a:outerShdw blurRad="63500" dist="889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lt1"/>
                      </a:solidFill>
                      <a:latin typeface="Arial" pitchFamily="34" charset="0"/>
                      <a:ea typeface="+mn-ea"/>
                      <a:cs typeface="Arial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B09-49F3-8B28-E3A778F81A44}"/>
                </c:ext>
              </c:extLst>
            </c:dLbl>
            <c:spPr>
              <a:noFill/>
              <a:ln>
                <a:solidFill>
                  <a:schemeClr val="lt1">
                    <a:alpha val="50000"/>
                  </a:schemeClr>
                </a:solidFill>
                <a:round/>
              </a:ln>
              <a:effectLst>
                <a:outerShdw blurRad="63500" dist="889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lt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1!$A$2:$A$9</c:f>
              <c:numCache>
                <c:formatCode>General</c:formatCode>
                <c:ptCount val="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Plan1!$B$2:$B$8</c:f>
              <c:numCache>
                <c:formatCode>#,##0</c:formatCode>
                <c:ptCount val="7"/>
                <c:pt idx="0">
                  <c:v>15353989</c:v>
                </c:pt>
                <c:pt idx="1">
                  <c:v>16240697</c:v>
                </c:pt>
                <c:pt idx="2">
                  <c:v>16856561</c:v>
                </c:pt>
                <c:pt idx="3">
                  <c:v>17633339</c:v>
                </c:pt>
                <c:pt idx="4">
                  <c:v>18262547</c:v>
                </c:pt>
                <c:pt idx="5">
                  <c:v>18605051</c:v>
                </c:pt>
                <c:pt idx="6">
                  <c:v>196457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B09-49F3-8B28-E3A778F81A4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4"/>
        <c:gapDepth val="53"/>
        <c:shape val="box"/>
        <c:axId val="199225952"/>
        <c:axId val="199226512"/>
        <c:axId val="0"/>
      </c:bar3DChart>
      <c:catAx>
        <c:axId val="199225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9226512"/>
        <c:crosses val="autoZero"/>
        <c:auto val="1"/>
        <c:lblAlgn val="ctr"/>
        <c:lblOffset val="100"/>
        <c:noMultiLvlLbl val="0"/>
      </c:catAx>
      <c:valAx>
        <c:axId val="199226512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99225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dk1">
        <a:lumMod val="75000"/>
        <a:lumOff val="25000"/>
      </a:schemeClr>
    </a:solidFill>
    <a:ln w="6350" cap="flat" cmpd="sng" algn="ctr">
      <a:solidFill>
        <a:schemeClr val="dk1">
          <a:tint val="7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9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spPr>
      <a:ln w="12700" cap="flat" cmpd="sng" algn="ctr">
        <a:solidFill>
          <a:schemeClr val="lt1"/>
        </a:solidFill>
        <a:round/>
      </a:ln>
    </cs:spPr>
    <cs:defRPr sz="1197" kern="1200" spc="10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lt1"/>
        </a:bgClr>
      </a:patt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lt1"/>
        </a:bgClr>
      </a:pattFill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lt1"/>
            </a:gs>
            <a:gs pos="100000">
              <a:schemeClr val="lt1">
                <a:alpha val="0"/>
              </a:schemeClr>
            </a:gs>
          </a:gsLst>
          <a:lin ang="5400000" scaled="0"/>
        </a:gradFill>
        <a:round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/>
    <cs:effectRef idx="0"/>
    <cs:fontRef idx="minor">
      <a:schemeClr val="dk1"/>
    </cs:fontRef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alpha val="25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alpha val="1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image" Target="../media/image2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1576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901698" y="0"/>
            <a:ext cx="2984871" cy="501576"/>
          </a:xfrm>
          <a:prstGeom prst="rect">
            <a:avLst/>
          </a:prstGeom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9026703E-951E-4A9A-92CE-6D7AB0074149}" type="datetimeFigureOut">
              <a:rPr lang="pt-BR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518724"/>
            <a:ext cx="2984871" cy="501576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901698" y="9518724"/>
            <a:ext cx="2984871" cy="501576"/>
          </a:xfrm>
          <a:prstGeom prst="rect">
            <a:avLst/>
          </a:prstGeom>
        </p:spPr>
        <p:txBody>
          <a:bodyPr vert="horz" wrap="square" lIns="92108" tIns="46054" rIns="92108" bIns="4605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C2E811E-EBBE-4EF8-92B6-C873951181BE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3560211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499973"/>
          </a:xfrm>
          <a:prstGeom prst="rect">
            <a:avLst/>
          </a:prstGeom>
        </p:spPr>
        <p:txBody>
          <a:bodyPr vert="horz" lIns="93608" tIns="46804" rIns="93608" bIns="46804" rtlCol="0"/>
          <a:lstStyle>
            <a:lvl1pPr algn="l" eaLnBrk="1" hangingPunct="1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901698" y="0"/>
            <a:ext cx="2984871" cy="499973"/>
          </a:xfrm>
          <a:prstGeom prst="rect">
            <a:avLst/>
          </a:prstGeom>
        </p:spPr>
        <p:txBody>
          <a:bodyPr vert="horz" wrap="square" lIns="93608" tIns="46804" rIns="93608" bIns="4680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DFDCD58B-9E20-4ED1-BE26-D8CA6489FA5B}" type="datetimeFigureOut">
              <a:rPr lang="pt-BR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38213" y="750888"/>
            <a:ext cx="5011737" cy="3759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08" tIns="46804" rIns="93608" bIns="46804" rtlCol="0" anchor="ctr"/>
          <a:lstStyle/>
          <a:p>
            <a:pPr lvl="0"/>
            <a:endParaRPr lang="pt-BR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8817" y="4759362"/>
            <a:ext cx="5510530" cy="4509375"/>
          </a:xfrm>
          <a:prstGeom prst="rect">
            <a:avLst/>
          </a:prstGeom>
        </p:spPr>
        <p:txBody>
          <a:bodyPr vert="horz" wrap="square" lIns="93608" tIns="46804" rIns="93608" bIns="4680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pt-BR" noProof="0"/>
              <a:t>Clique para editar os estilos do texto mestre</a:t>
            </a:r>
          </a:p>
          <a:p>
            <a:pPr lvl="1"/>
            <a:r>
              <a:rPr lang="pt-BR" noProof="0"/>
              <a:t>Segundo nível</a:t>
            </a:r>
          </a:p>
          <a:p>
            <a:pPr lvl="2"/>
            <a:r>
              <a:rPr lang="pt-BR" noProof="0"/>
              <a:t>Terceiro nível</a:t>
            </a:r>
          </a:p>
          <a:p>
            <a:pPr lvl="3"/>
            <a:r>
              <a:rPr lang="pt-BR" noProof="0"/>
              <a:t>Quarto nível</a:t>
            </a:r>
          </a:p>
          <a:p>
            <a:pPr lvl="4"/>
            <a:r>
              <a:rPr lang="pt-BR" noProof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517122"/>
            <a:ext cx="2984871" cy="501575"/>
          </a:xfrm>
          <a:prstGeom prst="rect">
            <a:avLst/>
          </a:prstGeom>
        </p:spPr>
        <p:txBody>
          <a:bodyPr vert="horz" lIns="93608" tIns="46804" rIns="93608" bIns="46804" rtlCol="0" anchor="b"/>
          <a:lstStyle>
            <a:lvl1pPr algn="l" eaLnBrk="1" hangingPunct="1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901698" y="9517122"/>
            <a:ext cx="2984871" cy="501575"/>
          </a:xfrm>
          <a:prstGeom prst="rect">
            <a:avLst/>
          </a:prstGeom>
        </p:spPr>
        <p:txBody>
          <a:bodyPr vert="horz" wrap="square" lIns="93608" tIns="46804" rIns="93608" bIns="4680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2D3B346B-0BAB-4C04-8623-3AFCA77BB4F3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58305872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CH" altLang="pt-BR"/>
          </a:p>
        </p:txBody>
      </p:sp>
    </p:spTree>
    <p:extLst>
      <p:ext uri="{BB962C8B-B14F-4D97-AF65-F5344CB8AC3E}">
        <p14:creationId xmlns:p14="http://schemas.microsoft.com/office/powerpoint/2010/main" val="41455383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41895" y="3426719"/>
            <a:ext cx="8859476" cy="246221"/>
          </a:xfrm>
        </p:spPr>
        <p:txBody>
          <a:bodyPr>
            <a:normAutofit fontScale="92500" lnSpcReduction="10000"/>
          </a:bodyPr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2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434921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77498" y="3930749"/>
            <a:ext cx="8181813" cy="246221"/>
          </a:xfrm>
        </p:spPr>
        <p:txBody>
          <a:bodyPr>
            <a:normAutofit fontScale="92500" lnSpcReduction="10000"/>
          </a:bodyPr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2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676202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6562" name="Notes Placeholder 2"/>
          <p:cNvSpPr>
            <a:spLocks noGrp="1"/>
          </p:cNvSpPr>
          <p:nvPr>
            <p:ph type="body" idx="1"/>
          </p:nvPr>
        </p:nvSpPr>
        <p:spPr>
          <a:xfrm>
            <a:off x="839996" y="3448566"/>
            <a:ext cx="8843975" cy="246221"/>
          </a:xfrm>
        </p:spPr>
        <p:txBody>
          <a:bodyPr>
            <a:normAutofit fontScale="92500" lnSpcReduction="10000"/>
          </a:bodyPr>
          <a:lstStyle/>
          <a:p>
            <a:endParaRPr lang="pt-BR" altLang="pt-BR">
              <a:latin typeface="Arial" panose="020B0604020202020204" pitchFamily="34" charset="0"/>
            </a:endParaRPr>
          </a:p>
        </p:txBody>
      </p:sp>
      <p:sp>
        <p:nvSpPr>
          <p:cNvPr id="6656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E5F7054-35FF-433C-AC11-E4B09CFA32D8}" type="slidenum">
              <a:rPr lang="pt-BR" altLang="pt-BR" sz="1200"/>
              <a:pPr/>
              <a:t>23</a:t>
            </a:fld>
            <a:endParaRPr lang="pt-BR" altLang="pt-BR" sz="1200"/>
          </a:p>
        </p:txBody>
      </p:sp>
    </p:spTree>
    <p:extLst>
      <p:ext uri="{BB962C8B-B14F-4D97-AF65-F5344CB8AC3E}">
        <p14:creationId xmlns:p14="http://schemas.microsoft.com/office/powerpoint/2010/main" val="1960434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089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CH" altLang="pt-BR"/>
          </a:p>
        </p:txBody>
      </p:sp>
    </p:spTree>
    <p:extLst>
      <p:ext uri="{BB962C8B-B14F-4D97-AF65-F5344CB8AC3E}">
        <p14:creationId xmlns:p14="http://schemas.microsoft.com/office/powerpoint/2010/main" val="2186775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CH" altLang="pt-BR"/>
          </a:p>
        </p:txBody>
      </p:sp>
    </p:spTree>
    <p:extLst>
      <p:ext uri="{BB962C8B-B14F-4D97-AF65-F5344CB8AC3E}">
        <p14:creationId xmlns:p14="http://schemas.microsoft.com/office/powerpoint/2010/main" val="32412519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2947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CH" altLang="pt-BR"/>
          </a:p>
        </p:txBody>
      </p:sp>
    </p:spTree>
    <p:extLst>
      <p:ext uri="{BB962C8B-B14F-4D97-AF65-F5344CB8AC3E}">
        <p14:creationId xmlns:p14="http://schemas.microsoft.com/office/powerpoint/2010/main" val="32015040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397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CH" altLang="pt-BR"/>
          </a:p>
        </p:txBody>
      </p:sp>
    </p:spTree>
    <p:extLst>
      <p:ext uri="{BB962C8B-B14F-4D97-AF65-F5344CB8AC3E}">
        <p14:creationId xmlns:p14="http://schemas.microsoft.com/office/powerpoint/2010/main" val="36475690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6" name="Notes Placeholder 2"/>
          <p:cNvSpPr>
            <a:spLocks noGrp="1"/>
          </p:cNvSpPr>
          <p:nvPr>
            <p:ph type="body" idx="1"/>
          </p:nvPr>
        </p:nvSpPr>
        <p:spPr>
          <a:xfrm>
            <a:off x="811830" y="3701192"/>
            <a:ext cx="8539125" cy="246221"/>
          </a:xfrm>
        </p:spPr>
        <p:txBody>
          <a:bodyPr>
            <a:normAutofit fontScale="92500" lnSpcReduction="10000"/>
          </a:bodyPr>
          <a:lstStyle/>
          <a:p>
            <a:endParaRPr lang="pt-BR" altLang="pt-BR">
              <a:latin typeface="Arial" panose="020B0604020202020204" pitchFamily="34" charset="0"/>
            </a:endParaRPr>
          </a:p>
        </p:txBody>
      </p:sp>
      <p:sp>
        <p:nvSpPr>
          <p:cNvPr id="4198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2ACC4F3D-99BE-42BC-9357-9E8F47AB0C27}" type="slidenum">
              <a:rPr lang="pt-BR" altLang="pt-BR" sz="1200"/>
              <a:pPr/>
              <a:t>16</a:t>
            </a:fld>
            <a:endParaRPr lang="pt-BR" altLang="pt-BR" sz="1200"/>
          </a:p>
        </p:txBody>
      </p:sp>
    </p:spTree>
    <p:extLst>
      <p:ext uri="{BB962C8B-B14F-4D97-AF65-F5344CB8AC3E}">
        <p14:creationId xmlns:p14="http://schemas.microsoft.com/office/powerpoint/2010/main" val="34895114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77498" y="3930749"/>
            <a:ext cx="8181813" cy="246221"/>
          </a:xfrm>
        </p:spPr>
        <p:txBody>
          <a:bodyPr>
            <a:normAutofit fontScale="92500" lnSpcReduction="10000"/>
          </a:bodyPr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1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723706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80918" y="3967838"/>
            <a:ext cx="8217798" cy="248544"/>
          </a:xfrm>
        </p:spPr>
        <p:txBody>
          <a:bodyPr>
            <a:normAutofit fontScale="92500" lnSpcReduction="10000"/>
          </a:bodyPr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18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416445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77498" y="3930749"/>
            <a:ext cx="8181813" cy="246221"/>
          </a:xfrm>
        </p:spPr>
        <p:txBody>
          <a:bodyPr>
            <a:normAutofit fontScale="92500" lnSpcReduction="10000"/>
          </a:bodyPr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pt-BR" smtClean="0"/>
              <a:pPr>
                <a:defRPr/>
              </a:pPr>
              <a:t>19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024071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CF9A82D-6AA1-4B67-A2D5-8ED8A9DD35F5}" type="datetimeFigureOut">
              <a:rPr lang="pt-BR" smtClean="0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F294D-D524-4C46-A897-7F1759F73336}" type="slidenum">
              <a:rPr lang="pt-BR" altLang="pt-BR" smtClean="0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97623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6FE669-C477-4566-AA44-194269D99071}" type="datetimeFigureOut">
              <a:rPr lang="pt-BR" smtClean="0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B74DD-B7CA-450F-9B90-190C0D000810}" type="slidenum">
              <a:rPr lang="pt-BR" altLang="pt-BR" smtClean="0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84476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B073554-6DAA-4D97-AFFB-608270D21B87}" type="datetimeFigureOut">
              <a:rPr lang="pt-BR" smtClean="0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1FC17-9DFE-4BBC-B3EA-81A90386712B}" type="slidenum">
              <a:rPr lang="pt-BR" altLang="pt-BR" smtClean="0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84523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pt-BR" sz="1020" smtClean="0"/>
              <a:pPr lvl="0"/>
              <a:t>‹nº›</a:t>
            </a:fld>
            <a:endParaRPr lang="pt-BR" sz="1020" dirty="0"/>
          </a:p>
        </p:txBody>
      </p:sp>
      <p:sp>
        <p:nvSpPr>
          <p:cNvPr id="4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590626" y="6534052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/>
            <a:r>
              <a:rPr lang="pt-BR" sz="1224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69912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9371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79022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256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04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642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088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89500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99CC1D4-98E9-4F52-A2EE-D49FB80E4416}" type="datetimeFigureOut">
              <a:rPr lang="pt-BR" smtClean="0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FA8A8A-1FEA-4C03-9C59-49524CE07E51}" type="slidenum">
              <a:rPr lang="pt-BR" altLang="pt-BR" smtClean="0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504666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1148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643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2143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459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2985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89615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5916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8731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34723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858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FA2C440-9559-4838-A6C9-C247F99E393B}" type="datetimeFigureOut">
              <a:rPr lang="pt-BR" smtClean="0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27D804-9B1A-48C4-AB66-22CE7DB3EA54}" type="slidenum">
              <a:rPr lang="pt-BR" altLang="pt-BR" smtClean="0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23384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7630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7768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4857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337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98394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086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63763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1546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85775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0604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5B9B801-D2E9-4FF0-8AC4-EB96977B22CB}" type="datetimeFigureOut">
              <a:rPr lang="pt-BR" smtClean="0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EB94CB-9189-48BA-8CD7-8F7FA854813A}" type="slidenum">
              <a:rPr lang="pt-BR" altLang="pt-BR" smtClean="0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07360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31924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3225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23149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7385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86340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1445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953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8783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6"/>
          <p:cNvGrpSpPr>
            <a:grpSpLocks/>
          </p:cNvGrpSpPr>
          <p:nvPr userDrawn="1"/>
        </p:nvGrpSpPr>
        <p:grpSpPr bwMode="auto">
          <a:xfrm>
            <a:off x="0" y="0"/>
            <a:ext cx="9144000" cy="6856413"/>
            <a:chOff x="0" y="0"/>
            <a:chExt cx="9144000" cy="6856413"/>
          </a:xfrm>
        </p:grpSpPr>
        <p:pic>
          <p:nvPicPr>
            <p:cNvPr id="3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588"/>
              <a:ext cx="9144000" cy="6854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Imagem 6" descr="SEDIP.jpg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000" b="88445"/>
            <a:stretch>
              <a:fillRect/>
            </a:stretch>
          </p:blipFill>
          <p:spPr bwMode="auto">
            <a:xfrm>
              <a:off x="2843808" y="0"/>
              <a:ext cx="4572000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ângulo 4"/>
            <p:cNvSpPr/>
            <p:nvPr userDrawn="1"/>
          </p:nvSpPr>
          <p:spPr>
            <a:xfrm>
              <a:off x="5651500" y="80963"/>
              <a:ext cx="1800225" cy="5762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eaLnBrk="1" hangingPunct="1">
                <a:defRPr/>
              </a:pP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Secretaria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de</a:t>
              </a:r>
              <a:r>
                <a:rPr lang="pt-BR" sz="1100" b="1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pt-BR" sz="900" b="1">
                  <a:solidFill>
                    <a:srgbClr val="FFFFFF"/>
                  </a:solidFill>
                  <a:ea typeface="ＭＳ Ｐゴシック" pitchFamily="34" charset="-128"/>
                </a:rPr>
                <a:t>Estado de Indústria, Comércio e Mineraç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53278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1CB19D5-54ED-4484-A72D-0F3AB025162C}" type="datetimeFigureOut">
              <a:rPr lang="pt-BR" smtClean="0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BF3C16-F12E-4D12-A874-C5244798D999}" type="slidenum">
              <a:rPr lang="pt-BR" altLang="pt-BR" smtClean="0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74055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2A73CEE-17BC-406A-9C65-AE6B5303BAD3}" type="datetimeFigureOut">
              <a:rPr lang="pt-BR" smtClean="0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053F5B-9976-4631-9265-9D132CB7B293}" type="slidenum">
              <a:rPr lang="pt-BR" altLang="pt-BR" smtClean="0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58700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35B5DB-6196-45B7-8995-BD20FD63D39A}" type="datetimeFigureOut">
              <a:rPr lang="pt-BR" smtClean="0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34E7FA-6521-454F-A380-17EAB4EFEB84}" type="slidenum">
              <a:rPr lang="pt-BR" altLang="pt-BR" smtClean="0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66200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AA07580-E213-4410-8388-F78CD01EEFF4}" type="datetimeFigureOut">
              <a:rPr lang="pt-BR" smtClean="0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E5B65-5C6E-4A95-B226-2C015F5B2082}" type="slidenum">
              <a:rPr lang="pt-BR" altLang="pt-BR" smtClean="0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41160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64F0031-706C-4031-84F8-7A88B403A0A4}" type="datetimeFigureOut">
              <a:rPr lang="pt-BR" smtClean="0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DBB54-191A-4651-9580-E40B5D124C8D}" type="slidenum">
              <a:rPr lang="pt-BR" altLang="pt-BR" smtClean="0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79901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D7CFDD9-6689-4957-AAA5-C8BC83845968}" type="datetimeFigureOut">
              <a:rPr lang="pt-BR" smtClean="0"/>
              <a:pPr>
                <a:defRPr/>
              </a:pPr>
              <a:t>08/09/2016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09D44A-A613-457A-83CD-7827AE253217}" type="slidenum">
              <a:rPr lang="pt-BR" altLang="pt-BR" smtClean="0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780223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02" r:id="rId1"/>
    <p:sldLayoutId id="2147486503" r:id="rId2"/>
    <p:sldLayoutId id="2147486504" r:id="rId3"/>
    <p:sldLayoutId id="2147486505" r:id="rId4"/>
    <p:sldLayoutId id="2147486506" r:id="rId5"/>
    <p:sldLayoutId id="2147486507" r:id="rId6"/>
    <p:sldLayoutId id="2147486508" r:id="rId7"/>
    <p:sldLayoutId id="2147486509" r:id="rId8"/>
    <p:sldLayoutId id="2147486510" r:id="rId9"/>
    <p:sldLayoutId id="2147486511" r:id="rId10"/>
    <p:sldLayoutId id="2147486512" r:id="rId11"/>
    <p:sldLayoutId id="2147486513" r:id="rId12"/>
    <p:sldLayoutId id="2147486464" r:id="rId13"/>
    <p:sldLayoutId id="2147486465" r:id="rId14"/>
    <p:sldLayoutId id="2147486466" r:id="rId15"/>
    <p:sldLayoutId id="2147486467" r:id="rId16"/>
    <p:sldLayoutId id="2147486468" r:id="rId17"/>
    <p:sldLayoutId id="2147486469" r:id="rId18"/>
    <p:sldLayoutId id="2147486470" r:id="rId19"/>
    <p:sldLayoutId id="2147486471" r:id="rId20"/>
    <p:sldLayoutId id="2147486472" r:id="rId21"/>
    <p:sldLayoutId id="2147486473" r:id="rId22"/>
    <p:sldLayoutId id="2147486474" r:id="rId23"/>
    <p:sldLayoutId id="2147486475" r:id="rId24"/>
    <p:sldLayoutId id="2147486476" r:id="rId25"/>
    <p:sldLayoutId id="2147486477" r:id="rId26"/>
    <p:sldLayoutId id="2147486478" r:id="rId27"/>
    <p:sldLayoutId id="2147486479" r:id="rId28"/>
    <p:sldLayoutId id="2147486480" r:id="rId29"/>
    <p:sldLayoutId id="2147486481" r:id="rId30"/>
    <p:sldLayoutId id="2147486482" r:id="rId31"/>
    <p:sldLayoutId id="2147486483" r:id="rId32"/>
    <p:sldLayoutId id="2147486484" r:id="rId33"/>
    <p:sldLayoutId id="2147486485" r:id="rId34"/>
    <p:sldLayoutId id="2147486486" r:id="rId35"/>
    <p:sldLayoutId id="2147486487" r:id="rId36"/>
    <p:sldLayoutId id="2147486488" r:id="rId37"/>
    <p:sldLayoutId id="2147486489" r:id="rId38"/>
    <p:sldLayoutId id="2147486490" r:id="rId39"/>
    <p:sldLayoutId id="2147486491" r:id="rId40"/>
    <p:sldLayoutId id="2147486492" r:id="rId41"/>
    <p:sldLayoutId id="2147486493" r:id="rId42"/>
    <p:sldLayoutId id="2147486494" r:id="rId43"/>
    <p:sldLayoutId id="2147486495" r:id="rId44"/>
    <p:sldLayoutId id="2147486496" r:id="rId45"/>
    <p:sldLayoutId id="2147486497" r:id="rId46"/>
    <p:sldLayoutId id="2147486498" r:id="rId47"/>
    <p:sldLayoutId id="2147486499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24.png"/><Relationship Id="rId2" Type="http://schemas.openxmlformats.org/officeDocument/2006/relationships/tags" Target="../tags/tag4.xml"/><Relationship Id="rId16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tags" Target="../tags/tag42.xml"/><Relationship Id="rId39" Type="http://schemas.openxmlformats.org/officeDocument/2006/relationships/tags" Target="../tags/tag55.xml"/><Relationship Id="rId3" Type="http://schemas.openxmlformats.org/officeDocument/2006/relationships/tags" Target="../tags/tag19.xml"/><Relationship Id="rId21" Type="http://schemas.openxmlformats.org/officeDocument/2006/relationships/tags" Target="../tags/tag37.xml"/><Relationship Id="rId34" Type="http://schemas.openxmlformats.org/officeDocument/2006/relationships/tags" Target="../tags/tag50.xml"/><Relationship Id="rId42" Type="http://schemas.openxmlformats.org/officeDocument/2006/relationships/image" Target="../media/image25.emf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33" Type="http://schemas.openxmlformats.org/officeDocument/2006/relationships/tags" Target="../tags/tag49.xml"/><Relationship Id="rId38" Type="http://schemas.openxmlformats.org/officeDocument/2006/relationships/tags" Target="../tags/tag54.xml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29" Type="http://schemas.openxmlformats.org/officeDocument/2006/relationships/tags" Target="../tags/tag45.xml"/><Relationship Id="rId41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32" Type="http://schemas.openxmlformats.org/officeDocument/2006/relationships/tags" Target="../tags/tag48.xml"/><Relationship Id="rId37" Type="http://schemas.openxmlformats.org/officeDocument/2006/relationships/tags" Target="../tags/tag53.xml"/><Relationship Id="rId40" Type="http://schemas.openxmlformats.org/officeDocument/2006/relationships/slideLayout" Target="../slideLayouts/slideLayout7.xml"/><Relationship Id="rId45" Type="http://schemas.openxmlformats.org/officeDocument/2006/relationships/image" Target="../media/image27.jpeg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28" Type="http://schemas.openxmlformats.org/officeDocument/2006/relationships/tags" Target="../tags/tag44.xml"/><Relationship Id="rId36" Type="http://schemas.openxmlformats.org/officeDocument/2006/relationships/tags" Target="../tags/tag52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31" Type="http://schemas.openxmlformats.org/officeDocument/2006/relationships/tags" Target="../tags/tag47.xml"/><Relationship Id="rId44" Type="http://schemas.openxmlformats.org/officeDocument/2006/relationships/image" Target="../media/image26.emf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tags" Target="../tags/tag43.xml"/><Relationship Id="rId30" Type="http://schemas.openxmlformats.org/officeDocument/2006/relationships/tags" Target="../tags/tag46.xml"/><Relationship Id="rId35" Type="http://schemas.openxmlformats.org/officeDocument/2006/relationships/tags" Target="../tags/tag51.xml"/><Relationship Id="rId43" Type="http://schemas.openxmlformats.org/officeDocument/2006/relationships/oleObject" Target="../embeddings/oleObject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png"/><Relationship Id="rId4" Type="http://schemas.openxmlformats.org/officeDocument/2006/relationships/chart" Target="../charts/char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57.xml"/><Relationship Id="rId7" Type="http://schemas.openxmlformats.org/officeDocument/2006/relationships/image" Target="../media/image3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5.jpe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34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tags" Target="../tags/tag59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38.png"/><Relationship Id="rId2" Type="http://schemas.openxmlformats.org/officeDocument/2006/relationships/tags" Target="../tags/tag58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7.xml"/><Relationship Id="rId11" Type="http://schemas.openxmlformats.org/officeDocument/2006/relationships/image" Target="../media/image37.png"/><Relationship Id="rId5" Type="http://schemas.openxmlformats.org/officeDocument/2006/relationships/slideLayout" Target="../slideLayouts/slideLayout12.xml"/><Relationship Id="rId10" Type="http://schemas.microsoft.com/office/2007/relationships/hdphoto" Target="../media/hdphoto2.wdp"/><Relationship Id="rId4" Type="http://schemas.openxmlformats.org/officeDocument/2006/relationships/tags" Target="../tags/tag60.xml"/><Relationship Id="rId9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41.jpeg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image" Target="../media/image40.emf"/><Relationship Id="rId2" Type="http://schemas.openxmlformats.org/officeDocument/2006/relationships/tags" Target="../tags/tag61.xml"/><Relationship Id="rId1" Type="http://schemas.openxmlformats.org/officeDocument/2006/relationships/vmlDrawing" Target="../drawings/vmlDrawing5.vml"/><Relationship Id="rId6" Type="http://schemas.openxmlformats.org/officeDocument/2006/relationships/tags" Target="../tags/tag65.xml"/><Relationship Id="rId11" Type="http://schemas.openxmlformats.org/officeDocument/2006/relationships/image" Target="../media/image39.emf"/><Relationship Id="rId5" Type="http://schemas.openxmlformats.org/officeDocument/2006/relationships/tags" Target="../tags/tag64.xml"/><Relationship Id="rId10" Type="http://schemas.openxmlformats.org/officeDocument/2006/relationships/oleObject" Target="../embeddings/oleObject6.bin"/><Relationship Id="rId4" Type="http://schemas.openxmlformats.org/officeDocument/2006/relationships/tags" Target="../tags/tag63.xml"/><Relationship Id="rId9" Type="http://schemas.openxmlformats.org/officeDocument/2006/relationships/notesSlide" Target="../notesSlides/notesSlide8.xml"/><Relationship Id="rId1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68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70.xml"/><Relationship Id="rId10" Type="http://schemas.openxmlformats.org/officeDocument/2006/relationships/image" Target="../media/image43.jpeg"/><Relationship Id="rId4" Type="http://schemas.openxmlformats.org/officeDocument/2006/relationships/tags" Target="../tags/tag69.xml"/><Relationship Id="rId9" Type="http://schemas.openxmlformats.org/officeDocument/2006/relationships/image" Target="../media/image3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13" Type="http://schemas.openxmlformats.org/officeDocument/2006/relationships/image" Target="../media/image49.emf"/><Relationship Id="rId18" Type="http://schemas.openxmlformats.org/officeDocument/2006/relationships/image" Target="../media/image53.emf"/><Relationship Id="rId3" Type="http://schemas.openxmlformats.org/officeDocument/2006/relationships/tags" Target="../tags/tag72.xml"/><Relationship Id="rId21" Type="http://schemas.openxmlformats.org/officeDocument/2006/relationships/image" Target="../media/image56.emf"/><Relationship Id="rId7" Type="http://schemas.openxmlformats.org/officeDocument/2006/relationships/oleObject" Target="../embeddings/oleObject8.bin"/><Relationship Id="rId12" Type="http://schemas.openxmlformats.org/officeDocument/2006/relationships/image" Target="../media/image48.emf"/><Relationship Id="rId17" Type="http://schemas.openxmlformats.org/officeDocument/2006/relationships/image" Target="../media/image52.emf"/><Relationship Id="rId2" Type="http://schemas.openxmlformats.org/officeDocument/2006/relationships/tags" Target="../tags/tag71.xml"/><Relationship Id="rId16" Type="http://schemas.openxmlformats.org/officeDocument/2006/relationships/image" Target="../media/image51.emf"/><Relationship Id="rId20" Type="http://schemas.openxmlformats.org/officeDocument/2006/relationships/image" Target="../media/image55.emf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10.xml"/><Relationship Id="rId11" Type="http://schemas.openxmlformats.org/officeDocument/2006/relationships/image" Target="../media/image47.emf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50.emf"/><Relationship Id="rId10" Type="http://schemas.openxmlformats.org/officeDocument/2006/relationships/image" Target="../media/image46.emf"/><Relationship Id="rId19" Type="http://schemas.openxmlformats.org/officeDocument/2006/relationships/image" Target="../media/image54.emf"/><Relationship Id="rId4" Type="http://schemas.openxmlformats.org/officeDocument/2006/relationships/tags" Target="../tags/tag73.xml"/><Relationship Id="rId9" Type="http://schemas.openxmlformats.org/officeDocument/2006/relationships/image" Target="../media/image45.emf"/><Relationship Id="rId14" Type="http://schemas.openxmlformats.org/officeDocument/2006/relationships/image" Target="../media/image40.emf"/><Relationship Id="rId22" Type="http://schemas.openxmlformats.org/officeDocument/2006/relationships/image" Target="../media/image57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slideLayout" Target="../slideLayouts/slideLayout12.xml"/><Relationship Id="rId18" Type="http://schemas.openxmlformats.org/officeDocument/2006/relationships/image" Target="../media/image45.emf"/><Relationship Id="rId26" Type="http://schemas.openxmlformats.org/officeDocument/2006/relationships/image" Target="../media/image53.emf"/><Relationship Id="rId3" Type="http://schemas.openxmlformats.org/officeDocument/2006/relationships/tags" Target="../tags/tag75.xml"/><Relationship Id="rId21" Type="http://schemas.openxmlformats.org/officeDocument/2006/relationships/image" Target="../media/image48.emf"/><Relationship Id="rId34" Type="http://schemas.openxmlformats.org/officeDocument/2006/relationships/image" Target="../media/image63.emf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microsoft.com/office/2007/relationships/hdphoto" Target="../media/hdphoto3.wdp"/><Relationship Id="rId25" Type="http://schemas.openxmlformats.org/officeDocument/2006/relationships/image" Target="../media/image52.emf"/><Relationship Id="rId33" Type="http://schemas.openxmlformats.org/officeDocument/2006/relationships/image" Target="../media/image62.emf"/><Relationship Id="rId38" Type="http://schemas.openxmlformats.org/officeDocument/2006/relationships/image" Target="../media/image55.emf"/><Relationship Id="rId2" Type="http://schemas.openxmlformats.org/officeDocument/2006/relationships/tags" Target="../tags/tag74.xml"/><Relationship Id="rId16" Type="http://schemas.openxmlformats.org/officeDocument/2006/relationships/image" Target="../media/image58.png"/><Relationship Id="rId20" Type="http://schemas.openxmlformats.org/officeDocument/2006/relationships/image" Target="../media/image47.emf"/><Relationship Id="rId29" Type="http://schemas.openxmlformats.org/officeDocument/2006/relationships/image" Target="../media/image59.emf"/><Relationship Id="rId1" Type="http://schemas.openxmlformats.org/officeDocument/2006/relationships/vmlDrawing" Target="../drawings/vmlDrawing8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image" Target="../media/image51.emf"/><Relationship Id="rId32" Type="http://schemas.openxmlformats.org/officeDocument/2006/relationships/image" Target="../media/image61.emf"/><Relationship Id="rId37" Type="http://schemas.openxmlformats.org/officeDocument/2006/relationships/image" Target="../media/image65.emf"/><Relationship Id="rId5" Type="http://schemas.openxmlformats.org/officeDocument/2006/relationships/tags" Target="../tags/tag77.xml"/><Relationship Id="rId15" Type="http://schemas.openxmlformats.org/officeDocument/2006/relationships/image" Target="../media/image44.emf"/><Relationship Id="rId23" Type="http://schemas.openxmlformats.org/officeDocument/2006/relationships/image" Target="../media/image50.emf"/><Relationship Id="rId28" Type="http://schemas.openxmlformats.org/officeDocument/2006/relationships/image" Target="../media/image40.emf"/><Relationship Id="rId36" Type="http://schemas.openxmlformats.org/officeDocument/2006/relationships/image" Target="../media/image57.emf"/><Relationship Id="rId10" Type="http://schemas.openxmlformats.org/officeDocument/2006/relationships/tags" Target="../tags/tag82.xml"/><Relationship Id="rId19" Type="http://schemas.openxmlformats.org/officeDocument/2006/relationships/image" Target="../media/image46.emf"/><Relationship Id="rId31" Type="http://schemas.openxmlformats.org/officeDocument/2006/relationships/image" Target="../media/image60.emf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oleObject" Target="../embeddings/oleObject9.bin"/><Relationship Id="rId22" Type="http://schemas.openxmlformats.org/officeDocument/2006/relationships/image" Target="../media/image49.emf"/><Relationship Id="rId27" Type="http://schemas.openxmlformats.org/officeDocument/2006/relationships/image" Target="../media/image54.emf"/><Relationship Id="rId30" Type="http://schemas.openxmlformats.org/officeDocument/2006/relationships/image" Target="../media/image56.emf"/><Relationship Id="rId35" Type="http://schemas.openxmlformats.org/officeDocument/2006/relationships/image" Target="../media/image64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emf"/><Relationship Id="rId3" Type="http://schemas.openxmlformats.org/officeDocument/2006/relationships/tags" Target="../tags/tag86.xml"/><Relationship Id="rId7" Type="http://schemas.openxmlformats.org/officeDocument/2006/relationships/oleObject" Target="../embeddings/oleObject10.bin"/><Relationship Id="rId2" Type="http://schemas.openxmlformats.org/officeDocument/2006/relationships/tags" Target="../tags/tag8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6.pn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39.emf"/><Relationship Id="rId2" Type="http://schemas.openxmlformats.org/officeDocument/2006/relationships/tags" Target="../tags/tag8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CaixaDeTexto 1"/>
          <p:cNvSpPr txBox="1">
            <a:spLocks noChangeArrowheads="1"/>
          </p:cNvSpPr>
          <p:nvPr/>
        </p:nvSpPr>
        <p:spPr bwMode="auto">
          <a:xfrm>
            <a:off x="0" y="-27384"/>
            <a:ext cx="91440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BR" altLang="pt-BR" sz="5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stado do Pará - Brasil</a:t>
            </a:r>
          </a:p>
        </p:txBody>
      </p:sp>
      <p:pic>
        <p:nvPicPr>
          <p:cNvPr id="38915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08050"/>
            <a:ext cx="9144000" cy="544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1"/>
          <p:cNvSpPr txBox="1">
            <a:spLocks noChangeArrowheads="1"/>
          </p:cNvSpPr>
          <p:nvPr/>
        </p:nvSpPr>
        <p:spPr bwMode="auto">
          <a:xfrm>
            <a:off x="0" y="6237312"/>
            <a:ext cx="702027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BR" alt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á: Um mundo de oportunidad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2" descr="F:\LIVIA-TRABALHO\Imagem\Frutas Regionai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97" y="836713"/>
            <a:ext cx="4176464" cy="54006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15" name="Tabe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15667"/>
              </p:ext>
            </p:extLst>
          </p:nvPr>
        </p:nvGraphicFramePr>
        <p:xfrm>
          <a:off x="4211961" y="1125540"/>
          <a:ext cx="4878541" cy="4823741"/>
        </p:xfrm>
        <a:graphic>
          <a:graphicData uri="http://schemas.openxmlformats.org/drawingml/2006/table">
            <a:tbl>
              <a:tblPr/>
              <a:tblGrid>
                <a:gridCol w="15661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29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92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4751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Principais Frutas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Produção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Posição no Ranking Nacional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Fonte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803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Açaí (t)</a:t>
                      </a:r>
                      <a:endParaRPr kumimoji="0" lang="pt-BR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     817.246 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1º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IBGE/2012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803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Cupuaçu (t)</a:t>
                      </a:r>
                      <a:endParaRPr kumimoji="0" lang="pt-BR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       74.524 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1º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IBGE/2012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803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Abacaxi (mil frutos)</a:t>
                      </a:r>
                      <a:endParaRPr kumimoji="0" lang="pt-BR" sz="1400" b="1" i="0" u="none" strike="noStrike" cap="none" normalizeH="0" baseline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     320.478 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1º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IBGE/2013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803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Cacau (t)</a:t>
                      </a:r>
                      <a:endParaRPr kumimoji="0" lang="pt-BR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       79.727 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2º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IBGE/2013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803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Coco (mil frutos)</a:t>
                      </a:r>
                      <a:endParaRPr kumimoji="0" lang="pt-BR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     214.859 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3º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IBGE/2013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803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Banana (cacho)</a:t>
                      </a:r>
                      <a:endParaRPr kumimoji="0" lang="pt-BR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     585.943 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5º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IBGE/2013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6803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Dendê (t)</a:t>
                      </a:r>
                      <a:endParaRPr kumimoji="0" lang="pt-BR" sz="1400" b="1" i="0" u="none" strike="noStrike" cap="none" normalizeH="0" baseline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  1.040.538 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1º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IBGE/2013</a:t>
                      </a:r>
                    </a:p>
                  </a:txBody>
                  <a:tcPr marL="7145" marR="7145" marT="9519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1490" name="Retângulo 3"/>
          <p:cNvSpPr>
            <a:spLocks noChangeArrowheads="1"/>
          </p:cNvSpPr>
          <p:nvPr/>
        </p:nvSpPr>
        <p:spPr bwMode="auto">
          <a:xfrm>
            <a:off x="-132332" y="188640"/>
            <a:ext cx="8893175" cy="458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pt-BR" altLang="pt-BR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 POTENCIAL DA FRUTICULTURA NO ESTADO DO PARÁ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3" y="116632"/>
            <a:ext cx="8993187" cy="687387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defTabSz="895350" eaLnBrk="1" hangingPunct="1">
              <a:lnSpc>
                <a:spcPct val="90000"/>
              </a:lnSpc>
              <a:buSzPct val="120000"/>
              <a:tabLst>
                <a:tab pos="357188" algn="l"/>
              </a:tabLst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pt-BR" altLang="pt-BR" dirty="0"/>
              <a:t>CADEIA PRODUTIVA DOS GRÃOS </a:t>
            </a:r>
          </a:p>
        </p:txBody>
      </p:sp>
      <p:sp>
        <p:nvSpPr>
          <p:cNvPr id="64516" name="Text Box 3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14313" y="6475413"/>
            <a:ext cx="87693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BR" altLang="pt-BR" sz="1000" b="1">
                <a:solidFill>
                  <a:schemeClr val="bg1"/>
                </a:solidFill>
                <a:cs typeface="Arial" panose="020B0604020202020204" pitchFamily="34" charset="0"/>
              </a:rPr>
              <a:t>Fontes: </a:t>
            </a:r>
            <a:r>
              <a:rPr lang="pt-BR" altLang="pt-BR" sz="1000">
                <a:solidFill>
                  <a:schemeClr val="bg1"/>
                </a:solidFill>
                <a:cs typeface="Arial" panose="020B0604020202020204" pitchFamily="34" charset="0"/>
              </a:rPr>
              <a:t>SEDAP-PA; Governo do Estado do Pará</a:t>
            </a:r>
          </a:p>
        </p:txBody>
      </p:sp>
      <p:grpSp>
        <p:nvGrpSpPr>
          <p:cNvPr id="4" name="Agrupar 3"/>
          <p:cNvGrpSpPr/>
          <p:nvPr/>
        </p:nvGrpSpPr>
        <p:grpSpPr>
          <a:xfrm>
            <a:off x="4402138" y="4306882"/>
            <a:ext cx="4687887" cy="1808491"/>
            <a:chOff x="4402138" y="4306882"/>
            <a:chExt cx="4687887" cy="1808491"/>
          </a:xfrm>
        </p:grpSpPr>
        <p:sp>
          <p:nvSpPr>
            <p:cNvPr id="64517" name="CaixaDeTexto 32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402138" y="4594920"/>
              <a:ext cx="4686300" cy="1520453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>
              <a:lvl1pPr marL="171450" indent="-1714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2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Esmagadoras de Soja</a:t>
              </a:r>
              <a:endParaRPr lang="pt-BR" altLang="pt-BR" sz="800" b="1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2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Indústrias de Proteína Animal (i.e.; aves e suínos)</a:t>
              </a:r>
              <a:endParaRPr lang="pt-BR" altLang="pt-BR" sz="800" b="1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2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Óleos Vegetais</a:t>
              </a:r>
              <a:endParaRPr lang="pt-BR" altLang="pt-BR" sz="800" b="1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2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Alimentos aos Consumidores Finais (i.e.; biscoitos, cereais </a:t>
              </a:r>
              <a:r>
                <a:rPr lang="pt-BR" altLang="pt-BR" sz="1200" b="1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etc</a:t>
              </a:r>
              <a:r>
                <a:rPr lang="pt-BR" altLang="pt-BR" sz="12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)</a:t>
              </a:r>
            </a:p>
          </p:txBody>
        </p:sp>
        <p:grpSp>
          <p:nvGrpSpPr>
            <p:cNvPr id="64520" name="Grupo 33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4402138" y="4306882"/>
              <a:ext cx="4687887" cy="307776"/>
              <a:chOff x="4429125" y="2757208"/>
              <a:chExt cx="4500563" cy="246221"/>
            </a:xfrm>
          </p:grpSpPr>
          <p:sp>
            <p:nvSpPr>
              <p:cNvPr id="64529" name="CaixaDeTexto 41"/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29125" y="2757208"/>
                <a:ext cx="4500563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eaLnBrk="1" hangingPunct="1"/>
                <a:r>
                  <a:rPr lang="pt-BR" altLang="pt-BR" sz="1400" b="1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Oportunidades de Investimento</a:t>
                </a:r>
              </a:p>
            </p:txBody>
          </p:sp>
          <p:cxnSp>
            <p:nvCxnSpPr>
              <p:cNvPr id="12" name="Conector reto 11"/>
              <p:cNvCxnSpPr/>
              <p:nvPr>
                <p:custDataLst>
                  <p:tags r:id="rId15"/>
                </p:custDataLst>
              </p:nvPr>
            </p:nvCxnSpPr>
            <p:spPr bwMode="auto">
              <a:xfrm>
                <a:off x="4429125" y="2976603"/>
                <a:ext cx="450056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" name="Agrupar 2"/>
          <p:cNvGrpSpPr/>
          <p:nvPr/>
        </p:nvGrpSpPr>
        <p:grpSpPr>
          <a:xfrm>
            <a:off x="4402138" y="836612"/>
            <a:ext cx="4687887" cy="3456484"/>
            <a:chOff x="4402138" y="836612"/>
            <a:chExt cx="4687887" cy="3456484"/>
          </a:xfrm>
        </p:grpSpPr>
        <p:cxnSp>
          <p:nvCxnSpPr>
            <p:cNvPr id="64515" name="AutoShape 41"/>
            <p:cNvCxnSpPr>
              <a:cxnSpLocks noChangeShapeType="1"/>
            </p:cNvCxnSpPr>
            <p:nvPr>
              <p:custDataLst>
                <p:tags r:id="rId7"/>
              </p:custDataLst>
            </p:nvPr>
          </p:nvCxnSpPr>
          <p:spPr bwMode="auto">
            <a:xfrm>
              <a:off x="7850188" y="1082675"/>
              <a:ext cx="1082675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4518" name="CaixaDeTexto 15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402138" y="1143372"/>
              <a:ext cx="4686300" cy="314972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>
              <a:lvl1pPr marL="171450" indent="-1714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just"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2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Clima para duas safras anuais </a:t>
              </a:r>
              <a:r>
                <a:rPr lang="pt-BR" altLang="pt-BR" sz="1200" dirty="0">
                  <a:solidFill>
                    <a:srgbClr val="000000"/>
                  </a:solidFill>
                  <a:cs typeface="Arial" panose="020B0604020202020204" pitchFamily="34" charset="0"/>
                </a:rPr>
                <a:t>com grande incidência de luz</a:t>
              </a:r>
            </a:p>
            <a:p>
              <a:pPr algn="just"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pt-BR" altLang="pt-BR" sz="700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algn="just"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2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Solo de qualidade com alta fertilidade</a:t>
              </a:r>
              <a:r>
                <a:rPr lang="pt-BR" altLang="pt-BR" sz="1200" dirty="0">
                  <a:solidFill>
                    <a:srgbClr val="000000"/>
                  </a:solidFill>
                  <a:cs typeface="Arial" panose="020B0604020202020204" pitchFamily="34" charset="0"/>
                </a:rPr>
                <a:t>, com menor necessidade de uso de adubo e calcário em cima de pastos degradados</a:t>
              </a:r>
            </a:p>
            <a:p>
              <a:pPr algn="just" eaLnBrk="1" hangingPunct="1">
                <a:lnSpc>
                  <a:spcPct val="150000"/>
                </a:lnSpc>
              </a:pPr>
              <a:endParaRPr lang="pt-BR" altLang="pt-BR" sz="700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algn="just"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2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Melhor resultado: </a:t>
              </a:r>
              <a:r>
                <a:rPr lang="pt-BR" altLang="pt-BR" sz="1200" dirty="0">
                  <a:solidFill>
                    <a:srgbClr val="000000"/>
                  </a:solidFill>
                  <a:cs typeface="Arial" panose="020B0604020202020204" pitchFamily="34" charset="0"/>
                </a:rPr>
                <a:t>Menor custo de frete e Menor preço da terra</a:t>
              </a:r>
            </a:p>
            <a:p>
              <a:pPr algn="just"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pt-BR" altLang="pt-BR" sz="700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algn="just"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2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Múltiplos Corredores Logísticos:</a:t>
              </a:r>
              <a:r>
                <a:rPr lang="pt-BR" altLang="pt-BR" sz="1200" dirty="0">
                  <a:solidFill>
                    <a:srgbClr val="000000"/>
                  </a:solidFill>
                  <a:cs typeface="Arial" panose="020B0604020202020204" pitchFamily="34" charset="0"/>
                </a:rPr>
                <a:t> Rodovia BR-163 (Cuiabá à Santarém), Terminais Portuários (Santarém, Itaituba e Barcarena) e Ferrovia do Pará (Santana do Araguaia à Barcarena)</a:t>
              </a:r>
            </a:p>
          </p:txBody>
        </p:sp>
        <p:grpSp>
          <p:nvGrpSpPr>
            <p:cNvPr id="64521" name="Grupo 30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4402138" y="836612"/>
              <a:ext cx="4687887" cy="307777"/>
              <a:chOff x="3851275" y="916087"/>
              <a:chExt cx="5184000" cy="306826"/>
            </a:xfrm>
          </p:grpSpPr>
          <p:sp>
            <p:nvSpPr>
              <p:cNvPr id="64527" name="CaixaDeTexto 41"/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3851275" y="916087"/>
                <a:ext cx="5184000" cy="30682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eaLnBrk="1" hangingPunct="1"/>
                <a:r>
                  <a:rPr lang="pt-BR" altLang="pt-BR" sz="1400" b="1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Fatores de Competitividade</a:t>
                </a:r>
              </a:p>
            </p:txBody>
          </p:sp>
          <p:cxnSp>
            <p:nvCxnSpPr>
              <p:cNvPr id="15" name="Conector reto 14"/>
              <p:cNvCxnSpPr/>
              <p:nvPr>
                <p:custDataLst>
                  <p:tags r:id="rId11"/>
                </p:custDataLst>
              </p:nvPr>
            </p:nvCxnSpPr>
            <p:spPr bwMode="auto">
              <a:xfrm>
                <a:off x="3851275" y="1204119"/>
                <a:ext cx="5184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" name="Agrupar 4"/>
          <p:cNvGrpSpPr/>
          <p:nvPr/>
        </p:nvGrpSpPr>
        <p:grpSpPr>
          <a:xfrm>
            <a:off x="119063" y="995364"/>
            <a:ext cx="4232275" cy="5170486"/>
            <a:chOff x="119063" y="995364"/>
            <a:chExt cx="4232275" cy="5170486"/>
          </a:xfrm>
        </p:grpSpPr>
        <p:sp>
          <p:nvSpPr>
            <p:cNvPr id="64519" name="Triângulo isósceles 80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1867694" y="3682206"/>
              <a:ext cx="4876800" cy="90488"/>
            </a:xfrm>
            <a:prstGeom prst="triangle">
              <a:avLst>
                <a:gd name="adj" fmla="val 50000"/>
              </a:avLst>
            </a:prstGeom>
            <a:solidFill>
              <a:srgbClr val="00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11" tIns="45706" rIns="91411" bIns="45706" anchor="ctr"/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/>
              <a:endParaRPr lang="en-US" altLang="pt-BR" sz="100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64522" name="Grupo 2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214313" y="995364"/>
              <a:ext cx="3927475" cy="307777"/>
              <a:chOff x="125744" y="1020763"/>
              <a:chExt cx="4661722" cy="307822"/>
            </a:xfrm>
          </p:grpSpPr>
          <p:sp>
            <p:nvSpPr>
              <p:cNvPr id="64525" name="CaixaDeTexto 41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25744" y="1020763"/>
                <a:ext cx="4661722" cy="3078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eaLnBrk="1" hangingPunct="1"/>
                <a:r>
                  <a:rPr lang="pt-BR" altLang="pt-BR" sz="1400" b="1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Potencial de Grãos</a:t>
                </a:r>
              </a:p>
            </p:txBody>
          </p:sp>
          <p:cxnSp>
            <p:nvCxnSpPr>
              <p:cNvPr id="18" name="Conector reto 17"/>
              <p:cNvCxnSpPr/>
              <p:nvPr>
                <p:custDataLst>
                  <p:tags r:id="rId6"/>
                </p:custDataLst>
              </p:nvPr>
            </p:nvCxnSpPr>
            <p:spPr bwMode="auto">
              <a:xfrm>
                <a:off x="125744" y="1306555"/>
                <a:ext cx="4661722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" name="Imagem 1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119063" y="1770897"/>
              <a:ext cx="4090987" cy="3890351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562" name="Objeto 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07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0" name="Objeto 4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tângulo 4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pt-BR" sz="1000" b="1">
              <a:latin typeface="Arial"/>
              <a:ea typeface="Verdana"/>
              <a:cs typeface="Arial"/>
              <a:sym typeface="Arial"/>
            </a:endParaRPr>
          </a:p>
        </p:txBody>
      </p:sp>
      <p:sp>
        <p:nvSpPr>
          <p:cNvPr id="66564" name="Text Box 3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4925" y="6418263"/>
            <a:ext cx="7091363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BR" altLang="pt-BR" sz="1000" b="1">
                <a:solidFill>
                  <a:schemeClr val="bg1"/>
                </a:solidFill>
                <a:cs typeface="Arial" panose="020B0604020202020204" pitchFamily="34" charset="0"/>
              </a:rPr>
              <a:t>Fontes: </a:t>
            </a:r>
            <a:r>
              <a:rPr lang="pt-BR" altLang="pt-BR" sz="1000">
                <a:solidFill>
                  <a:schemeClr val="bg1"/>
                </a:solidFill>
                <a:cs typeface="Arial" panose="020B0604020202020204" pitchFamily="34" charset="0"/>
              </a:rPr>
              <a:t>IBGE/PAM; SEDEME-PA; SEDAP-PA; Embrapa; Governo do Estado do Pará</a:t>
            </a:r>
          </a:p>
        </p:txBody>
      </p:sp>
      <p:sp>
        <p:nvSpPr>
          <p:cNvPr id="66567" name="Triângulo isósceles 8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2411413" y="3719513"/>
            <a:ext cx="5216525" cy="180975"/>
          </a:xfrm>
          <a:prstGeom prst="triangle">
            <a:avLst>
              <a:gd name="adj" fmla="val 50000"/>
            </a:avLst>
          </a:prstGeom>
          <a:solidFill>
            <a:srgbClr val="00660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1" tIns="45706" rIns="91411" bIns="45706" anchor="ctr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endParaRPr lang="en-US" altLang="pt-BR" sz="10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pSp>
        <p:nvGrpSpPr>
          <p:cNvPr id="4" name="Agrupar 3"/>
          <p:cNvGrpSpPr/>
          <p:nvPr/>
        </p:nvGrpSpPr>
        <p:grpSpPr>
          <a:xfrm>
            <a:off x="5214938" y="895350"/>
            <a:ext cx="3822700" cy="3541713"/>
            <a:chOff x="5214938" y="895350"/>
            <a:chExt cx="3822700" cy="3541713"/>
          </a:xfrm>
        </p:grpSpPr>
        <p:sp>
          <p:nvSpPr>
            <p:cNvPr id="66566" name="CaixaDeTexto 15"/>
            <p:cNvSpPr txBox="1"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5214938" y="1233488"/>
              <a:ext cx="3822700" cy="32035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>
              <a:lvl1pPr marL="171450" indent="-1714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1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~83% produção nacional</a:t>
              </a:r>
              <a:r>
                <a:rPr lang="pt-BR" altLang="pt-BR" sz="1100" dirty="0">
                  <a:solidFill>
                    <a:srgbClr val="000000"/>
                  </a:solidFill>
                  <a:cs typeface="Arial" panose="020B0604020202020204" pitchFamily="34" charset="0"/>
                </a:rPr>
                <a:t>, </a:t>
              </a:r>
              <a:r>
                <a:rPr lang="es-ES" altLang="pt-BR" sz="1100" dirty="0">
                  <a:solidFill>
                    <a:srgbClr val="000000"/>
                  </a:solidFill>
                  <a:cs typeface="Arial" panose="020B0604020202020204" pitchFamily="34" charset="0"/>
                </a:rPr>
                <a:t>55 mil ha </a:t>
              </a:r>
              <a:r>
                <a:rPr lang="es-ES" altLang="pt-BR" sz="1100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colhidos</a:t>
              </a:r>
              <a:r>
                <a:rPr lang="es-ES" altLang="pt-BR" sz="1100" dirty="0">
                  <a:solidFill>
                    <a:srgbClr val="000000"/>
                  </a:solidFill>
                  <a:cs typeface="Arial" panose="020B0604020202020204" pitchFamily="34" charset="0"/>
                </a:rPr>
                <a:t>, </a:t>
              </a:r>
              <a:r>
                <a:rPr lang="pt-BR" altLang="pt-BR" sz="1100" dirty="0">
                  <a:solidFill>
                    <a:srgbClr val="000000"/>
                  </a:solidFill>
                  <a:cs typeface="Arial" panose="020B0604020202020204" pitchFamily="34" charset="0"/>
                </a:rPr>
                <a:t>produção 1.000 mil </a:t>
              </a:r>
              <a:r>
                <a:rPr lang="pt-BR" altLang="pt-BR" sz="1100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ton</a:t>
              </a:r>
              <a:r>
                <a:rPr lang="pt-BR" altLang="pt-BR" sz="1100" dirty="0">
                  <a:solidFill>
                    <a:srgbClr val="000000"/>
                  </a:solidFill>
                  <a:cs typeface="Arial" panose="020B0604020202020204" pitchFamily="34" charset="0"/>
                </a:rPr>
                <a:t> e PIB ~U$ 73,9 Milhões</a:t>
              </a: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pt-BR" altLang="pt-BR" sz="400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1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Condições climáticas e de solo ideais </a:t>
              </a:r>
              <a:r>
                <a:rPr lang="pt-BR" altLang="pt-BR" sz="1100" dirty="0">
                  <a:solidFill>
                    <a:srgbClr val="000000"/>
                  </a:solidFill>
                  <a:cs typeface="Arial" panose="020B0604020202020204" pitchFamily="34" charset="0"/>
                </a:rPr>
                <a:t>(i.e.; pluviometria, umidade, insolação, solos profundos e friáveis e sem camadas de impedimentos, bacia hidrográfica </a:t>
              </a:r>
              <a:r>
                <a:rPr lang="pt-BR" altLang="pt-BR" sz="1100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etc</a:t>
              </a:r>
              <a:r>
                <a:rPr lang="pt-BR" altLang="pt-BR" sz="1100" dirty="0">
                  <a:solidFill>
                    <a:srgbClr val="000000"/>
                  </a:solidFill>
                  <a:cs typeface="Arial" panose="020B0604020202020204" pitchFamily="34" charset="0"/>
                </a:rPr>
                <a:t>)</a:t>
              </a: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pt-BR" altLang="pt-BR" sz="400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1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Logística adequada</a:t>
              </a:r>
              <a:r>
                <a:rPr lang="pt-BR" altLang="pt-BR" sz="1100" dirty="0">
                  <a:solidFill>
                    <a:srgbClr val="000000"/>
                  </a:solidFill>
                  <a:cs typeface="Arial" panose="020B0604020202020204" pitchFamily="34" charset="0"/>
                </a:rPr>
                <a:t>, com proximidade do </a:t>
              </a:r>
              <a:r>
                <a:rPr lang="pt-BR" altLang="pt-BR" sz="11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mercado internacional</a:t>
              </a: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pt-BR" altLang="pt-BR" sz="400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eaLnBrk="1" hangingPunct="1">
                <a:lnSpc>
                  <a:spcPct val="150000"/>
                </a:lnSpc>
              </a:pPr>
              <a:endParaRPr lang="pt-BR" altLang="pt-BR" sz="400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1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Centros de Pesquisas </a:t>
              </a:r>
              <a:r>
                <a:rPr lang="pt-BR" altLang="pt-BR" sz="1100" dirty="0">
                  <a:solidFill>
                    <a:srgbClr val="000000"/>
                  </a:solidFill>
                  <a:cs typeface="Arial" panose="020B0604020202020204" pitchFamily="34" charset="0"/>
                </a:rPr>
                <a:t>(e.g.; EMBRAPA, CPATU) e </a:t>
              </a:r>
              <a:r>
                <a:rPr lang="pt-BR" altLang="pt-BR" sz="11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Universidades</a:t>
              </a:r>
              <a:r>
                <a:rPr lang="pt-BR" altLang="pt-BR" sz="1100" dirty="0">
                  <a:solidFill>
                    <a:srgbClr val="000000"/>
                  </a:solidFill>
                  <a:cs typeface="Arial" panose="020B0604020202020204" pitchFamily="34" charset="0"/>
                </a:rPr>
                <a:t> estabelecidas no Estado</a:t>
              </a:r>
            </a:p>
          </p:txBody>
        </p:sp>
        <p:grpSp>
          <p:nvGrpSpPr>
            <p:cNvPr id="66568" name="Grupo 30"/>
            <p:cNvGrpSpPr>
              <a:grpSpLocks/>
            </p:cNvGrpSpPr>
            <p:nvPr>
              <p:custDataLst>
                <p:tags r:id="rId37"/>
              </p:custDataLst>
            </p:nvPr>
          </p:nvGrpSpPr>
          <p:grpSpPr bwMode="auto">
            <a:xfrm>
              <a:off x="5214938" y="895350"/>
              <a:ext cx="3822700" cy="285750"/>
              <a:chOff x="3851275" y="1074738"/>
              <a:chExt cx="5184000" cy="285750"/>
            </a:xfrm>
          </p:grpSpPr>
          <p:sp>
            <p:nvSpPr>
              <p:cNvPr id="66599" name="CaixaDeTexto 41"/>
              <p:cNvSpPr txBox="1"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3851275" y="1074738"/>
                <a:ext cx="5184000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eaLnBrk="1" hangingPunct="1"/>
                <a:r>
                  <a:rPr lang="pt-BR" altLang="pt-BR" sz="1200" b="1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Fatores de Competitividade</a:t>
                </a:r>
              </a:p>
            </p:txBody>
          </p:sp>
          <p:cxnSp>
            <p:nvCxnSpPr>
              <p:cNvPr id="8" name="Conector reto 7"/>
              <p:cNvCxnSpPr/>
              <p:nvPr>
                <p:custDataLst>
                  <p:tags r:id="rId39"/>
                </p:custDataLst>
              </p:nvPr>
            </p:nvCxnSpPr>
            <p:spPr bwMode="auto">
              <a:xfrm>
                <a:off x="3851275" y="1360488"/>
                <a:ext cx="5184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570" name="Rectangle 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42875" y="122238"/>
            <a:ext cx="9037637" cy="563562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defTabSz="895350" eaLnBrk="1" hangingPunct="1">
              <a:lnSpc>
                <a:spcPct val="90000"/>
              </a:lnSpc>
              <a:buSzPct val="120000"/>
              <a:tabLst>
                <a:tab pos="357188" algn="l"/>
              </a:tabLst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pt-BR" altLang="pt-BR" dirty="0"/>
              <a:t>Indústria de PALMA no Pará é a maior do Brasil, com enorme potencial de crescimento e verticalização</a:t>
            </a:r>
          </a:p>
        </p:txBody>
      </p:sp>
      <p:grpSp>
        <p:nvGrpSpPr>
          <p:cNvPr id="5" name="Agrupar 4"/>
          <p:cNvGrpSpPr/>
          <p:nvPr/>
        </p:nvGrpSpPr>
        <p:grpSpPr>
          <a:xfrm>
            <a:off x="5214938" y="4473575"/>
            <a:ext cx="3822700" cy="1692275"/>
            <a:chOff x="5214938" y="4473575"/>
            <a:chExt cx="3822700" cy="1692275"/>
          </a:xfrm>
        </p:grpSpPr>
        <p:sp>
          <p:nvSpPr>
            <p:cNvPr id="66565" name="CaixaDeTexto 32"/>
            <p:cNvSpPr txBox="1"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5214938" y="4827588"/>
              <a:ext cx="3822700" cy="133826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/>
            <a:lstStyle>
              <a:lvl1pPr marL="171450" indent="-1714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0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Óleo de Palma e Óleo de </a:t>
              </a:r>
              <a:r>
                <a:rPr lang="pt-BR" altLang="pt-BR" sz="1000" b="1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Palmiste</a:t>
              </a:r>
              <a:endParaRPr lang="pt-BR" altLang="pt-BR" sz="1000" b="1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pt-BR" altLang="pt-BR" sz="500" b="1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000" b="1" i="1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Food</a:t>
              </a:r>
              <a:r>
                <a:rPr lang="pt-BR" altLang="pt-BR" sz="1000" b="1" i="1" dirty="0">
                  <a:solidFill>
                    <a:srgbClr val="000000"/>
                  </a:solidFill>
                  <a:cs typeface="Arial" panose="020B0604020202020204" pitchFamily="34" charset="0"/>
                </a:rPr>
                <a:t> Service </a:t>
              </a:r>
              <a:r>
                <a:rPr lang="pt-BR" altLang="pt-BR" sz="10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(e.g.; Manteiga, Margarina </a:t>
              </a:r>
              <a:r>
                <a:rPr lang="pt-BR" altLang="pt-BR" sz="1000" b="1" dirty="0" err="1">
                  <a:solidFill>
                    <a:srgbClr val="000000"/>
                  </a:solidFill>
                  <a:cs typeface="Arial" panose="020B0604020202020204" pitchFamily="34" charset="0"/>
                </a:rPr>
                <a:t>etc</a:t>
              </a:r>
              <a:r>
                <a:rPr lang="pt-BR" altLang="pt-BR" sz="10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)</a:t>
              </a: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pt-BR" altLang="pt-BR" sz="500" b="1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0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Biocombustível e Bioenergia</a:t>
              </a: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endParaRPr lang="pt-BR" altLang="pt-BR" sz="500" b="1" dirty="0">
                <a:solidFill>
                  <a:srgbClr val="000000"/>
                </a:solidFill>
                <a:cs typeface="Arial" panose="020B0604020202020204" pitchFamily="34" charset="0"/>
              </a:endParaRPr>
            </a:p>
            <a:p>
              <a:pPr eaLnBrk="1" hangingPunct="1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pt-BR" altLang="pt-BR" sz="1000" b="1" dirty="0">
                  <a:solidFill>
                    <a:srgbClr val="000000"/>
                  </a:solidFill>
                  <a:cs typeface="Arial" panose="020B0604020202020204" pitchFamily="34" charset="0"/>
                </a:rPr>
                <a:t>Ingrediente no Processo de Alimentos</a:t>
              </a:r>
            </a:p>
          </p:txBody>
        </p:sp>
        <p:grpSp>
          <p:nvGrpSpPr>
            <p:cNvPr id="66571" name="Grupo 33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5214938" y="4473575"/>
              <a:ext cx="3822700" cy="285750"/>
              <a:chOff x="4429125" y="2845808"/>
              <a:chExt cx="4500563" cy="285750"/>
            </a:xfrm>
          </p:grpSpPr>
          <p:sp>
            <p:nvSpPr>
              <p:cNvPr id="66595" name="CaixaDeTexto 41"/>
              <p:cNvSpPr txBox="1"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29125" y="2845808"/>
                <a:ext cx="4500563" cy="2769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eaLnBrk="1" hangingPunct="1"/>
                <a:r>
                  <a:rPr lang="pt-BR" altLang="pt-BR" sz="1200" b="1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Oportunidades de Investimento</a:t>
                </a:r>
              </a:p>
            </p:txBody>
          </p:sp>
          <p:cxnSp>
            <p:nvCxnSpPr>
              <p:cNvPr id="15" name="Conector reto 14"/>
              <p:cNvCxnSpPr/>
              <p:nvPr>
                <p:custDataLst>
                  <p:tags r:id="rId35"/>
                </p:custDataLst>
              </p:nvPr>
            </p:nvCxnSpPr>
            <p:spPr bwMode="auto">
              <a:xfrm>
                <a:off x="4429125" y="3131558"/>
                <a:ext cx="4500563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" name="Agrupar 1"/>
          <p:cNvGrpSpPr/>
          <p:nvPr/>
        </p:nvGrpSpPr>
        <p:grpSpPr>
          <a:xfrm>
            <a:off x="23813" y="895348"/>
            <a:ext cx="4886325" cy="2087565"/>
            <a:chOff x="23813" y="895348"/>
            <a:chExt cx="4886325" cy="2087565"/>
          </a:xfrm>
        </p:grpSpPr>
        <p:grpSp>
          <p:nvGrpSpPr>
            <p:cNvPr id="66569" name="Grupo 2"/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125413" y="895348"/>
              <a:ext cx="4679950" cy="584775"/>
              <a:chOff x="125744" y="1020763"/>
              <a:chExt cx="4661722" cy="584820"/>
            </a:xfrm>
          </p:grpSpPr>
          <p:sp>
            <p:nvSpPr>
              <p:cNvPr id="66597" name="CaixaDeTexto 41"/>
              <p:cNvSpPr txBox="1"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25744" y="1020763"/>
                <a:ext cx="4661722" cy="5848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eaLnBrk="1" hangingPunct="1"/>
                <a:r>
                  <a:rPr lang="pt-BR" altLang="pt-BR" sz="1200" b="1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Potencial de Expansão da Palma no Brasil</a:t>
                </a:r>
              </a:p>
              <a:p>
                <a:pPr eaLnBrk="1" hangingPunct="1"/>
                <a:endParaRPr lang="pt-BR" altLang="pt-BR" sz="1000" b="1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  <a:p>
                <a:pPr eaLnBrk="1" hangingPunct="1"/>
                <a:r>
                  <a:rPr lang="pt-BR" altLang="pt-BR" sz="1000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Milhões de Hectares, 2006</a:t>
                </a:r>
              </a:p>
            </p:txBody>
          </p:sp>
          <p:cxnSp>
            <p:nvCxnSpPr>
              <p:cNvPr id="11" name="Conector reto 10"/>
              <p:cNvCxnSpPr/>
              <p:nvPr>
                <p:custDataLst>
                  <p:tags r:id="rId31"/>
                </p:custDataLst>
              </p:nvPr>
            </p:nvCxnSpPr>
            <p:spPr bwMode="auto">
              <a:xfrm>
                <a:off x="125744" y="1306535"/>
                <a:ext cx="4661722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6572" name="Conector reto 17"/>
            <p:cNvCxnSpPr>
              <a:cxnSpLocks noChangeShapeType="1"/>
            </p:cNvCxnSpPr>
            <p:nvPr>
              <p:custDataLst>
                <p:tags r:id="rId12"/>
              </p:custDataLst>
            </p:nvPr>
          </p:nvCxnSpPr>
          <p:spPr bwMode="auto">
            <a:xfrm>
              <a:off x="3167063" y="1881188"/>
              <a:ext cx="142875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573" name="Conector reto 19"/>
            <p:cNvCxnSpPr>
              <a:cxnSpLocks noChangeShapeType="1"/>
            </p:cNvCxnSpPr>
            <p:nvPr>
              <p:custDataLst>
                <p:tags r:id="rId13"/>
              </p:custDataLst>
            </p:nvPr>
          </p:nvCxnSpPr>
          <p:spPr bwMode="auto">
            <a:xfrm>
              <a:off x="1604963" y="2157413"/>
              <a:ext cx="142875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574" name="Conector reto 20"/>
            <p:cNvCxnSpPr>
              <a:cxnSpLocks noChangeShapeType="1"/>
            </p:cNvCxnSpPr>
            <p:nvPr>
              <p:custDataLst>
                <p:tags r:id="rId14"/>
              </p:custDataLst>
            </p:nvPr>
          </p:nvCxnSpPr>
          <p:spPr bwMode="auto">
            <a:xfrm>
              <a:off x="1081088" y="2281238"/>
              <a:ext cx="142875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575" name="Conector reto 21"/>
            <p:cNvCxnSpPr>
              <a:cxnSpLocks noChangeShapeType="1"/>
            </p:cNvCxnSpPr>
            <p:nvPr>
              <p:custDataLst>
                <p:tags r:id="rId15"/>
              </p:custDataLst>
            </p:nvPr>
          </p:nvCxnSpPr>
          <p:spPr bwMode="auto">
            <a:xfrm>
              <a:off x="566738" y="2481263"/>
              <a:ext cx="142875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576" name="Conector reto 22"/>
            <p:cNvCxnSpPr>
              <a:cxnSpLocks noChangeShapeType="1"/>
            </p:cNvCxnSpPr>
            <p:nvPr>
              <p:custDataLst>
                <p:tags r:id="rId16"/>
              </p:custDataLst>
            </p:nvPr>
          </p:nvCxnSpPr>
          <p:spPr bwMode="auto">
            <a:xfrm>
              <a:off x="2128838" y="2033588"/>
              <a:ext cx="142875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577" name="Conector reto 18"/>
            <p:cNvCxnSpPr>
              <a:cxnSpLocks noChangeShapeType="1"/>
            </p:cNvCxnSpPr>
            <p:nvPr>
              <p:custDataLst>
                <p:tags r:id="rId17"/>
              </p:custDataLst>
            </p:nvPr>
          </p:nvCxnSpPr>
          <p:spPr bwMode="auto">
            <a:xfrm>
              <a:off x="2643188" y="1938338"/>
              <a:ext cx="142875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578" name="Conector reto 16"/>
            <p:cNvCxnSpPr>
              <a:cxnSpLocks noChangeShapeType="1"/>
            </p:cNvCxnSpPr>
            <p:nvPr>
              <p:custDataLst>
                <p:tags r:id="rId18"/>
              </p:custDataLst>
            </p:nvPr>
          </p:nvCxnSpPr>
          <p:spPr bwMode="auto">
            <a:xfrm>
              <a:off x="3690938" y="1843088"/>
              <a:ext cx="142875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579" name="Conector reto 15"/>
            <p:cNvCxnSpPr>
              <a:cxnSpLocks noChangeShapeType="1"/>
            </p:cNvCxnSpPr>
            <p:nvPr>
              <p:custDataLst>
                <p:tags r:id="rId19"/>
              </p:custDataLst>
            </p:nvPr>
          </p:nvCxnSpPr>
          <p:spPr bwMode="auto">
            <a:xfrm>
              <a:off x="4205288" y="1814513"/>
              <a:ext cx="142875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aphicFrame>
          <p:nvGraphicFramePr>
            <p:cNvPr id="66580" name="Object 14"/>
            <p:cNvGraphicFramePr>
              <a:graphicFrameLocks/>
            </p:cNvGraphicFramePr>
            <p:nvPr>
              <p:custDataLst>
                <p:tags r:id="rId20"/>
              </p:custDataLst>
              <p:extLst>
                <p:ext uri="{D42A27DB-BD31-4B8C-83A1-F6EECF244321}">
                  <p14:modId xmlns:p14="http://schemas.microsoft.com/office/powerpoint/2010/main" val="4291215018"/>
                </p:ext>
              </p:extLst>
            </p:nvPr>
          </p:nvGraphicFramePr>
          <p:xfrm>
            <a:off x="23813" y="1500188"/>
            <a:ext cx="4886325" cy="13811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6708" name="Gráfico" r:id="rId43" imgW="4886257" imgH="1381035" progId="MSGraph.Chart.8">
                    <p:embed followColorScheme="full"/>
                  </p:oleObj>
                </mc:Choice>
                <mc:Fallback>
                  <p:oleObj name="Gráfico" r:id="rId43" imgW="4886257" imgH="1381035" progId="MSGraph.Chart.8">
                    <p:embed followColorScheme="full"/>
                    <p:pic>
                      <p:nvPicPr>
                        <p:cNvPr id="0" name="Object 14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44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3813" y="1500188"/>
                          <a:ext cx="4886325" cy="13811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>
                                    <a:alpha val="74997"/>
                                  </a:srgb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66581" name="Rectangle 22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355850" y="2830513"/>
              <a:ext cx="203200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buSzPct val="120000"/>
              </a:pPr>
              <a:fld id="{B0F9DEC4-FE55-4A7E-BEBF-52071FB9C20A}" type="datetime'''''''''R''''O'''''''''''''''''''''''''''''''">
                <a:rPr lang="en-US" altLang="pt-BR" sz="1000">
                  <a:cs typeface="Arial" panose="020B0604020202020204" pitchFamily="34" charset="0"/>
                  <a:sym typeface="Arial" panose="020B0604020202020204" pitchFamily="34" charset="0"/>
                </a:rPr>
                <a:pPr algn="ctr">
                  <a:buSzPct val="120000"/>
                </a:pPr>
                <a:t>RO</a:t>
              </a:fld>
              <a:endParaRPr lang="en-US" altLang="pt-BR" sz="1000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6582" name="Rectangle 20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796925" y="2830513"/>
              <a:ext cx="196850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buSzPct val="120000"/>
              </a:pPr>
              <a:fld id="{CE190D21-10FC-4E10-935D-5334FE97080D}" type="datetime'''''R''R'''''''''''''''''''''''''''''''">
                <a:rPr lang="en-US" altLang="pt-BR" sz="1000">
                  <a:cs typeface="Arial" panose="020B0604020202020204" pitchFamily="34" charset="0"/>
                  <a:sym typeface="Arial" panose="020B0604020202020204" pitchFamily="34" charset="0"/>
                </a:rPr>
                <a:pPr algn="ctr">
                  <a:buSzPct val="120000"/>
                </a:pPr>
                <a:t>RR</a:t>
              </a:fld>
              <a:endParaRPr lang="en-US" altLang="pt-BR" sz="1000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6583" name="Rectangle 1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409950" y="2830513"/>
              <a:ext cx="180975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buSzPct val="120000"/>
              </a:pPr>
              <a:fld id="{E4091C78-89A4-450F-8AAB-31B453025B90}" type="datetime'''''''''''''''''''''''''''''''''''''''BA'''''''''''''''''''">
                <a:rPr lang="en-US" altLang="pt-BR" sz="1000">
                  <a:cs typeface="Arial" panose="020B0604020202020204" pitchFamily="34" charset="0"/>
                  <a:sym typeface="Arial" panose="020B0604020202020204" pitchFamily="34" charset="0"/>
                </a:rPr>
                <a:pPr algn="ctr">
                  <a:buSzPct val="120000"/>
                </a:pPr>
                <a:t>BA</a:t>
              </a:fld>
              <a:endParaRPr lang="en-US" altLang="pt-BR" sz="1000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6584" name="Retângulo 32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1836738" y="2830513"/>
              <a:ext cx="203200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B8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4492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4492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4492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4492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4492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buClr>
                  <a:srgbClr val="000000"/>
                </a:buClr>
                <a:buSzPct val="100000"/>
              </a:pPr>
              <a:fld id="{180EF432-5983-46F4-833F-0245E64123F6}" type="datetime'''''''''''''''''''''''''''''A''''M'''''''''''''''''''">
                <a:rPr lang="en-US" altLang="pt-BR" sz="1000">
                  <a:cs typeface="Arial" panose="020B0604020202020204" pitchFamily="34" charset="0"/>
                  <a:sym typeface="Arial" panose="020B0604020202020204" pitchFamily="34" charset="0"/>
                </a:rPr>
                <a:pPr algn="ctr">
                  <a:buClr>
                    <a:srgbClr val="000000"/>
                  </a:buClr>
                  <a:buSzPct val="100000"/>
                </a:pPr>
                <a:t>AM</a:t>
              </a:fld>
              <a:endParaRPr lang="pt-BR" altLang="pt-BR" sz="1000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6585" name="Rectangle 1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2882900" y="2830513"/>
              <a:ext cx="188913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buSzPct val="120000"/>
              </a:pPr>
              <a:fld id="{FD89C80B-948D-486B-BB87-2B7D8934A76F}" type="datetime'''''''''''''''''''''''''''''''''T''O'''''''''''''''">
                <a:rPr lang="en-US" altLang="pt-BR" sz="1000">
                  <a:cs typeface="Arial" panose="020B0604020202020204" pitchFamily="34" charset="0"/>
                  <a:sym typeface="Arial" panose="020B0604020202020204" pitchFamily="34" charset="0"/>
                </a:rPr>
                <a:pPr algn="ctr">
                  <a:buSzPct val="120000"/>
                </a:pPr>
                <a:t>TO</a:t>
              </a:fld>
              <a:endParaRPr lang="en-US" altLang="pt-BR" sz="1000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6586" name="Rectangle 1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4381500" y="2830513"/>
              <a:ext cx="315913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buSzPct val="120000"/>
              </a:pPr>
              <a:fld id="{E98B85CA-8F9F-484E-AE1A-4F27A5E200E6}" type="datetime'''T''ot''''''''a''''''l'''''''''''''''''''''''''''''''''''">
                <a:rPr lang="en-US" altLang="pt-BR" sz="1000" b="1">
                  <a:cs typeface="Arial" panose="020B0604020202020204" pitchFamily="34" charset="0"/>
                  <a:sym typeface="Arial" panose="020B0604020202020204" pitchFamily="34" charset="0"/>
                </a:rPr>
                <a:pPr algn="ctr">
                  <a:buSzPct val="120000"/>
                </a:pPr>
                <a:t>Total</a:t>
              </a:fld>
              <a:endParaRPr lang="en-US" altLang="pt-BR" sz="1000" b="1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6587" name="Rectangle 21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320800" y="2830513"/>
              <a:ext cx="188913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buSzPct val="120000"/>
              </a:pPr>
              <a:fld id="{9ECD2C6C-6F45-4F29-9F1F-CE77391A1328}" type="datetime'A''''''''''''C'''''''''''''''''''''''''''''''''''''''''">
                <a:rPr lang="en-US" altLang="pt-BR" sz="1000">
                  <a:cs typeface="Arial" panose="020B0604020202020204" pitchFamily="34" charset="0"/>
                  <a:sym typeface="Arial" panose="020B0604020202020204" pitchFamily="34" charset="0"/>
                </a:rPr>
                <a:pPr algn="ctr">
                  <a:buSzPct val="120000"/>
                </a:pPr>
                <a:t>AC</a:t>
              </a:fld>
              <a:endParaRPr lang="en-US" altLang="pt-BR" sz="1000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6588" name="Rectangle 16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3929063" y="2830513"/>
              <a:ext cx="180975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buSzPct val="120000"/>
              </a:pPr>
              <a:fld id="{8E1DD0A6-89F5-4B0A-8BE4-D086D33C26BC}" type="datetime'''''''''''A''''P'">
                <a:rPr lang="en-US" altLang="pt-BR" sz="1000">
                  <a:cs typeface="Arial" panose="020B0604020202020204" pitchFamily="34" charset="0"/>
                  <a:sym typeface="Arial" panose="020B0604020202020204" pitchFamily="34" charset="0"/>
                </a:rPr>
                <a:pPr algn="ctr">
                  <a:buSzPct val="120000"/>
                </a:pPr>
                <a:t>AP</a:t>
              </a:fld>
              <a:endParaRPr lang="en-US" altLang="pt-BR" sz="1000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6589" name="Rectangle 19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82575" y="2830513"/>
              <a:ext cx="188913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>
                <a:buSzPct val="120000"/>
              </a:pPr>
              <a:fld id="{7CE24100-7C92-484C-BDE2-19014C61BEEA}" type="datetime'''''''''''''''''''''''''''''P''''A'''''''''">
                <a:rPr lang="en-US" altLang="pt-BR" sz="1000" b="1">
                  <a:cs typeface="Arial" panose="020B0604020202020204" pitchFamily="34" charset="0"/>
                  <a:sym typeface="Arial" panose="020B0604020202020204" pitchFamily="34" charset="0"/>
                </a:rPr>
                <a:pPr algn="ctr">
                  <a:buSzPct val="120000"/>
                </a:pPr>
                <a:t>PA</a:t>
              </a:fld>
              <a:endParaRPr lang="en-US" altLang="pt-BR" sz="1000" b="1"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3" name="Agrupar 2"/>
          <p:cNvGrpSpPr/>
          <p:nvPr/>
        </p:nvGrpSpPr>
        <p:grpSpPr>
          <a:xfrm>
            <a:off x="0" y="3095623"/>
            <a:ext cx="4805363" cy="3070227"/>
            <a:chOff x="0" y="3095623"/>
            <a:chExt cx="4805363" cy="3070227"/>
          </a:xfrm>
        </p:grpSpPr>
        <p:grpSp>
          <p:nvGrpSpPr>
            <p:cNvPr id="66590" name="Grupo 45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125413" y="3095623"/>
              <a:ext cx="4679950" cy="430887"/>
              <a:chOff x="125744" y="1020763"/>
              <a:chExt cx="4661722" cy="430041"/>
            </a:xfrm>
          </p:grpSpPr>
          <p:sp>
            <p:nvSpPr>
              <p:cNvPr id="66593" name="CaixaDeTexto 41"/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25744" y="1020763"/>
                <a:ext cx="4661722" cy="4300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eaLnBrk="1" hangingPunct="1"/>
                <a:r>
                  <a:rPr lang="pt-BR" altLang="pt-BR" sz="1200" b="1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cs typeface="Arial" panose="020B0604020202020204" pitchFamily="34" charset="0"/>
                  </a:rPr>
                  <a:t>Geografia da Palma no Pará por Município</a:t>
                </a:r>
              </a:p>
              <a:p>
                <a:pPr eaLnBrk="1" hangingPunct="1"/>
                <a:endParaRPr lang="pt-BR" altLang="pt-BR" sz="1000" b="1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36" name="Conector reto 35"/>
              <p:cNvCxnSpPr/>
              <p:nvPr>
                <p:custDataLst>
                  <p:tags r:id="rId10"/>
                </p:custDataLst>
              </p:nvPr>
            </p:nvCxnSpPr>
            <p:spPr bwMode="auto">
              <a:xfrm>
                <a:off x="125744" y="1305952"/>
                <a:ext cx="4661722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66591" name="Picture 11" descr="C:\Users\Rogerio Zardo\Documents\Rogério Zardo 010207\MDA Consultoria\PÓLO REGIÃO  NORTE\ESTADO do PARÁ\Pólo Dênde\GT Igarapé-Miri\DIAGNÓSTICO DAS PROPRIEDADES\MDA-Pólo Dendê-Municípios.jpg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4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381375"/>
              <a:ext cx="4805363" cy="2784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5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665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567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552" y="1212997"/>
            <a:ext cx="3816424" cy="412845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0659" name="Retângulo 3"/>
          <p:cNvSpPr>
            <a:spLocks noChangeArrowheads="1"/>
          </p:cNvSpPr>
          <p:nvPr/>
        </p:nvSpPr>
        <p:spPr bwMode="auto">
          <a:xfrm>
            <a:off x="0" y="166076"/>
            <a:ext cx="9144000" cy="757130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 eaLnBrk="1" hangingPunct="1">
              <a:lnSpc>
                <a:spcPct val="90000"/>
              </a:lnSpc>
              <a:buSzPct val="120000"/>
              <a:tabLst>
                <a:tab pos="357188" algn="l"/>
              </a:tabLst>
            </a:pPr>
            <a:r>
              <a:rPr lang="pt-BR" alt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TENCIAL DA PESCA E AQUICULTURA NO ESTADO DO PARÁ</a:t>
            </a:r>
          </a:p>
        </p:txBody>
      </p:sp>
      <p:sp>
        <p:nvSpPr>
          <p:cNvPr id="7" name="Retângulo com Canto Diagonal Aparado 6"/>
          <p:cNvSpPr/>
          <p:nvPr/>
        </p:nvSpPr>
        <p:spPr>
          <a:xfrm>
            <a:off x="5436096" y="3644832"/>
            <a:ext cx="3169096" cy="1728788"/>
          </a:xfrm>
          <a:prstGeom prst="snip2Diag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defRPr/>
            </a:pPr>
            <a:r>
              <a:rPr lang="pt-BR" sz="2000" b="1" dirty="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O Pará é o maior produtor de pescado do Brasil, com 35% da produção nacional</a:t>
            </a:r>
          </a:p>
        </p:txBody>
      </p:sp>
      <p:sp>
        <p:nvSpPr>
          <p:cNvPr id="70661" name="CaixaDeTexto 8"/>
          <p:cNvSpPr txBox="1">
            <a:spLocks noChangeArrowheads="1"/>
          </p:cNvSpPr>
          <p:nvPr/>
        </p:nvSpPr>
        <p:spPr bwMode="auto">
          <a:xfrm>
            <a:off x="26988" y="6237288"/>
            <a:ext cx="5741987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50000"/>
              </a:lnSpc>
            </a:pPr>
            <a:r>
              <a:rPr lang="pt-BR" altLang="pt-BR" sz="1100" b="1">
                <a:solidFill>
                  <a:schemeClr val="bg1"/>
                </a:solidFill>
                <a:cs typeface="Arial" panose="020B0604020202020204" pitchFamily="34" charset="0"/>
              </a:rPr>
              <a:t>Notas: </a:t>
            </a:r>
            <a:r>
              <a:rPr lang="pt-BR" altLang="pt-BR" sz="1100">
                <a:solidFill>
                  <a:schemeClr val="bg1"/>
                </a:solidFill>
                <a:cs typeface="Arial" panose="020B0604020202020204" pitchFamily="34" charset="0"/>
              </a:rPr>
              <a:t>Relatório Preliminar; produção em 2013 passou a ser auferida </a:t>
            </a:r>
            <a:r>
              <a:rPr lang="pt-BR" altLang="pt-BR" sz="1100" i="1">
                <a:solidFill>
                  <a:schemeClr val="bg1"/>
                </a:solidFill>
                <a:cs typeface="Arial" panose="020B0604020202020204" pitchFamily="34" charset="0"/>
              </a:rPr>
              <a:t>in loco</a:t>
            </a:r>
          </a:p>
          <a:p>
            <a:pPr>
              <a:lnSpc>
                <a:spcPct val="150000"/>
              </a:lnSpc>
            </a:pPr>
            <a:r>
              <a:rPr lang="pt-BR" altLang="pt-BR" sz="1100" b="1">
                <a:solidFill>
                  <a:schemeClr val="bg1"/>
                </a:solidFill>
                <a:cs typeface="Arial" panose="020B0604020202020204" pitchFamily="34" charset="0"/>
              </a:rPr>
              <a:t>Fonte: </a:t>
            </a:r>
            <a:r>
              <a:rPr lang="pt-BR" altLang="pt-BR" sz="1100">
                <a:solidFill>
                  <a:schemeClr val="bg1"/>
                </a:solidFill>
                <a:cs typeface="Arial" panose="020B0604020202020204" pitchFamily="34" charset="0"/>
              </a:rPr>
              <a:t>MPA (2013)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CaixaDeTexto 13"/>
          <p:cNvSpPr txBox="1">
            <a:spLocks noChangeArrowheads="1"/>
          </p:cNvSpPr>
          <p:nvPr/>
        </p:nvSpPr>
        <p:spPr bwMode="auto">
          <a:xfrm>
            <a:off x="35497" y="4509120"/>
            <a:ext cx="3528392" cy="16160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>
              <a:buFont typeface="Wingdings" panose="05000000000000000000" pitchFamily="2" charset="2"/>
              <a:buChar char="Ø"/>
            </a:pPr>
            <a:r>
              <a:rPr lang="pt-BR" altLang="pt-BR" sz="1600" b="1" dirty="0"/>
              <a:t> O Pará abriga o maior rebanho bubalino do Brasil e o 5º maior rebanho bovino nacional.</a:t>
            </a:r>
          </a:p>
          <a:p>
            <a:pPr algn="just">
              <a:buFont typeface="Wingdings" panose="05000000000000000000" pitchFamily="2" charset="2"/>
              <a:buChar char="Ø"/>
            </a:pPr>
            <a:endParaRPr lang="pt-BR" altLang="pt-BR" sz="300" b="1" dirty="0"/>
          </a:p>
          <a:p>
            <a:pPr algn="just">
              <a:buFont typeface="Wingdings" panose="05000000000000000000" pitchFamily="2" charset="2"/>
              <a:buChar char="Ø"/>
            </a:pPr>
            <a:r>
              <a:rPr lang="pt-BR" altLang="pt-BR" sz="1600" b="1" dirty="0"/>
              <a:t> Certificação internacional de área livre de aftosa com vacinação para todo o Estado.</a:t>
            </a:r>
          </a:p>
        </p:txBody>
      </p:sp>
      <p:sp>
        <p:nvSpPr>
          <p:cNvPr id="71683" name="Retângulo 3"/>
          <p:cNvSpPr>
            <a:spLocks noChangeArrowheads="1"/>
          </p:cNvSpPr>
          <p:nvPr/>
        </p:nvSpPr>
        <p:spPr bwMode="auto">
          <a:xfrm>
            <a:off x="395536" y="133623"/>
            <a:ext cx="8280400" cy="1109791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 eaLnBrk="1" hangingPunct="1">
              <a:lnSpc>
                <a:spcPct val="90000"/>
              </a:lnSpc>
              <a:buSzPct val="120000"/>
              <a:tabLst>
                <a:tab pos="357188" algn="l"/>
              </a:tabLst>
            </a:pPr>
            <a:r>
              <a:rPr lang="pt-BR" alt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 POTENCIAL DA PECUÁRIA NO ESTADO DO PARÁ</a:t>
            </a:r>
          </a:p>
        </p:txBody>
      </p:sp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6331644"/>
              </p:ext>
            </p:extLst>
          </p:nvPr>
        </p:nvGraphicFramePr>
        <p:xfrm>
          <a:off x="3854990" y="692917"/>
          <a:ext cx="5184576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Gráfico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4171710"/>
              </p:ext>
            </p:extLst>
          </p:nvPr>
        </p:nvGraphicFramePr>
        <p:xfrm>
          <a:off x="3635897" y="3356993"/>
          <a:ext cx="5403670" cy="2880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1686" name="Imagem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7" y="721806"/>
            <a:ext cx="3530385" cy="2736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16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16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682" grpId="0" animBg="1"/>
      <p:bldGraphic spid="12" grpId="0">
        <p:bldAsOne/>
      </p:bldGraphic>
      <p:bldGraphic spid="15" grpId="0">
        <p:bldAsOne/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89" name="Picture 8" descr="Capa Apresentacao-0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0" y="-1850"/>
            <a:ext cx="914022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 descr="Capa Apresentacao-02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8" t="3401" r="56618" b="75059"/>
          <a:stretch/>
        </p:blipFill>
        <p:spPr bwMode="auto">
          <a:xfrm>
            <a:off x="3359620" y="609025"/>
            <a:ext cx="5348398" cy="1477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2923907" y="341357"/>
            <a:ext cx="5609179" cy="24010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3673" dirty="0">
                <a:solidFill>
                  <a:schemeClr val="bg1"/>
                </a:solidFill>
              </a:rPr>
              <a:t>Pará 2030 – Plano Estratégico de Desenvolvimento Sustentável</a:t>
            </a:r>
          </a:p>
        </p:txBody>
      </p:sp>
    </p:spTree>
    <p:extLst>
      <p:ext uri="{BB962C8B-B14F-4D97-AF65-F5344CB8AC3E}">
        <p14:creationId xmlns:p14="http://schemas.microsoft.com/office/powerpoint/2010/main" val="204047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89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8" name="think-cell Slide" r:id="rId6" imgW="38100" imgH="38100" progId="">
                  <p:embed/>
                </p:oleObj>
              </mc:Choice>
              <mc:Fallback>
                <p:oleObj name="think-cell Slide" r:id="rId6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290" name="Picture 3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38" t="2711"/>
          <a:stretch>
            <a:fillRect/>
          </a:stretch>
        </p:blipFill>
        <p:spPr bwMode="auto">
          <a:xfrm>
            <a:off x="270" y="1563055"/>
            <a:ext cx="3122868" cy="2672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1" name="Picture 3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76" t="4572" r="4955"/>
          <a:stretch>
            <a:fillRect/>
          </a:stretch>
        </p:blipFill>
        <p:spPr bwMode="auto">
          <a:xfrm>
            <a:off x="2906092" y="1563055"/>
            <a:ext cx="3129347" cy="2573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2" name="Picture 3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73" t="11053" r="11052"/>
          <a:stretch>
            <a:fillRect/>
          </a:stretch>
        </p:blipFill>
        <p:spPr bwMode="auto">
          <a:xfrm>
            <a:off x="6006284" y="1563055"/>
            <a:ext cx="3137446" cy="25640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3" name="Picture 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" t="29581" b="19576"/>
          <a:stretch>
            <a:fillRect/>
          </a:stretch>
        </p:blipFill>
        <p:spPr bwMode="auto">
          <a:xfrm>
            <a:off x="489433" y="3832317"/>
            <a:ext cx="8654298" cy="3025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 flipH="1">
            <a:off x="-20788" y="3832318"/>
            <a:ext cx="9164517" cy="3025682"/>
          </a:xfrm>
          <a:prstGeom prst="rect">
            <a:avLst/>
          </a:prstGeom>
          <a:gradFill flip="none" rotWithShape="1">
            <a:gsLst>
              <a:gs pos="27000">
                <a:srgbClr val="0070C0"/>
              </a:gs>
              <a:gs pos="62000">
                <a:schemeClr val="accent1">
                  <a:lumMod val="75000"/>
                  <a:alpha val="82000"/>
                </a:schemeClr>
              </a:gs>
              <a:gs pos="100000">
                <a:schemeClr val="tx2">
                  <a:lumMod val="60000"/>
                  <a:lumOff val="40000"/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6" name="Rectangle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0906" y="3941172"/>
            <a:ext cx="6802929" cy="253261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3462" rIns="73462" bIns="73462" anchor="ctr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20000"/>
              </a:lnSpc>
              <a:buClrTx/>
              <a:buSzPct val="120000"/>
            </a:pPr>
            <a:r>
              <a:rPr lang="pt-BR" altLang="pt-BR" sz="2449">
                <a:solidFill>
                  <a:schemeClr val="bg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Alavancando a produção </a:t>
            </a:r>
            <a:r>
              <a:rPr lang="pt-BR" altLang="pt-BR" sz="2449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de </a:t>
            </a:r>
            <a:r>
              <a:rPr lang="pt-BR" altLang="pt-BR" sz="2449" b="1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minerais</a:t>
            </a:r>
            <a:r>
              <a:rPr lang="pt-BR" altLang="pt-BR" sz="2449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, solos, floresta e</a:t>
            </a:r>
            <a:r>
              <a:rPr lang="pt-BR" altLang="pt-BR" sz="2857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altLang="pt-BR" sz="2449" b="1">
                <a:solidFill>
                  <a:schemeClr val="bg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biodiversidade</a:t>
            </a:r>
            <a:r>
              <a:rPr lang="pt-BR" altLang="pt-BR" sz="2857">
                <a:solidFill>
                  <a:schemeClr val="bg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altLang="pt-BR" sz="2449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a partir de processos focados em práticas</a:t>
            </a:r>
            <a:r>
              <a:rPr lang="pt-BR" altLang="pt-BR" sz="2449" b="1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sustentáveis</a:t>
            </a:r>
            <a:r>
              <a:rPr lang="pt-BR" altLang="pt-BR" sz="2449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e agregação de valor</a:t>
            </a:r>
            <a:r>
              <a:rPr lang="pt-BR" altLang="pt-BR" sz="2449" b="1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altLang="pt-BR" sz="2449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que gerem</a:t>
            </a:r>
          </a:p>
          <a:p>
            <a:pPr eaLnBrk="1" hangingPunct="1">
              <a:lnSpc>
                <a:spcPct val="120000"/>
              </a:lnSpc>
              <a:buClrTx/>
              <a:buSzPct val="120000"/>
            </a:pPr>
            <a:r>
              <a:rPr lang="pt-BR" altLang="pt-BR" sz="2449" b="1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riqueza para os paraenses</a:t>
            </a:r>
            <a:endParaRPr lang="pt-BR" altLang="pt-BR" sz="2857" b="1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298" name="Title 1"/>
          <p:cNvSpPr>
            <a:spLocks noGrp="1"/>
          </p:cNvSpPr>
          <p:nvPr>
            <p:ph type="title"/>
          </p:nvPr>
        </p:nvSpPr>
        <p:spPr>
          <a:xfrm>
            <a:off x="2254955" y="537756"/>
            <a:ext cx="6495177" cy="502121"/>
          </a:xfr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 fontAlgn="base">
              <a:spcAft>
                <a:spcPct val="0"/>
              </a:spcAft>
              <a:buSzPct val="120000"/>
              <a:tabLst>
                <a:tab pos="357188" algn="l"/>
              </a:tabLst>
            </a:pPr>
            <a:r>
              <a:rPr lang="pt-BR" altLang="pt-BR" sz="3673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MA ECONOMIA DINÂMICA</a:t>
            </a:r>
          </a:p>
        </p:txBody>
      </p:sp>
    </p:spTree>
    <p:extLst>
      <p:ext uri="{BB962C8B-B14F-4D97-AF65-F5344CB8AC3E}">
        <p14:creationId xmlns:p14="http://schemas.microsoft.com/office/powerpoint/2010/main" val="1387954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2" name="think-cell Slide" r:id="rId7" imgW="493" imgH="493" progId="TCLayout.ActiveDocument.1">
                  <p:embed/>
                </p:oleObj>
              </mc:Choice>
              <mc:Fallback>
                <p:oleObj name="think-cell Slide" r:id="rId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3976" b="100000" l="0" r="5105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0770"/>
          <a:stretch/>
        </p:blipFill>
        <p:spPr>
          <a:xfrm>
            <a:off x="269" y="2903331"/>
            <a:ext cx="9143462" cy="3955417"/>
          </a:xfrm>
          <a:prstGeom prst="rect">
            <a:avLst/>
          </a:prstGeom>
        </p:spPr>
      </p:pic>
      <p:sp>
        <p:nvSpPr>
          <p:cNvPr id="4" name="Rectangle 5"/>
          <p:cNvSpPr txBox="1"/>
          <p:nvPr>
            <p:custDataLst>
              <p:tags r:id="rId3"/>
            </p:custDataLst>
          </p:nvPr>
        </p:nvSpPr>
        <p:spPr>
          <a:xfrm>
            <a:off x="308369" y="1786095"/>
            <a:ext cx="8114922" cy="1400646"/>
          </a:xfrm>
          <a:prstGeom prst="rect">
            <a:avLst/>
          </a:prstGeom>
          <a:noFill/>
          <a:ln>
            <a:noFill/>
          </a:ln>
        </p:spPr>
        <p:txBody>
          <a:bodyPr vert="horz" lIns="0" tIns="186595" rIns="186595" bIns="186595" rtlCol="0" anchor="ctr" anchorCtr="0">
            <a:noAutofit/>
          </a:bodyPr>
          <a:lstStyle>
            <a:lvl1pPr lvl="0" defTabSz="895350">
              <a:buSzPct val="120000"/>
              <a:defRPr>
                <a:latin typeface="+mn-lt"/>
              </a:defRPr>
            </a:lvl1pPr>
            <a:lvl2pPr marL="144463" lvl="1" indent="-142875" defTabSz="895350">
              <a:buSzPct val="120000"/>
              <a:buChar char="•"/>
              <a:defRPr>
                <a:latin typeface="+mn-lt"/>
              </a:defRPr>
            </a:lvl2pPr>
            <a:lvl3pPr marL="295275" lvl="2" indent="-149225" defTabSz="895350">
              <a:buChar char="–"/>
              <a:defRPr>
                <a:latin typeface="+mn-lt"/>
              </a:defRPr>
            </a:lvl3pPr>
            <a:lvl4pPr marL="431800" lvl="3" indent="-134938" defTabSz="895350">
              <a:buSzPct val="89000"/>
              <a:buChar char="•"/>
              <a:defRPr>
                <a:latin typeface="+mn-lt"/>
              </a:defRPr>
            </a:lvl4pPr>
            <a:lvl5pPr marL="582613" lvl="4" indent="-149225" defTabSz="895350">
              <a:buSzPct val="75000"/>
              <a:buChar char="–"/>
              <a:defRPr>
                <a:latin typeface="+mn-lt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9pPr>
          </a:lstStyle>
          <a:p>
            <a:pPr>
              <a:lnSpc>
                <a:spcPct val="120000"/>
              </a:lnSpc>
            </a:pPr>
            <a:r>
              <a:rPr lang="pt-BR" sz="2449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endo </a:t>
            </a:r>
            <a:r>
              <a:rPr lang="pt-BR" sz="2857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reconhecida</a:t>
            </a:r>
            <a:r>
              <a:rPr lang="pt-BR" sz="2449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449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pela sociedade como </a:t>
            </a:r>
            <a:r>
              <a:rPr lang="pt-BR" sz="2857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pioneira na implantação de políticas públicas</a:t>
            </a:r>
            <a:r>
              <a:rPr lang="pt-BR" sz="2449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449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de produção sustentável e exportando soluções inovadoras para o mundo</a:t>
            </a:r>
          </a:p>
        </p:txBody>
      </p:sp>
      <p:sp>
        <p:nvSpPr>
          <p:cNvPr id="10" name="Rectangle 5"/>
          <p:cNvSpPr txBox="1"/>
          <p:nvPr>
            <p:custDataLst>
              <p:tags r:id="rId4"/>
            </p:custDataLst>
          </p:nvPr>
        </p:nvSpPr>
        <p:spPr>
          <a:xfrm>
            <a:off x="2072339" y="503661"/>
            <a:ext cx="7071392" cy="691441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defTabSz="895350" eaLnBrk="1" hangingPunct="1">
              <a:buSzPct val="120000"/>
              <a:tabLst>
                <a:tab pos="357188" algn="l"/>
              </a:tabLst>
              <a:defRPr sz="3673" b="1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defTabSz="895350" eaLnBrk="1" hangingPunct="1">
              <a:defRPr sz="1900" b="1">
                <a:solidFill>
                  <a:schemeClr val="tx2"/>
                </a:solidFill>
              </a:defRPr>
            </a:lvl2pPr>
            <a:lvl3pPr defTabSz="895350" eaLnBrk="1" hangingPunct="1">
              <a:defRPr sz="1900" b="1">
                <a:solidFill>
                  <a:schemeClr val="tx2"/>
                </a:solidFill>
              </a:defRPr>
            </a:lvl3pPr>
            <a:lvl4pPr defTabSz="895350" eaLnBrk="1" hangingPunct="1">
              <a:defRPr sz="1900" b="1">
                <a:solidFill>
                  <a:schemeClr val="tx2"/>
                </a:solidFill>
              </a:defRPr>
            </a:lvl4pPr>
            <a:lvl5pPr defTabSz="895350" eaLnBrk="1" hangingPunct="1">
              <a:defRPr sz="1900" b="1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lang="pt-BR" dirty="0"/>
              <a:t>Ancorada em práticas sustentáveis</a:t>
            </a:r>
          </a:p>
        </p:txBody>
      </p:sp>
      <p:pic>
        <p:nvPicPr>
          <p:cNvPr id="9" name="Picture 6"/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964" b="62169" l="35280" r="6273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0770"/>
          <a:stretch/>
        </p:blipFill>
        <p:spPr>
          <a:xfrm>
            <a:off x="268" y="2880233"/>
            <a:ext cx="9143462" cy="3955417"/>
          </a:xfrm>
          <a:prstGeom prst="rect">
            <a:avLst/>
          </a:prstGeom>
        </p:spPr>
      </p:pic>
      <p:pic>
        <p:nvPicPr>
          <p:cNvPr id="12" name="Picture 6"/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3373" b="100000" l="45093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0770"/>
          <a:stretch/>
        </p:blipFill>
        <p:spPr>
          <a:xfrm>
            <a:off x="267" y="2903330"/>
            <a:ext cx="9143462" cy="3955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45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pt-BR" sz="1428" b="1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69" y="1059865"/>
            <a:ext cx="5075787" cy="1126836"/>
            <a:chOff x="-1" y="457266"/>
            <a:chExt cx="3886201" cy="1104403"/>
          </a:xfrm>
        </p:grpSpPr>
        <p:sp>
          <p:nvSpPr>
            <p:cNvPr id="64" name="Round Single Corner Rectangle 63"/>
            <p:cNvSpPr/>
            <p:nvPr/>
          </p:nvSpPr>
          <p:spPr>
            <a:xfrm flipV="1">
              <a:off x="-1" y="802318"/>
              <a:ext cx="3886201" cy="745376"/>
            </a:xfrm>
            <a:prstGeom prst="round1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0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43" name="AutoShape 250"/>
            <p:cNvSpPr>
              <a:spLocks noChangeArrowheads="1"/>
            </p:cNvSpPr>
            <p:nvPr/>
          </p:nvSpPr>
          <p:spPr bwMode="auto">
            <a:xfrm>
              <a:off x="264707" y="457266"/>
              <a:ext cx="3409950" cy="110440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659" anchor="b">
              <a:spAutoFit/>
            </a:bodyPr>
            <a:lstStyle/>
            <a:p>
              <a:r>
                <a:rPr lang="en-US" sz="2400" b="1" dirty="0">
                  <a:solidFill>
                    <a:schemeClr val="bg1"/>
                  </a:solidFill>
                  <a:latin typeface="+mj-lt"/>
                  <a:cs typeface="Tahoma" panose="020B0604030504040204" pitchFamily="34" charset="0"/>
                </a:rPr>
                <a:t>Mercado </a:t>
              </a:r>
              <a:r>
                <a:rPr lang="pt-BR" sz="2400" b="1" dirty="0">
                  <a:solidFill>
                    <a:schemeClr val="bg1"/>
                  </a:solidFill>
                  <a:latin typeface="+mj-lt"/>
                  <a:cs typeface="Tahoma" panose="020B0604030504040204" pitchFamily="34" charset="0"/>
                </a:rPr>
                <a:t>brasileiro</a:t>
              </a:r>
              <a:r>
                <a:rPr lang="en-US" sz="2400" b="1" dirty="0">
                  <a:solidFill>
                    <a:schemeClr val="bg1"/>
                  </a:solidFill>
                  <a:latin typeface="+mj-lt"/>
                  <a:cs typeface="Tahoma" panose="020B0604030504040204" pitchFamily="34" charset="0"/>
                </a:rPr>
                <a:t> de </a:t>
              </a:r>
              <a:r>
                <a:rPr lang="pt-BR" sz="2400" b="1" dirty="0">
                  <a:solidFill>
                    <a:schemeClr val="bg1"/>
                  </a:solidFill>
                  <a:latin typeface="+mj-lt"/>
                  <a:cs typeface="Tahoma" panose="020B0604030504040204" pitchFamily="34" charset="0"/>
                </a:rPr>
                <a:t>cosméticos</a:t>
              </a:r>
              <a:endParaRPr lang="pt-BR" sz="2400" b="1" baseline="30000" dirty="0">
                <a:solidFill>
                  <a:schemeClr val="bg1"/>
                </a:solidFill>
                <a:latin typeface="+mj-lt"/>
                <a:cs typeface="Tahoma" panose="020B0604030504040204" pitchFamily="34" charset="0"/>
              </a:endParaRPr>
            </a:p>
            <a:p>
              <a:r>
                <a:rPr lang="en-US" sz="2400" dirty="0">
                  <a:solidFill>
                    <a:schemeClr val="bg1"/>
                  </a:solidFill>
                  <a:latin typeface="+mj-lt"/>
                  <a:cs typeface="Tahoma" panose="020B0604030504040204" pitchFamily="34" charset="0"/>
                </a:rPr>
                <a:t>U$ </a:t>
              </a:r>
              <a:r>
                <a:rPr lang="pt-BR" sz="2400" dirty="0">
                  <a:solidFill>
                    <a:schemeClr val="bg1"/>
                  </a:solidFill>
                  <a:latin typeface="+mj-lt"/>
                  <a:cs typeface="Tahoma" panose="020B0604030504040204" pitchFamily="34" charset="0"/>
                </a:rPr>
                <a:t>bilhões</a:t>
              </a:r>
            </a:p>
          </p:txBody>
        </p:sp>
      </p:grpSp>
      <p:sp>
        <p:nvSpPr>
          <p:cNvPr id="33" name="Rectangle 5"/>
          <p:cNvSpPr txBox="1"/>
          <p:nvPr>
            <p:custDataLst>
              <p:tags r:id="rId4"/>
            </p:custDataLst>
          </p:nvPr>
        </p:nvSpPr>
        <p:spPr>
          <a:xfrm>
            <a:off x="157558" y="227985"/>
            <a:ext cx="7901116" cy="494311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</p:spPr>
        <p:txBody>
          <a:bodyPr vert="horz" lIns="0" tIns="73462" rIns="73462" bIns="73462" rtlCol="0" anchor="ctr" anchorCtr="0">
            <a:noAutofit/>
          </a:bodyPr>
          <a:lstStyle>
            <a:defPPr>
              <a:defRPr lang="pt-BR"/>
            </a:defPPr>
            <a:lvl1pPr defTabSz="895350">
              <a:lnSpc>
                <a:spcPct val="90000"/>
              </a:lnSpc>
              <a:buSzPct val="120000"/>
              <a:defRPr sz="2857" b="1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pt-BR" dirty="0"/>
              <a:t>INOVAÇÃO</a:t>
            </a:r>
          </a:p>
        </p:txBody>
      </p:sp>
      <p:grpSp>
        <p:nvGrpSpPr>
          <p:cNvPr id="9" name="Agrupar 8"/>
          <p:cNvGrpSpPr/>
          <p:nvPr/>
        </p:nvGrpSpPr>
        <p:grpSpPr>
          <a:xfrm>
            <a:off x="270" y="4950963"/>
            <a:ext cx="9143462" cy="1149943"/>
            <a:chOff x="270" y="4950963"/>
            <a:chExt cx="9143462" cy="1149943"/>
          </a:xfrm>
        </p:grpSpPr>
        <p:sp>
          <p:nvSpPr>
            <p:cNvPr id="70" name="Rectangle 2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271" y="4950963"/>
              <a:ext cx="9143461" cy="1149943"/>
            </a:xfrm>
            <a:prstGeom prst="rect">
              <a:avLst/>
            </a:prstGeom>
            <a:solidFill>
              <a:schemeClr val="accent1">
                <a:alpha val="44000"/>
              </a:schemeClr>
            </a:solidFill>
            <a:ln>
              <a:noFill/>
            </a:ln>
          </p:spPr>
          <p:txBody>
            <a:bodyPr vert="horz" lIns="77748" tIns="77748" rIns="77748" bIns="77748" rtlCol="0" anchor="t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pt-BR" dirty="0">
                <a:latin typeface="+mj-lt"/>
              </a:endParaRPr>
            </a:p>
          </p:txBody>
        </p:sp>
        <p:sp>
          <p:nvSpPr>
            <p:cNvPr id="71" name="Rectangle 5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270" y="4950963"/>
              <a:ext cx="1256093" cy="1149943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endParaRPr lang="pt-BR" dirty="0">
                <a:latin typeface="+mj-lt"/>
              </a:endParaRPr>
            </a:p>
          </p:txBody>
        </p:sp>
        <p:pic>
          <p:nvPicPr>
            <p:cNvPr id="34" name="Picture 33"/>
            <p:cNvPicPr>
              <a:picLocks/>
            </p:cNvPicPr>
            <p:nvPr/>
          </p:nvPicPr>
          <p:blipFill>
            <a:blip r:embed="rId12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304992" y="5111055"/>
              <a:ext cx="828864" cy="82975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75" name="TextBox 23"/>
            <p:cNvSpPr txBox="1"/>
            <p:nvPr>
              <p:custDataLst>
                <p:tags r:id="rId7"/>
              </p:custDataLst>
            </p:nvPr>
          </p:nvSpPr>
          <p:spPr>
            <a:xfrm>
              <a:off x="1412687" y="5381215"/>
              <a:ext cx="7619280" cy="2894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0" lvl="1" indent="0" defTabSz="895350" eaLnBrk="1" hangingPunct="1">
                <a:buClr>
                  <a:schemeClr val="tx2"/>
                </a:buClr>
                <a:buSzPct val="120000"/>
                <a:buFont typeface="Arial" charset="0"/>
                <a:buNone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pt-BR" dirty="0">
                  <a:latin typeface="+mj-lt"/>
                  <a:cs typeface="Tahoma" panose="020B0604030504040204" pitchFamily="34" charset="0"/>
                </a:rPr>
                <a:t>Recursos Potenciais para </a:t>
              </a:r>
              <a:r>
                <a:rPr lang="pt-BR" b="1" dirty="0" err="1">
                  <a:solidFill>
                    <a:srgbClr val="C00000"/>
                  </a:solidFill>
                  <a:latin typeface="+mj-lt"/>
                  <a:cs typeface="Tahoma" panose="020B0604030504040204" pitchFamily="34" charset="0"/>
                </a:rPr>
                <a:t>Biocosméticos</a:t>
              </a:r>
              <a:r>
                <a:rPr lang="pt-BR" b="1" dirty="0">
                  <a:solidFill>
                    <a:srgbClr val="C00000"/>
                  </a:solidFill>
                  <a:latin typeface="+mj-lt"/>
                  <a:cs typeface="Tahoma" panose="020B0604030504040204" pitchFamily="34" charset="0"/>
                </a:rPr>
                <a:t> e Fármacos</a:t>
              </a:r>
            </a:p>
          </p:txBody>
        </p:sp>
      </p:grpSp>
      <p:sp>
        <p:nvSpPr>
          <p:cNvPr id="42" name="McK 5. Source"/>
          <p:cNvSpPr>
            <a:spLocks noChangeArrowheads="1"/>
          </p:cNvSpPr>
          <p:nvPr/>
        </p:nvSpPr>
        <p:spPr bwMode="auto">
          <a:xfrm>
            <a:off x="157558" y="6523528"/>
            <a:ext cx="700215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513454" indent="-513454" defTabSz="913526">
              <a:tabLst>
                <a:tab pos="458383" algn="l"/>
              </a:tabLst>
            </a:pPr>
            <a:r>
              <a:rPr lang="pt-BR" sz="1020" dirty="0">
                <a:solidFill>
                  <a:schemeClr val="bg1"/>
                </a:solidFill>
                <a:latin typeface="+mj-lt"/>
              </a:rPr>
              <a:t>FONTE: </a:t>
            </a:r>
            <a:r>
              <a:rPr lang="pt-BR" sz="1020" dirty="0" err="1">
                <a:solidFill>
                  <a:schemeClr val="bg1"/>
                </a:solidFill>
                <a:latin typeface="+mj-lt"/>
              </a:rPr>
              <a:t>McK</a:t>
            </a:r>
            <a:endParaRPr lang="pt-BR" sz="102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7935" y="1509477"/>
            <a:ext cx="4085504" cy="2993957"/>
          </a:xfrm>
          <a:prstGeom prst="rect">
            <a:avLst/>
          </a:prstGeom>
        </p:spPr>
      </p:pic>
      <p:grpSp>
        <p:nvGrpSpPr>
          <p:cNvPr id="7" name="Agrupar 6"/>
          <p:cNvGrpSpPr/>
          <p:nvPr/>
        </p:nvGrpSpPr>
        <p:grpSpPr>
          <a:xfrm>
            <a:off x="201715" y="2209573"/>
            <a:ext cx="4672893" cy="2849120"/>
            <a:chOff x="215041" y="2194492"/>
            <a:chExt cx="4672893" cy="2849120"/>
          </a:xfrm>
        </p:grpSpPr>
        <p:pic>
          <p:nvPicPr>
            <p:cNvPr id="6" name="Imagem 5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215041" y="2194492"/>
              <a:ext cx="4672893" cy="2849120"/>
            </a:xfrm>
            <a:prstGeom prst="rect">
              <a:avLst/>
            </a:prstGeom>
          </p:spPr>
        </p:pic>
        <p:sp>
          <p:nvSpPr>
            <p:cNvPr id="4" name="CaixaDeTexto 3"/>
            <p:cNvSpPr txBox="1"/>
            <p:nvPr/>
          </p:nvSpPr>
          <p:spPr>
            <a:xfrm>
              <a:off x="1133856" y="3388062"/>
              <a:ext cx="629832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000" dirty="0"/>
                <a:t>29</a:t>
              </a:r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3271712" y="2236678"/>
              <a:ext cx="796232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2000" dirty="0"/>
                <a:t>82,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1408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6" name="think-cell Slide" r:id="rId8" imgW="493" imgH="493" progId="TCLayout.ActiveDocument.1">
                  <p:embed/>
                </p:oleObj>
              </mc:Choice>
              <mc:Fallback>
                <p:oleObj name="think-cell Slide" r:id="rId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70" y="4192719"/>
            <a:ext cx="9155426" cy="26652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txBody>
          <a:bodyPr vert="horz" lIns="77748" tIns="77748" rIns="77748" bIns="77748" rtlCol="0" anchor="t" anchorCtr="0">
            <a:noAutofit/>
          </a:bodyPr>
          <a:lstStyle>
            <a:lvl1pPr lvl="0" defTabSz="895350">
              <a:buSzPct val="120000"/>
              <a:defRPr>
                <a:latin typeface="+mn-lt"/>
              </a:defRPr>
            </a:lvl1pPr>
            <a:lvl2pPr marL="144463" lvl="1" indent="-142875" defTabSz="895350">
              <a:buSzPct val="120000"/>
              <a:buChar char="•"/>
              <a:defRPr>
                <a:latin typeface="+mn-lt"/>
              </a:defRPr>
            </a:lvl2pPr>
            <a:lvl3pPr marL="295275" lvl="2" indent="-149225" defTabSz="895350">
              <a:buChar char="–"/>
              <a:defRPr>
                <a:latin typeface="+mn-lt"/>
              </a:defRPr>
            </a:lvl3pPr>
            <a:lvl4pPr marL="431800" lvl="3" indent="-134938" defTabSz="895350">
              <a:buSzPct val="89000"/>
              <a:buChar char="•"/>
              <a:defRPr>
                <a:latin typeface="+mn-lt"/>
              </a:defRPr>
            </a:lvl4pPr>
            <a:lvl5pPr marL="582613" lvl="4" indent="-149225" defTabSz="895350">
              <a:buSzPct val="75000"/>
              <a:buChar char="–"/>
              <a:defRPr>
                <a:latin typeface="+mn-lt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9pPr>
          </a:lstStyle>
          <a:p>
            <a:endParaRPr lang="pt-BR" sz="1122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81" b="15"/>
          <a:stretch/>
        </p:blipFill>
        <p:spPr>
          <a:xfrm>
            <a:off x="12235" y="1573022"/>
            <a:ext cx="9143461" cy="6508249"/>
          </a:xfrm>
          <a:prstGeom prst="rect">
            <a:avLst/>
          </a:prstGeom>
        </p:spPr>
      </p:pic>
      <p:sp>
        <p:nvSpPr>
          <p:cNvPr id="4" name="Rectangle 5"/>
          <p:cNvSpPr txBox="1"/>
          <p:nvPr>
            <p:custDataLst>
              <p:tags r:id="rId4"/>
            </p:custDataLst>
          </p:nvPr>
        </p:nvSpPr>
        <p:spPr>
          <a:xfrm>
            <a:off x="5015774" y="1444780"/>
            <a:ext cx="4173585" cy="2897453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</p:spPr>
        <p:txBody>
          <a:bodyPr vert="horz" lIns="0" tIns="73462" rIns="73462" bIns="73462" rtlCol="0" anchor="ctr" anchorCtr="0">
            <a:noAutofit/>
          </a:bodyPr>
          <a:lstStyle>
            <a:defPPr>
              <a:defRPr lang="en-US"/>
            </a:defPPr>
            <a:lvl1pPr lvl="0" defTabSz="895350">
              <a:buSzPct val="120000"/>
              <a:defRPr sz="2800" b="1">
                <a:solidFill>
                  <a:schemeClr val="bg2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1pPr>
            <a:lvl2pPr marL="144463" lvl="1" indent="-142875" defTabSz="895350">
              <a:buSzPct val="120000"/>
              <a:buChar char="•"/>
              <a:defRPr>
                <a:latin typeface="+mn-lt"/>
              </a:defRPr>
            </a:lvl2pPr>
            <a:lvl3pPr marL="295275" lvl="2" indent="-149225" defTabSz="895350">
              <a:buChar char="–"/>
              <a:defRPr>
                <a:latin typeface="+mn-lt"/>
              </a:defRPr>
            </a:lvl3pPr>
            <a:lvl4pPr marL="431800" lvl="3" indent="-134938" defTabSz="895350">
              <a:buSzPct val="89000"/>
              <a:buChar char="•"/>
              <a:defRPr>
                <a:latin typeface="+mn-lt"/>
              </a:defRPr>
            </a:lvl4pPr>
            <a:lvl5pPr marL="582613" lvl="4" indent="-149225" defTabSz="895350">
              <a:buSzPct val="75000"/>
              <a:buChar char="–"/>
              <a:defRPr>
                <a:latin typeface="+mn-lt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9pPr>
          </a:lstStyle>
          <a:p>
            <a:r>
              <a:rPr lang="pt-BR" sz="2449" b="0" dirty="0">
                <a:solidFill>
                  <a:schemeClr val="tx2">
                    <a:lumMod val="75000"/>
                  </a:schemeClr>
                </a:solidFill>
                <a:ea typeface="Tahoma" panose="020B0604030504040204" pitchFamily="34" charset="0"/>
              </a:rPr>
              <a:t>Proporcionando</a:t>
            </a:r>
            <a:r>
              <a:rPr lang="pt-BR" sz="2857" b="0" dirty="0">
                <a:solidFill>
                  <a:schemeClr val="tx2">
                    <a:lumMod val="75000"/>
                  </a:schemeClr>
                </a:solidFill>
                <a:ea typeface="Tahoma" panose="020B0604030504040204" pitchFamily="34" charset="0"/>
              </a:rPr>
              <a:t> </a:t>
            </a:r>
            <a:r>
              <a:rPr lang="pt-BR" sz="2857" dirty="0">
                <a:solidFill>
                  <a:schemeClr val="tx2">
                    <a:lumMod val="75000"/>
                  </a:schemeClr>
                </a:solidFill>
                <a:ea typeface="Tahoma" panose="020B0604030504040204" pitchFamily="34" charset="0"/>
              </a:rPr>
              <a:t>igualdade de oportunidades </a:t>
            </a:r>
            <a:r>
              <a:rPr lang="pt-BR" sz="2449" b="0" dirty="0">
                <a:solidFill>
                  <a:schemeClr val="tx2">
                    <a:lumMod val="75000"/>
                  </a:schemeClr>
                </a:solidFill>
                <a:ea typeface="Tahoma" panose="020B0604030504040204" pitchFamily="34" charset="0"/>
              </a:rPr>
              <a:t>e</a:t>
            </a:r>
            <a:r>
              <a:rPr lang="pt-BR" sz="2857" b="0" dirty="0">
                <a:solidFill>
                  <a:schemeClr val="tx2">
                    <a:lumMod val="75000"/>
                  </a:schemeClr>
                </a:solidFill>
                <a:ea typeface="Tahoma" panose="020B0604030504040204" pitchFamily="34" charset="0"/>
              </a:rPr>
              <a:t> </a:t>
            </a:r>
            <a:r>
              <a:rPr lang="pt-BR" sz="2857" dirty="0">
                <a:solidFill>
                  <a:schemeClr val="tx2">
                    <a:lumMod val="75000"/>
                  </a:schemeClr>
                </a:solidFill>
                <a:ea typeface="Tahoma" panose="020B0604030504040204" pitchFamily="34" charset="0"/>
              </a:rPr>
              <a:t>crescimento</a:t>
            </a:r>
          </a:p>
          <a:p>
            <a:r>
              <a:rPr lang="pt-BR" sz="2857" dirty="0">
                <a:solidFill>
                  <a:schemeClr val="tx2">
                    <a:lumMod val="75000"/>
                  </a:schemeClr>
                </a:solidFill>
                <a:ea typeface="Tahoma" panose="020B0604030504040204" pitchFamily="34" charset="0"/>
              </a:rPr>
              <a:t>econômico acelerado distribuídos </a:t>
            </a:r>
            <a:r>
              <a:rPr lang="pt-BR" sz="2449" b="0" dirty="0">
                <a:solidFill>
                  <a:schemeClr val="tx2">
                    <a:lumMod val="75000"/>
                  </a:schemeClr>
                </a:solidFill>
                <a:ea typeface="Tahoma" panose="020B0604030504040204" pitchFamily="34" charset="0"/>
              </a:rPr>
              <a:t>por todo o território paraense</a:t>
            </a:r>
            <a:endParaRPr lang="pt-BR" sz="2857" b="0" dirty="0">
              <a:solidFill>
                <a:schemeClr val="tx2">
                  <a:lumMod val="75000"/>
                </a:schemeClr>
              </a:solidFill>
              <a:ea typeface="Tahoma" panose="020B0604030504040204" pitchFamily="34" charset="0"/>
            </a:endParaRPr>
          </a:p>
        </p:txBody>
      </p:sp>
      <p:sp>
        <p:nvSpPr>
          <p:cNvPr id="13" name="Rectangle 5"/>
          <p:cNvSpPr txBox="1"/>
          <p:nvPr>
            <p:custDataLst>
              <p:tags r:id="rId5"/>
            </p:custDataLst>
          </p:nvPr>
        </p:nvSpPr>
        <p:spPr>
          <a:xfrm>
            <a:off x="1964889" y="1"/>
            <a:ext cx="7178841" cy="1660008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</p:spPr>
        <p:txBody>
          <a:bodyPr vert="horz" lIns="0" tIns="73462" rIns="73462" bIns="73462" rtlCol="0" anchor="ctr" anchorCtr="0">
            <a:noAutofit/>
          </a:bodyPr>
          <a:lstStyle>
            <a:lvl1pPr lvl="0" defTabSz="895350">
              <a:buSzPct val="120000"/>
              <a:defRPr>
                <a:latin typeface="+mn-lt"/>
              </a:defRPr>
            </a:lvl1pPr>
            <a:lvl2pPr marL="144463" lvl="1" indent="-142875" defTabSz="895350">
              <a:buSzPct val="120000"/>
              <a:buChar char="•"/>
              <a:defRPr>
                <a:latin typeface="+mn-lt"/>
              </a:defRPr>
            </a:lvl2pPr>
            <a:lvl3pPr marL="295275" lvl="2" indent="-149225" defTabSz="895350">
              <a:buChar char="–"/>
              <a:defRPr>
                <a:latin typeface="+mn-lt"/>
              </a:defRPr>
            </a:lvl3pPr>
            <a:lvl4pPr marL="431800" lvl="3" indent="-134938" defTabSz="895350">
              <a:buSzPct val="89000"/>
              <a:buChar char="•"/>
              <a:defRPr>
                <a:latin typeface="+mn-lt"/>
              </a:defRPr>
            </a:lvl4pPr>
            <a:lvl5pPr marL="582613" lvl="4" indent="-149225" defTabSz="895350">
              <a:buSzPct val="75000"/>
              <a:buChar char="–"/>
              <a:defRPr>
                <a:latin typeface="+mn-lt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9pPr>
          </a:lstStyle>
          <a:p>
            <a:r>
              <a:rPr lang="pt-BR" sz="2857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Que gere riqueza para a população paraense </a:t>
            </a:r>
          </a:p>
        </p:txBody>
      </p:sp>
    </p:spTree>
    <p:extLst>
      <p:ext uri="{BB962C8B-B14F-4D97-AF65-F5344CB8AC3E}">
        <p14:creationId xmlns:p14="http://schemas.microsoft.com/office/powerpoint/2010/main" val="57887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2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052736"/>
            <a:ext cx="3384376" cy="3374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4212" name="Retângulo 8"/>
          <p:cNvSpPr>
            <a:spLocks noChangeArrowheads="1"/>
          </p:cNvSpPr>
          <p:nvPr/>
        </p:nvSpPr>
        <p:spPr bwMode="auto">
          <a:xfrm>
            <a:off x="227468" y="4581128"/>
            <a:ext cx="8916532" cy="14203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pt-BR" altLang="pt-BR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Pará é o 2º maior Estado brasileiro, com 1.247.950 Km², caso fosse considerado um país seria um dos 25 maiores do mundo, com extensão territorial que supera Portugal, Espanha e França somados.</a:t>
            </a:r>
          </a:p>
        </p:txBody>
      </p:sp>
      <p:sp>
        <p:nvSpPr>
          <p:cNvPr id="6" name="Retângulo 1"/>
          <p:cNvSpPr>
            <a:spLocks noChangeArrowheads="1"/>
          </p:cNvSpPr>
          <p:nvPr/>
        </p:nvSpPr>
        <p:spPr bwMode="auto">
          <a:xfrm>
            <a:off x="613901" y="129415"/>
            <a:ext cx="5280613" cy="424732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 eaLnBrk="1" hangingPunct="1">
              <a:lnSpc>
                <a:spcPct val="90000"/>
              </a:lnSpc>
              <a:buSzPct val="120000"/>
              <a:tabLst>
                <a:tab pos="357188" algn="l"/>
              </a:tabLst>
            </a:pPr>
            <a:r>
              <a:rPr lang="pt-BR" alt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Á – DIMENSÃO GEOGRÁFICA</a:t>
            </a:r>
          </a:p>
        </p:txBody>
      </p:sp>
      <p:pic>
        <p:nvPicPr>
          <p:cNvPr id="86018" name="Picture 2" descr="https://upload.wikimedia.org/wikipedia/commons/thumb/5/5c/Flag_of_Portugal.svg/125px-Flag_of_Portugal.sv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972" y="1105490"/>
            <a:ext cx="1190625" cy="790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89597" y="2204864"/>
            <a:ext cx="1175817" cy="783682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414" y="3388954"/>
            <a:ext cx="1190625" cy="79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568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94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1" dur="2000"/>
                                        <p:tgtEl>
                                          <p:spTgt spid="94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0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860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60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860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0"/>
                            </p:stCondLst>
                            <p:childTnLst>
                              <p:par>
                                <p:cTn id="1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6000"/>
                            </p:stCondLst>
                            <p:childTnLst>
                              <p:par>
                                <p:cTn id="2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212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4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70" y="1"/>
                        <a:ext cx="16197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o 3"/>
          <p:cNvGrpSpPr>
            <a:grpSpLocks noChangeAspect="1"/>
          </p:cNvGrpSpPr>
          <p:nvPr/>
        </p:nvGrpSpPr>
        <p:grpSpPr>
          <a:xfrm>
            <a:off x="5676989" y="4463392"/>
            <a:ext cx="3396009" cy="2132270"/>
            <a:chOff x="4857842" y="3783387"/>
            <a:chExt cx="4144814" cy="2602427"/>
          </a:xfrm>
        </p:grpSpPr>
        <p:grpSp>
          <p:nvGrpSpPr>
            <p:cNvPr id="44" name="Group 43"/>
            <p:cNvGrpSpPr/>
            <p:nvPr/>
          </p:nvGrpSpPr>
          <p:grpSpPr>
            <a:xfrm>
              <a:off x="4857842" y="3783387"/>
              <a:ext cx="4144814" cy="2222472"/>
              <a:chOff x="4926007" y="4003217"/>
              <a:chExt cx="4144814" cy="2222472"/>
            </a:xfrm>
          </p:grpSpPr>
          <p:sp>
            <p:nvSpPr>
              <p:cNvPr id="215" name="Rectangle 214"/>
              <p:cNvSpPr/>
              <p:nvPr/>
            </p:nvSpPr>
            <p:spPr>
              <a:xfrm>
                <a:off x="4926007" y="4223537"/>
                <a:ext cx="4035432" cy="45719"/>
              </a:xfrm>
              <a:prstGeom prst="rect">
                <a:avLst/>
              </a:prstGeom>
              <a:solidFill>
                <a:srgbClr val="4866AC"/>
              </a:solidFill>
              <a:ln w="9525">
                <a:solidFill>
                  <a:srgbClr val="4866A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107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5" name="Rectangle 8"/>
              <p:cNvSpPr txBox="1">
                <a:spLocks/>
              </p:cNvSpPr>
              <p:nvPr/>
            </p:nvSpPr>
            <p:spPr>
              <a:xfrm>
                <a:off x="5206071" y="4722779"/>
                <a:ext cx="1450634" cy="175905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828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341313" lvl="0" indent="-3413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1pPr>
                <a:lvl2pPr marL="739775" lvl="1" indent="-28416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2pPr>
                <a:lvl3pPr marL="1139825" lvl="2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3pPr>
                <a:lvl4pPr marL="1595438" lvl="3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4pPr>
                <a:lvl5pPr marL="2052638" lvl="4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5pPr>
                <a:lvl6pPr marL="2509010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6pPr>
                <a:lvl7pPr marL="2965193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7pPr>
                <a:lvl8pPr marL="3421374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8pPr>
                <a:lvl9pPr marL="3877559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r>
                  <a:rPr lang="pt-BR" sz="918" dirty="0"/>
                  <a:t>Grãos</a:t>
                </a:r>
              </a:p>
            </p:txBody>
          </p:sp>
          <p:sp>
            <p:nvSpPr>
              <p:cNvPr id="178" name="Rectangle 8"/>
              <p:cNvSpPr txBox="1">
                <a:spLocks/>
              </p:cNvSpPr>
              <p:nvPr/>
            </p:nvSpPr>
            <p:spPr>
              <a:xfrm>
                <a:off x="5206071" y="5035930"/>
                <a:ext cx="1450634" cy="175905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828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341313" lvl="0" indent="-3413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1pPr>
                <a:lvl2pPr marL="739775" lvl="1" indent="-28416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2pPr>
                <a:lvl3pPr marL="1139825" lvl="2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3pPr>
                <a:lvl4pPr marL="1595438" lvl="3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4pPr>
                <a:lvl5pPr marL="2052638" lvl="4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5pPr>
                <a:lvl6pPr marL="2509010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6pPr>
                <a:lvl7pPr marL="2965193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7pPr>
                <a:lvl8pPr marL="3421374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8pPr>
                <a:lvl9pPr marL="3877559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r>
                  <a:rPr lang="pt-BR" sz="918" dirty="0"/>
                  <a:t>Biodiversidade¹ </a:t>
                </a:r>
              </a:p>
            </p:txBody>
          </p:sp>
          <p:sp>
            <p:nvSpPr>
              <p:cNvPr id="181" name="Rectangle 8"/>
              <p:cNvSpPr txBox="1">
                <a:spLocks/>
              </p:cNvSpPr>
              <p:nvPr/>
            </p:nvSpPr>
            <p:spPr>
              <a:xfrm>
                <a:off x="5206071" y="5647419"/>
                <a:ext cx="1450634" cy="175905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828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341313" lvl="0" indent="-3413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1pPr>
                <a:lvl2pPr marL="739775" lvl="1" indent="-28416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2pPr>
                <a:lvl3pPr marL="1139825" lvl="2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3pPr>
                <a:lvl4pPr marL="1595438" lvl="3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4pPr>
                <a:lvl5pPr marL="2052638" lvl="4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5pPr>
                <a:lvl6pPr marL="2509010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6pPr>
                <a:lvl7pPr marL="2965193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7pPr>
                <a:lvl8pPr marL="3421374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8pPr>
                <a:lvl9pPr marL="3877559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r>
                  <a:rPr lang="pt-BR" sz="918" dirty="0"/>
                  <a:t>Logística</a:t>
                </a:r>
              </a:p>
            </p:txBody>
          </p:sp>
          <p:sp>
            <p:nvSpPr>
              <p:cNvPr id="184" name="Rectangle 8"/>
              <p:cNvSpPr txBox="1">
                <a:spLocks/>
              </p:cNvSpPr>
              <p:nvPr/>
            </p:nvSpPr>
            <p:spPr>
              <a:xfrm>
                <a:off x="7025642" y="4739464"/>
                <a:ext cx="1629915" cy="175905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828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341313" lvl="0" indent="-3413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1pPr>
                <a:lvl2pPr marL="739775" lvl="1" indent="-28416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2pPr>
                <a:lvl3pPr marL="1139825" lvl="2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3pPr>
                <a:lvl4pPr marL="1595438" lvl="3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4pPr>
                <a:lvl5pPr marL="2052638" lvl="4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5pPr>
                <a:lvl6pPr marL="2509010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6pPr>
                <a:lvl7pPr marL="2965193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7pPr>
                <a:lvl8pPr marL="3421374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8pPr>
                <a:lvl9pPr marL="3877559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r>
                  <a:rPr lang="pt-BR" sz="918" dirty="0"/>
                  <a:t>Açaí</a:t>
                </a:r>
              </a:p>
            </p:txBody>
          </p:sp>
          <p:sp>
            <p:nvSpPr>
              <p:cNvPr id="188" name="Rectangle 8"/>
              <p:cNvSpPr txBox="1">
                <a:spLocks/>
              </p:cNvSpPr>
              <p:nvPr/>
            </p:nvSpPr>
            <p:spPr>
              <a:xfrm>
                <a:off x="7025642" y="5053049"/>
                <a:ext cx="1629915" cy="175905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828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341313" lvl="0" indent="-3413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1pPr>
                <a:lvl2pPr marL="739775" lvl="1" indent="-28416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2pPr>
                <a:lvl3pPr marL="1139825" lvl="2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3pPr>
                <a:lvl4pPr marL="1595438" lvl="3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4pPr>
                <a:lvl5pPr marL="2052638" lvl="4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5pPr>
                <a:lvl6pPr marL="2509010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6pPr>
                <a:lvl7pPr marL="2965193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7pPr>
                <a:lvl8pPr marL="3421374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8pPr>
                <a:lvl9pPr marL="3877559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pt-BR" sz="918" dirty="0"/>
                  <a:t>Pecuária intensiva</a:t>
                </a:r>
              </a:p>
            </p:txBody>
          </p:sp>
          <p:sp>
            <p:nvSpPr>
              <p:cNvPr id="191" name="Rectangle 8"/>
              <p:cNvSpPr txBox="1">
                <a:spLocks/>
              </p:cNvSpPr>
              <p:nvPr/>
            </p:nvSpPr>
            <p:spPr>
              <a:xfrm>
                <a:off x="7037365" y="5373984"/>
                <a:ext cx="1629915" cy="175905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828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341313" lvl="0" indent="-3413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1pPr>
                <a:lvl2pPr marL="739775" lvl="1" indent="-28416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2pPr>
                <a:lvl3pPr marL="1139825" lvl="2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3pPr>
                <a:lvl4pPr marL="1595438" lvl="3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4pPr>
                <a:lvl5pPr marL="2052638" lvl="4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5pPr>
                <a:lvl6pPr marL="2509010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6pPr>
                <a:lvl7pPr marL="2965193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7pPr>
                <a:lvl8pPr marL="3421374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8pPr>
                <a:lvl9pPr marL="3877559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pt-BR" sz="918" dirty="0"/>
                  <a:t>Cacau</a:t>
                </a:r>
              </a:p>
            </p:txBody>
          </p:sp>
          <p:sp>
            <p:nvSpPr>
              <p:cNvPr id="194" name="Rectangle 8"/>
              <p:cNvSpPr txBox="1">
                <a:spLocks/>
              </p:cNvSpPr>
              <p:nvPr/>
            </p:nvSpPr>
            <p:spPr>
              <a:xfrm>
                <a:off x="7025642" y="5694923"/>
                <a:ext cx="1629915" cy="175905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828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341313" lvl="0" indent="-3413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1pPr>
                <a:lvl2pPr marL="739775" lvl="1" indent="-28416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2pPr>
                <a:lvl3pPr marL="1139825" lvl="2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3pPr>
                <a:lvl4pPr marL="1595438" lvl="3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4pPr>
                <a:lvl5pPr marL="2052638" lvl="4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5pPr>
                <a:lvl6pPr marL="2509010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6pPr>
                <a:lvl7pPr marL="2965193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7pPr>
                <a:lvl8pPr marL="3421374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8pPr>
                <a:lvl9pPr marL="3877559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pt-BR" sz="918" dirty="0"/>
                  <a:t>Palma de óleo</a:t>
                </a:r>
              </a:p>
            </p:txBody>
          </p:sp>
          <p:sp>
            <p:nvSpPr>
              <p:cNvPr id="197" name="Rectangle 8"/>
              <p:cNvSpPr txBox="1">
                <a:spLocks/>
              </p:cNvSpPr>
              <p:nvPr/>
            </p:nvSpPr>
            <p:spPr>
              <a:xfrm>
                <a:off x="7025642" y="4433228"/>
                <a:ext cx="1629915" cy="175905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73462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341313" lvl="0" indent="-3413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1pPr>
                <a:lvl2pPr marL="739775" lvl="1" indent="-28416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2pPr>
                <a:lvl3pPr marL="1139825" lvl="2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3pPr>
                <a:lvl4pPr marL="1595438" lvl="3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4pPr>
                <a:lvl5pPr marL="2052638" lvl="4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5pPr>
                <a:lvl6pPr marL="2509010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6pPr>
                <a:lvl7pPr marL="2965193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7pPr>
                <a:lvl8pPr marL="3421374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8pPr>
                <a:lvl9pPr marL="3877559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indent="0"/>
                <a:r>
                  <a:rPr lang="pt-BR" sz="918" dirty="0"/>
                  <a:t>Turismo e gastronomia</a:t>
                </a:r>
              </a:p>
            </p:txBody>
          </p:sp>
          <p:sp>
            <p:nvSpPr>
              <p:cNvPr id="200" name="Rectangle 8"/>
              <p:cNvSpPr txBox="1">
                <a:spLocks/>
              </p:cNvSpPr>
              <p:nvPr/>
            </p:nvSpPr>
            <p:spPr>
              <a:xfrm>
                <a:off x="5206071" y="5984402"/>
                <a:ext cx="1450634" cy="175905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828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341313" lvl="0" indent="-3413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1pPr>
                <a:lvl2pPr marL="739775" lvl="1" indent="-28416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2pPr>
                <a:lvl3pPr marL="1139825" lvl="2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3pPr>
                <a:lvl4pPr marL="1595438" lvl="3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4pPr>
                <a:lvl5pPr marL="2052638" lvl="4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5pPr>
                <a:lvl6pPr marL="2509010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6pPr>
                <a:lvl7pPr marL="2965193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7pPr>
                <a:lvl8pPr marL="3421374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8pPr>
                <a:lvl9pPr marL="3877559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r>
                  <a:rPr lang="pt-BR" sz="918" dirty="0"/>
                  <a:t>Aquicultura</a:t>
                </a:r>
              </a:p>
            </p:txBody>
          </p:sp>
          <p:sp>
            <p:nvSpPr>
              <p:cNvPr id="203" name="Rectangle 8"/>
              <p:cNvSpPr txBox="1">
                <a:spLocks/>
              </p:cNvSpPr>
              <p:nvPr/>
            </p:nvSpPr>
            <p:spPr>
              <a:xfrm>
                <a:off x="5206071" y="5326381"/>
                <a:ext cx="1450634" cy="175905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828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341313" lvl="0" indent="-3413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1pPr>
                <a:lvl2pPr marL="739775" lvl="1" indent="-28416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2pPr>
                <a:lvl3pPr marL="1139825" lvl="2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3pPr>
                <a:lvl4pPr marL="1595438" lvl="3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4pPr>
                <a:lvl5pPr marL="2052638" lvl="4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5pPr>
                <a:lvl6pPr marL="2509010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6pPr>
                <a:lvl7pPr marL="2965193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7pPr>
                <a:lvl8pPr marL="3421374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8pPr>
                <a:lvl9pPr marL="3877559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r>
                  <a:rPr lang="pt-BR" sz="918" dirty="0"/>
                  <a:t>Florestas plantadas</a:t>
                </a:r>
              </a:p>
            </p:txBody>
          </p:sp>
          <p:sp>
            <p:nvSpPr>
              <p:cNvPr id="206" name="Rectangle 8"/>
              <p:cNvSpPr txBox="1">
                <a:spLocks/>
              </p:cNvSpPr>
              <p:nvPr/>
            </p:nvSpPr>
            <p:spPr>
              <a:xfrm>
                <a:off x="5206071" y="4413103"/>
                <a:ext cx="1450634" cy="175905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110194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341313" lvl="0" indent="-3413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000">
                    <a:solidFill>
                      <a:srgbClr val="000000"/>
                    </a:solidFill>
                    <a:latin typeface="+mn-lt"/>
                  </a:defRPr>
                </a:lvl1pPr>
                <a:lvl2pPr marL="739775" lvl="1" indent="-28416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2pPr>
                <a:lvl3pPr marL="1139825" lvl="2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3pPr>
                <a:lvl4pPr marL="1595438" lvl="3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4pPr>
                <a:lvl5pPr marL="2052638" lvl="4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</a:defRPr>
                </a:lvl5pPr>
                <a:lvl6pPr marL="2509010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6pPr>
                <a:lvl7pPr marL="2965193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7pPr>
                <a:lvl8pPr marL="3421374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8pPr>
                <a:lvl9pPr marL="3877559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</a:defRPr>
                </a:lvl9pPr>
              </a:lstStyle>
              <a:p>
                <a:pPr marL="0" indent="0"/>
                <a:r>
                  <a:rPr lang="pt-BR" sz="918" dirty="0"/>
                  <a:t>Agricultura familiar</a:t>
                </a:r>
              </a:p>
            </p:txBody>
          </p:sp>
          <p:sp>
            <p:nvSpPr>
              <p:cNvPr id="210" name="Rectangle 8"/>
              <p:cNvSpPr txBox="1">
                <a:spLocks/>
              </p:cNvSpPr>
              <p:nvPr/>
            </p:nvSpPr>
            <p:spPr>
              <a:xfrm>
                <a:off x="7031504" y="6008510"/>
                <a:ext cx="2039317" cy="175905"/>
              </a:xfrm>
              <a:prstGeom prst="rect">
                <a:avLst/>
              </a:prstGeom>
              <a:noFill/>
              <a:ln w="9525">
                <a:noFill/>
                <a:round/>
                <a:headEnd/>
                <a:tailEnd/>
              </a:ln>
            </p:spPr>
            <p:txBody>
              <a:bodyPr vert="horz" wrap="square" lIns="91828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341313" lvl="0" indent="-3413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1pPr>
                <a:lvl2pPr marL="739775" lvl="1" indent="-28416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2pPr>
                <a:lvl3pPr marL="1139825" lvl="2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3pPr>
                <a:lvl4pPr marL="1595438" lvl="3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4pPr>
                <a:lvl5pPr marL="2052638" lvl="4" indent="-227013" defTabSz="447675" eaLnBrk="0" hangingPunct="0">
                  <a:spcBef>
                    <a:spcPts val="3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5pPr>
                <a:lvl6pPr marL="2509010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6pPr>
                <a:lvl7pPr marL="2965193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7pPr>
                <a:lvl8pPr marL="3421374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8pPr>
                <a:lvl9pPr marL="3877559" indent="-228087" defTabSz="448264" eaLnBrk="0" fontAlgn="base" hangingPunct="0">
                  <a:spcBef>
                    <a:spcPts val="3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defRPr sz="120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pt-BR" sz="918" dirty="0">
                    <a:solidFill>
                      <a:schemeClr val="tx1"/>
                    </a:solidFill>
                  </a:rPr>
                  <a:t>Internalização de Compras</a:t>
                </a:r>
                <a:endParaRPr lang="pt-BR" sz="918" baseline="300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4" name="Group 13"/>
              <p:cNvGrpSpPr/>
              <p:nvPr/>
            </p:nvGrpSpPr>
            <p:grpSpPr>
              <a:xfrm>
                <a:off x="4926007" y="4003217"/>
                <a:ext cx="2312780" cy="266039"/>
                <a:chOff x="4926007" y="4003217"/>
                <a:chExt cx="2312780" cy="266039"/>
              </a:xfrm>
            </p:grpSpPr>
            <p:sp>
              <p:nvSpPr>
                <p:cNvPr id="7" name="Rectangle 6"/>
                <p:cNvSpPr/>
                <p:nvPr/>
              </p:nvSpPr>
              <p:spPr>
                <a:xfrm>
                  <a:off x="4926007" y="4003217"/>
                  <a:ext cx="2312780" cy="266039"/>
                </a:xfrm>
                <a:prstGeom prst="rect">
                  <a:avLst/>
                </a:prstGeom>
                <a:solidFill>
                  <a:srgbClr val="4866AC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107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" name="Rectangle 12"/>
                <p:cNvSpPr/>
                <p:nvPr/>
              </p:nvSpPr>
              <p:spPr>
                <a:xfrm>
                  <a:off x="5069057" y="4037875"/>
                  <a:ext cx="1768631" cy="195467"/>
                </a:xfrm>
                <a:prstGeom prst="rect">
                  <a:avLst/>
                </a:prstGeom>
              </p:spPr>
              <p:txBody>
                <a:bodyPr wrap="none" lIns="0" tIns="0" rIns="0" bIns="0" anchor="ctr" anchorCtr="0">
                  <a:spAutoFit/>
                </a:bodyPr>
                <a:lstStyle/>
                <a:p>
                  <a:r>
                    <a:rPr lang="pt-BR" sz="1020" b="1" dirty="0">
                      <a:solidFill>
                        <a:schemeClr val="bg1"/>
                      </a:solidFill>
                      <a:latin typeface="Tahoma" panose="020B0604030504040204" pitchFamily="34" charset="0"/>
                      <a:cs typeface="Tahoma" panose="020B0604030504040204" pitchFamily="34" charset="0"/>
                    </a:rPr>
                    <a:t>Cadeias do Pará 2030</a:t>
                  </a:r>
                </a:p>
              </p:txBody>
            </p:sp>
          </p:grpSp>
          <p:pic>
            <p:nvPicPr>
              <p:cNvPr id="174" name="Picture 173"/>
              <p:cNvPicPr>
                <a:picLocks/>
              </p:cNvPicPr>
              <p:nvPr/>
            </p:nvPicPr>
            <p:blipFill>
              <a:blip r:embed="rId9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4957660" y="4361948"/>
                <a:ext cx="268516" cy="278221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87" name="Picture 186"/>
              <p:cNvPicPr>
                <a:picLocks/>
              </p:cNvPicPr>
              <p:nvPr/>
            </p:nvPicPr>
            <p:blipFill>
              <a:blip r:embed="rId10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4957660" y="4671623"/>
                <a:ext cx="268516" cy="278221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11" name="Picture 210"/>
              <p:cNvPicPr>
                <a:picLocks/>
              </p:cNvPicPr>
              <p:nvPr/>
            </p:nvPicPr>
            <p:blipFill>
              <a:blip r:embed="rId11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4957660" y="5275224"/>
                <a:ext cx="268516" cy="278221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12" name="Picture 211"/>
              <p:cNvPicPr>
                <a:picLocks/>
              </p:cNvPicPr>
              <p:nvPr/>
            </p:nvPicPr>
            <p:blipFill>
              <a:blip r:embed="rId12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4957660" y="5596261"/>
                <a:ext cx="268516" cy="278221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13" name="Picture 212"/>
              <p:cNvPicPr>
                <a:picLocks/>
              </p:cNvPicPr>
              <p:nvPr/>
            </p:nvPicPr>
            <p:blipFill>
              <a:blip r:embed="rId13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4957660" y="5947468"/>
                <a:ext cx="268516" cy="278221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16" name="Picture 215"/>
              <p:cNvPicPr>
                <a:picLocks/>
              </p:cNvPicPr>
              <p:nvPr/>
            </p:nvPicPr>
            <p:blipFill>
              <a:blip r:embed="rId14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4957660" y="4984772"/>
                <a:ext cx="268516" cy="278221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23" name="Picture 222"/>
              <p:cNvPicPr>
                <a:picLocks/>
              </p:cNvPicPr>
              <p:nvPr/>
            </p:nvPicPr>
            <p:blipFill>
              <a:blip r:embed="rId1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6784441" y="4378706"/>
                <a:ext cx="268516" cy="278221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24" name="Picture 223"/>
              <p:cNvPicPr>
                <a:picLocks/>
              </p:cNvPicPr>
              <p:nvPr/>
            </p:nvPicPr>
            <p:blipFill>
              <a:blip r:embed="rId16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6784441" y="4692458"/>
                <a:ext cx="268516" cy="278221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25" name="Picture 224"/>
              <p:cNvPicPr>
                <a:picLocks/>
              </p:cNvPicPr>
              <p:nvPr/>
            </p:nvPicPr>
            <p:blipFill>
              <a:blip r:embed="rId17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6784441" y="5006210"/>
                <a:ext cx="268516" cy="278221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26" name="Picture 225"/>
              <p:cNvPicPr>
                <a:picLocks/>
              </p:cNvPicPr>
              <p:nvPr/>
            </p:nvPicPr>
            <p:blipFill>
              <a:blip r:embed="rId18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6784441" y="5633714"/>
                <a:ext cx="268516" cy="278221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27" name="Picture 226"/>
              <p:cNvPicPr>
                <a:picLocks/>
              </p:cNvPicPr>
              <p:nvPr/>
            </p:nvPicPr>
            <p:blipFill>
              <a:blip r:embed="rId19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6784441" y="5947468"/>
                <a:ext cx="268516" cy="278221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28" name="Picture 227"/>
              <p:cNvPicPr>
                <a:picLocks/>
              </p:cNvPicPr>
              <p:nvPr/>
            </p:nvPicPr>
            <p:blipFill>
              <a:blip r:embed="rId20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6784441" y="5319962"/>
                <a:ext cx="268516" cy="278221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176" name="Picture 26"/>
            <p:cNvPicPr>
              <a:picLocks noChangeAspect="1"/>
            </p:cNvPicPr>
            <p:nvPr/>
          </p:nvPicPr>
          <p:blipFill>
            <a:blip r:embed="rId21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4875351" y="6021330"/>
              <a:ext cx="276904" cy="2772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77" name="Rectangle 8"/>
            <p:cNvSpPr txBox="1">
              <a:spLocks/>
            </p:cNvSpPr>
            <p:nvPr/>
          </p:nvSpPr>
          <p:spPr>
            <a:xfrm>
              <a:off x="5111766" y="6055775"/>
              <a:ext cx="2039317" cy="175905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828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341313" lvl="0" indent="-341313" defTabSz="447675" eaLnBrk="0" hangingPunct="0">
                <a:spcBef>
                  <a:spcPts val="300"/>
                </a:spcBef>
                <a:buClr>
                  <a:srgbClr val="000000"/>
                </a:buClr>
                <a:buSzPct val="100000"/>
                <a:buFont typeface="Times New Roman" pitchFamily="18" charset="0"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1pPr>
              <a:lvl2pPr marL="739775" lvl="1" indent="-284163" defTabSz="447675" eaLnBrk="0" hangingPunct="0">
                <a:spcBef>
                  <a:spcPts val="300"/>
                </a:spcBef>
                <a:buClr>
                  <a:srgbClr val="000000"/>
                </a:buClr>
                <a:buSzPct val="100000"/>
                <a:buFont typeface="Times New Roman" pitchFamily="18" charset="0"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2pPr>
              <a:lvl3pPr marL="1139825" lvl="2" indent="-227013" defTabSz="447675" eaLnBrk="0" hangingPunct="0">
                <a:spcBef>
                  <a:spcPts val="300"/>
                </a:spcBef>
                <a:buClr>
                  <a:srgbClr val="000000"/>
                </a:buClr>
                <a:buSzPct val="100000"/>
                <a:buFont typeface="Times New Roman" pitchFamily="18" charset="0"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3pPr>
              <a:lvl4pPr marL="1595438" lvl="3" indent="-227013" defTabSz="447675" eaLnBrk="0" hangingPunct="0">
                <a:spcBef>
                  <a:spcPts val="300"/>
                </a:spcBef>
                <a:buClr>
                  <a:srgbClr val="000000"/>
                </a:buClr>
                <a:buSzPct val="100000"/>
                <a:buFont typeface="Times New Roman" pitchFamily="18" charset="0"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2052638" lvl="4" indent="-227013" defTabSz="447675" eaLnBrk="0" hangingPunct="0">
                <a:spcBef>
                  <a:spcPts val="300"/>
                </a:spcBef>
                <a:buClr>
                  <a:srgbClr val="000000"/>
                </a:buClr>
                <a:buSzPct val="100000"/>
                <a:buFont typeface="Times New Roman" pitchFamily="18" charset="0"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5pPr>
              <a:lvl6pPr marL="2509010" indent="-228087" defTabSz="448264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6pPr>
              <a:lvl7pPr marL="2965193" indent="-228087" defTabSz="448264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7pPr>
              <a:lvl8pPr marL="3421374" indent="-228087" defTabSz="448264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8pPr>
              <a:lvl9pPr marL="3877559" indent="-228087" defTabSz="448264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defRPr sz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pt-BR" sz="918" dirty="0">
                  <a:solidFill>
                    <a:schemeClr val="tx1"/>
                  </a:solidFill>
                </a:rPr>
                <a:t>Exploração Mineral</a:t>
              </a:r>
              <a:endParaRPr lang="pt-BR" sz="918" baseline="30000" dirty="0">
                <a:solidFill>
                  <a:schemeClr val="tx1"/>
                </a:solidFill>
              </a:endParaRPr>
            </a:p>
          </p:txBody>
        </p:sp>
        <p:sp>
          <p:nvSpPr>
            <p:cNvPr id="189" name="TextBox 23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7048168" y="6034004"/>
              <a:ext cx="1845106" cy="351810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447675" eaLnBrk="0" hangingPunct="0">
                <a:spcBef>
                  <a:spcPts val="300"/>
                </a:spcBef>
                <a:buClr>
                  <a:srgbClr val="000000"/>
                </a:buClr>
                <a:buSzPct val="100000"/>
                <a:buFont typeface="Times New Roman" pitchFamily="18" charset="0"/>
                <a:defRPr sz="1800">
                  <a:solidFill>
                    <a:srgbClr val="000000"/>
                  </a:solidFill>
                  <a:latin typeface="+mn-lt"/>
                </a:defRPr>
              </a:lvl1pPr>
              <a:lvl2pPr marL="739775" lvl="1" indent="-284163" defTabSz="447675" eaLnBrk="0" hangingPunct="0">
                <a:spcBef>
                  <a:spcPts val="300"/>
                </a:spcBef>
                <a:buClr>
                  <a:srgbClr val="000000"/>
                </a:buClr>
                <a:buSzPct val="100000"/>
                <a:buFont typeface="Times New Roman" pitchFamily="18" charset="0"/>
                <a:defRPr sz="1200">
                  <a:solidFill>
                    <a:srgbClr val="000000"/>
                  </a:solidFill>
                  <a:latin typeface="+mn-lt"/>
                </a:defRPr>
              </a:lvl2pPr>
              <a:lvl3pPr marL="1139825" lvl="2" indent="-227013" defTabSz="447675" eaLnBrk="0" hangingPunct="0">
                <a:spcBef>
                  <a:spcPts val="300"/>
                </a:spcBef>
                <a:buClr>
                  <a:srgbClr val="000000"/>
                </a:buClr>
                <a:buSzPct val="100000"/>
                <a:buFont typeface="Times New Roman" pitchFamily="18" charset="0"/>
                <a:defRPr sz="1200">
                  <a:solidFill>
                    <a:srgbClr val="000000"/>
                  </a:solidFill>
                  <a:latin typeface="+mn-lt"/>
                </a:defRPr>
              </a:lvl3pPr>
              <a:lvl4pPr marL="1595438" lvl="3" indent="-227013" defTabSz="447675" eaLnBrk="0" hangingPunct="0">
                <a:spcBef>
                  <a:spcPts val="300"/>
                </a:spcBef>
                <a:buClr>
                  <a:srgbClr val="000000"/>
                </a:buClr>
                <a:buSzPct val="100000"/>
                <a:buFont typeface="Times New Roman" pitchFamily="18" charset="0"/>
                <a:defRPr sz="1200">
                  <a:solidFill>
                    <a:srgbClr val="000000"/>
                  </a:solidFill>
                  <a:latin typeface="+mn-lt"/>
                </a:defRPr>
              </a:lvl4pPr>
              <a:lvl5pPr marL="2052638" lvl="4" indent="-227013" defTabSz="447675" eaLnBrk="0" hangingPunct="0">
                <a:spcBef>
                  <a:spcPts val="300"/>
                </a:spcBef>
                <a:buClr>
                  <a:srgbClr val="000000"/>
                </a:buClr>
                <a:buSzPct val="100000"/>
                <a:buFont typeface="Times New Roman" pitchFamily="18" charset="0"/>
                <a:defRPr sz="1200">
                  <a:solidFill>
                    <a:srgbClr val="000000"/>
                  </a:solidFill>
                  <a:latin typeface="+mn-lt"/>
                </a:defRPr>
              </a:lvl5pPr>
              <a:lvl6pPr marL="2509010" indent="-228087" defTabSz="448264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defRPr sz="1200">
                  <a:solidFill>
                    <a:srgbClr val="000000"/>
                  </a:solidFill>
                  <a:latin typeface="+mn-lt"/>
                </a:defRPr>
              </a:lvl6pPr>
              <a:lvl7pPr marL="2965193" indent="-228087" defTabSz="448264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defRPr sz="1200">
                  <a:solidFill>
                    <a:srgbClr val="000000"/>
                  </a:solidFill>
                  <a:latin typeface="+mn-lt"/>
                </a:defRPr>
              </a:lvl7pPr>
              <a:lvl8pPr marL="3421374" indent="-228087" defTabSz="448264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defRPr sz="1200">
                  <a:solidFill>
                    <a:srgbClr val="000000"/>
                  </a:solidFill>
                  <a:latin typeface="+mn-lt"/>
                </a:defRPr>
              </a:lvl8pPr>
              <a:lvl9pPr marL="3877559" indent="-228087" defTabSz="448264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defRPr sz="1200">
                  <a:solidFill>
                    <a:srgbClr val="000000"/>
                  </a:solidFill>
                  <a:latin typeface="+mn-lt"/>
                </a:defRPr>
              </a:lvl9pPr>
            </a:lstStyle>
            <a:p>
              <a:r>
                <a:rPr lang="pt-BR" sz="918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Produção de madeira de manejo</a:t>
              </a:r>
            </a:p>
          </p:txBody>
        </p:sp>
        <p:pic>
          <p:nvPicPr>
            <p:cNvPr id="190" name="Picture 47119"/>
            <p:cNvPicPr>
              <a:picLocks/>
            </p:cNvPicPr>
            <p:nvPr/>
          </p:nvPicPr>
          <p:blipFill>
            <a:blip r:embed="rId22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6720039" y="6024137"/>
              <a:ext cx="277200" cy="2772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1" name="Grupo 10"/>
          <p:cNvGrpSpPr>
            <a:grpSpLocks noChangeAspect="1"/>
          </p:cNvGrpSpPr>
          <p:nvPr/>
        </p:nvGrpSpPr>
        <p:grpSpPr>
          <a:xfrm>
            <a:off x="287004" y="1149404"/>
            <a:ext cx="5819181" cy="5503219"/>
            <a:chOff x="9140337" y="1602582"/>
            <a:chExt cx="4771891" cy="4512793"/>
          </a:xfrm>
        </p:grpSpPr>
        <p:sp>
          <p:nvSpPr>
            <p:cNvPr id="158" name="Freeform 23"/>
            <p:cNvSpPr/>
            <p:nvPr/>
          </p:nvSpPr>
          <p:spPr bwMode="auto">
            <a:xfrm>
              <a:off x="9295184" y="3698058"/>
              <a:ext cx="1365615" cy="2302616"/>
            </a:xfrm>
            <a:custGeom>
              <a:avLst/>
              <a:gdLst>
                <a:gd name="connsiteX0" fmla="*/ 2001269 w 4611119"/>
                <a:gd name="connsiteY0" fmla="*/ 114300 h 7648575"/>
                <a:gd name="connsiteX1" fmla="*/ 1991744 w 4611119"/>
                <a:gd name="connsiteY1" fmla="*/ 161925 h 7648575"/>
                <a:gd name="connsiteX2" fmla="*/ 1972694 w 4611119"/>
                <a:gd name="connsiteY2" fmla="*/ 228600 h 7648575"/>
                <a:gd name="connsiteX3" fmla="*/ 1953644 w 4611119"/>
                <a:gd name="connsiteY3" fmla="*/ 304800 h 7648575"/>
                <a:gd name="connsiteX4" fmla="*/ 1944119 w 4611119"/>
                <a:gd name="connsiteY4" fmla="*/ 361950 h 7648575"/>
                <a:gd name="connsiteX5" fmla="*/ 1925069 w 4611119"/>
                <a:gd name="connsiteY5" fmla="*/ 390525 h 7648575"/>
                <a:gd name="connsiteX6" fmla="*/ 1915544 w 4611119"/>
                <a:gd name="connsiteY6" fmla="*/ 419100 h 7648575"/>
                <a:gd name="connsiteX7" fmla="*/ 1858394 w 4611119"/>
                <a:gd name="connsiteY7" fmla="*/ 571500 h 7648575"/>
                <a:gd name="connsiteX8" fmla="*/ 1848869 w 4611119"/>
                <a:gd name="connsiteY8" fmla="*/ 600075 h 7648575"/>
                <a:gd name="connsiteX9" fmla="*/ 1820294 w 4611119"/>
                <a:gd name="connsiteY9" fmla="*/ 628650 h 7648575"/>
                <a:gd name="connsiteX10" fmla="*/ 1791719 w 4611119"/>
                <a:gd name="connsiteY10" fmla="*/ 695325 h 7648575"/>
                <a:gd name="connsiteX11" fmla="*/ 1763144 w 4611119"/>
                <a:gd name="connsiteY11" fmla="*/ 733425 h 7648575"/>
                <a:gd name="connsiteX12" fmla="*/ 1725044 w 4611119"/>
                <a:gd name="connsiteY12" fmla="*/ 790575 h 7648575"/>
                <a:gd name="connsiteX13" fmla="*/ 1705994 w 4611119"/>
                <a:gd name="connsiteY13" fmla="*/ 847725 h 7648575"/>
                <a:gd name="connsiteX14" fmla="*/ 1639319 w 4611119"/>
                <a:gd name="connsiteY14" fmla="*/ 942975 h 7648575"/>
                <a:gd name="connsiteX15" fmla="*/ 1629794 w 4611119"/>
                <a:gd name="connsiteY15" fmla="*/ 971550 h 7648575"/>
                <a:gd name="connsiteX16" fmla="*/ 1591694 w 4611119"/>
                <a:gd name="connsiteY16" fmla="*/ 1038225 h 7648575"/>
                <a:gd name="connsiteX17" fmla="*/ 1563119 w 4611119"/>
                <a:gd name="connsiteY17" fmla="*/ 1114425 h 7648575"/>
                <a:gd name="connsiteX18" fmla="*/ 1525019 w 4611119"/>
                <a:gd name="connsiteY18" fmla="*/ 1171575 h 7648575"/>
                <a:gd name="connsiteX19" fmla="*/ 1486919 w 4611119"/>
                <a:gd name="connsiteY19" fmla="*/ 1238250 h 7648575"/>
                <a:gd name="connsiteX20" fmla="*/ 1477394 w 4611119"/>
                <a:gd name="connsiteY20" fmla="*/ 1266825 h 7648575"/>
                <a:gd name="connsiteX21" fmla="*/ 1439294 w 4611119"/>
                <a:gd name="connsiteY21" fmla="*/ 1323975 h 7648575"/>
                <a:gd name="connsiteX22" fmla="*/ 1420244 w 4611119"/>
                <a:gd name="connsiteY22" fmla="*/ 1381125 h 7648575"/>
                <a:gd name="connsiteX23" fmla="*/ 1410719 w 4611119"/>
                <a:gd name="connsiteY23" fmla="*/ 1409700 h 7648575"/>
                <a:gd name="connsiteX24" fmla="*/ 1382144 w 4611119"/>
                <a:gd name="connsiteY24" fmla="*/ 1438275 h 7648575"/>
                <a:gd name="connsiteX25" fmla="*/ 1353569 w 4611119"/>
                <a:gd name="connsiteY25" fmla="*/ 1495425 h 7648575"/>
                <a:gd name="connsiteX26" fmla="*/ 1324994 w 4611119"/>
                <a:gd name="connsiteY26" fmla="*/ 1581150 h 7648575"/>
                <a:gd name="connsiteX27" fmla="*/ 1305944 w 4611119"/>
                <a:gd name="connsiteY27" fmla="*/ 1609725 h 7648575"/>
                <a:gd name="connsiteX28" fmla="*/ 1296419 w 4611119"/>
                <a:gd name="connsiteY28" fmla="*/ 1647825 h 7648575"/>
                <a:gd name="connsiteX29" fmla="*/ 1258319 w 4611119"/>
                <a:gd name="connsiteY29" fmla="*/ 1714500 h 7648575"/>
                <a:gd name="connsiteX30" fmla="*/ 1239269 w 4611119"/>
                <a:gd name="connsiteY30" fmla="*/ 1752600 h 7648575"/>
                <a:gd name="connsiteX31" fmla="*/ 1229744 w 4611119"/>
                <a:gd name="connsiteY31" fmla="*/ 1790700 h 7648575"/>
                <a:gd name="connsiteX32" fmla="*/ 1201169 w 4611119"/>
                <a:gd name="connsiteY32" fmla="*/ 1828800 h 7648575"/>
                <a:gd name="connsiteX33" fmla="*/ 1191644 w 4611119"/>
                <a:gd name="connsiteY33" fmla="*/ 1876425 h 7648575"/>
                <a:gd name="connsiteX34" fmla="*/ 1153544 w 4611119"/>
                <a:gd name="connsiteY34" fmla="*/ 1933575 h 7648575"/>
                <a:gd name="connsiteX35" fmla="*/ 1124969 w 4611119"/>
                <a:gd name="connsiteY35" fmla="*/ 2028825 h 7648575"/>
                <a:gd name="connsiteX36" fmla="*/ 1096394 w 4611119"/>
                <a:gd name="connsiteY36" fmla="*/ 2076450 h 7648575"/>
                <a:gd name="connsiteX37" fmla="*/ 1077344 w 4611119"/>
                <a:gd name="connsiteY37" fmla="*/ 2124075 h 7648575"/>
                <a:gd name="connsiteX38" fmla="*/ 1010669 w 4611119"/>
                <a:gd name="connsiteY38" fmla="*/ 2228850 h 7648575"/>
                <a:gd name="connsiteX39" fmla="*/ 991619 w 4611119"/>
                <a:gd name="connsiteY39" fmla="*/ 2286000 h 7648575"/>
                <a:gd name="connsiteX40" fmla="*/ 963044 w 4611119"/>
                <a:gd name="connsiteY40" fmla="*/ 2352675 h 7648575"/>
                <a:gd name="connsiteX41" fmla="*/ 953519 w 4611119"/>
                <a:gd name="connsiteY41" fmla="*/ 2400300 h 7648575"/>
                <a:gd name="connsiteX42" fmla="*/ 924944 w 4611119"/>
                <a:gd name="connsiteY42" fmla="*/ 2466975 h 7648575"/>
                <a:gd name="connsiteX43" fmla="*/ 905894 w 4611119"/>
                <a:gd name="connsiteY43" fmla="*/ 2524125 h 7648575"/>
                <a:gd name="connsiteX44" fmla="*/ 867794 w 4611119"/>
                <a:gd name="connsiteY44" fmla="*/ 2638425 h 7648575"/>
                <a:gd name="connsiteX45" fmla="*/ 848744 w 4611119"/>
                <a:gd name="connsiteY45" fmla="*/ 2667000 h 7648575"/>
                <a:gd name="connsiteX46" fmla="*/ 829694 w 4611119"/>
                <a:gd name="connsiteY46" fmla="*/ 2733675 h 7648575"/>
                <a:gd name="connsiteX47" fmla="*/ 810644 w 4611119"/>
                <a:gd name="connsiteY47" fmla="*/ 2762250 h 7648575"/>
                <a:gd name="connsiteX48" fmla="*/ 801119 w 4611119"/>
                <a:gd name="connsiteY48" fmla="*/ 2790825 h 7648575"/>
                <a:gd name="connsiteX49" fmla="*/ 782069 w 4611119"/>
                <a:gd name="connsiteY49" fmla="*/ 2819400 h 7648575"/>
                <a:gd name="connsiteX50" fmla="*/ 763019 w 4611119"/>
                <a:gd name="connsiteY50" fmla="*/ 2876550 h 7648575"/>
                <a:gd name="connsiteX51" fmla="*/ 753494 w 4611119"/>
                <a:gd name="connsiteY51" fmla="*/ 2905125 h 7648575"/>
                <a:gd name="connsiteX52" fmla="*/ 743969 w 4611119"/>
                <a:gd name="connsiteY52" fmla="*/ 2962275 h 7648575"/>
                <a:gd name="connsiteX53" fmla="*/ 724919 w 4611119"/>
                <a:gd name="connsiteY53" fmla="*/ 2990850 h 7648575"/>
                <a:gd name="connsiteX54" fmla="*/ 705869 w 4611119"/>
                <a:gd name="connsiteY54" fmla="*/ 3048000 h 7648575"/>
                <a:gd name="connsiteX55" fmla="*/ 696344 w 4611119"/>
                <a:gd name="connsiteY55" fmla="*/ 3076575 h 7648575"/>
                <a:gd name="connsiteX56" fmla="*/ 658244 w 4611119"/>
                <a:gd name="connsiteY56" fmla="*/ 3143250 h 7648575"/>
                <a:gd name="connsiteX57" fmla="*/ 648719 w 4611119"/>
                <a:gd name="connsiteY57" fmla="*/ 3171825 h 7648575"/>
                <a:gd name="connsiteX58" fmla="*/ 629669 w 4611119"/>
                <a:gd name="connsiteY58" fmla="*/ 3200400 h 7648575"/>
                <a:gd name="connsiteX59" fmla="*/ 610619 w 4611119"/>
                <a:gd name="connsiteY59" fmla="*/ 3257550 h 7648575"/>
                <a:gd name="connsiteX60" fmla="*/ 601094 w 4611119"/>
                <a:gd name="connsiteY60" fmla="*/ 3286125 h 7648575"/>
                <a:gd name="connsiteX61" fmla="*/ 582044 w 4611119"/>
                <a:gd name="connsiteY61" fmla="*/ 3314700 h 7648575"/>
                <a:gd name="connsiteX62" fmla="*/ 562994 w 4611119"/>
                <a:gd name="connsiteY62" fmla="*/ 3362325 h 7648575"/>
                <a:gd name="connsiteX63" fmla="*/ 534419 w 4611119"/>
                <a:gd name="connsiteY63" fmla="*/ 3390900 h 7648575"/>
                <a:gd name="connsiteX64" fmla="*/ 496319 w 4611119"/>
                <a:gd name="connsiteY64" fmla="*/ 3457575 h 7648575"/>
                <a:gd name="connsiteX65" fmla="*/ 477269 w 4611119"/>
                <a:gd name="connsiteY65" fmla="*/ 3505200 h 7648575"/>
                <a:gd name="connsiteX66" fmla="*/ 448694 w 4611119"/>
                <a:gd name="connsiteY66" fmla="*/ 3533775 h 7648575"/>
                <a:gd name="connsiteX67" fmla="*/ 429644 w 4611119"/>
                <a:gd name="connsiteY67" fmla="*/ 3562350 h 7648575"/>
                <a:gd name="connsiteX68" fmla="*/ 382019 w 4611119"/>
                <a:gd name="connsiteY68" fmla="*/ 3667125 h 7648575"/>
                <a:gd name="connsiteX69" fmla="*/ 362969 w 4611119"/>
                <a:gd name="connsiteY69" fmla="*/ 3743325 h 7648575"/>
                <a:gd name="connsiteX70" fmla="*/ 343919 w 4611119"/>
                <a:gd name="connsiteY70" fmla="*/ 3771900 h 7648575"/>
                <a:gd name="connsiteX71" fmla="*/ 324869 w 4611119"/>
                <a:gd name="connsiteY71" fmla="*/ 3829050 h 7648575"/>
                <a:gd name="connsiteX72" fmla="*/ 315344 w 4611119"/>
                <a:gd name="connsiteY72" fmla="*/ 3857625 h 7648575"/>
                <a:gd name="connsiteX73" fmla="*/ 286769 w 4611119"/>
                <a:gd name="connsiteY73" fmla="*/ 3886200 h 7648575"/>
                <a:gd name="connsiteX74" fmla="*/ 220094 w 4611119"/>
                <a:gd name="connsiteY74" fmla="*/ 3962400 h 7648575"/>
                <a:gd name="connsiteX75" fmla="*/ 162944 w 4611119"/>
                <a:gd name="connsiteY75" fmla="*/ 3971925 h 7648575"/>
                <a:gd name="connsiteX76" fmla="*/ 105794 w 4611119"/>
                <a:gd name="connsiteY76" fmla="*/ 4029075 h 7648575"/>
                <a:gd name="connsiteX77" fmla="*/ 67694 w 4611119"/>
                <a:gd name="connsiteY77" fmla="*/ 4086225 h 7648575"/>
                <a:gd name="connsiteX78" fmla="*/ 48644 w 4611119"/>
                <a:gd name="connsiteY78" fmla="*/ 4114800 h 7648575"/>
                <a:gd name="connsiteX79" fmla="*/ 39119 w 4611119"/>
                <a:gd name="connsiteY79" fmla="*/ 4143375 h 7648575"/>
                <a:gd name="connsiteX80" fmla="*/ 10544 w 4611119"/>
                <a:gd name="connsiteY80" fmla="*/ 4171950 h 7648575"/>
                <a:gd name="connsiteX81" fmla="*/ 20069 w 4611119"/>
                <a:gd name="connsiteY81" fmla="*/ 4305300 h 7648575"/>
                <a:gd name="connsiteX82" fmla="*/ 39119 w 4611119"/>
                <a:gd name="connsiteY82" fmla="*/ 4381500 h 7648575"/>
                <a:gd name="connsiteX83" fmla="*/ 48644 w 4611119"/>
                <a:gd name="connsiteY83" fmla="*/ 4410075 h 7648575"/>
                <a:gd name="connsiteX84" fmla="*/ 96269 w 4611119"/>
                <a:gd name="connsiteY84" fmla="*/ 4467225 h 7648575"/>
                <a:gd name="connsiteX85" fmla="*/ 134369 w 4611119"/>
                <a:gd name="connsiteY85" fmla="*/ 4486275 h 7648575"/>
                <a:gd name="connsiteX86" fmla="*/ 181994 w 4611119"/>
                <a:gd name="connsiteY86" fmla="*/ 4495800 h 7648575"/>
                <a:gd name="connsiteX87" fmla="*/ 210569 w 4611119"/>
                <a:gd name="connsiteY87" fmla="*/ 4514850 h 7648575"/>
                <a:gd name="connsiteX88" fmla="*/ 258194 w 4611119"/>
                <a:gd name="connsiteY88" fmla="*/ 4533900 h 7648575"/>
                <a:gd name="connsiteX89" fmla="*/ 286769 w 4611119"/>
                <a:gd name="connsiteY89" fmla="*/ 4572000 h 7648575"/>
                <a:gd name="connsiteX90" fmla="*/ 315344 w 4611119"/>
                <a:gd name="connsiteY90" fmla="*/ 4600575 h 7648575"/>
                <a:gd name="connsiteX91" fmla="*/ 334394 w 4611119"/>
                <a:gd name="connsiteY91" fmla="*/ 4648200 h 7648575"/>
                <a:gd name="connsiteX92" fmla="*/ 372494 w 4611119"/>
                <a:gd name="connsiteY92" fmla="*/ 4705350 h 7648575"/>
                <a:gd name="connsiteX93" fmla="*/ 382019 w 4611119"/>
                <a:gd name="connsiteY93" fmla="*/ 4829175 h 7648575"/>
                <a:gd name="connsiteX94" fmla="*/ 391544 w 4611119"/>
                <a:gd name="connsiteY94" fmla="*/ 4857750 h 7648575"/>
                <a:gd name="connsiteX95" fmla="*/ 420119 w 4611119"/>
                <a:gd name="connsiteY95" fmla="*/ 4895850 h 7648575"/>
                <a:gd name="connsiteX96" fmla="*/ 486794 w 4611119"/>
                <a:gd name="connsiteY96" fmla="*/ 4981575 h 7648575"/>
                <a:gd name="connsiteX97" fmla="*/ 553469 w 4611119"/>
                <a:gd name="connsiteY97" fmla="*/ 5048250 h 7648575"/>
                <a:gd name="connsiteX98" fmla="*/ 562994 w 4611119"/>
                <a:gd name="connsiteY98" fmla="*/ 5086350 h 7648575"/>
                <a:gd name="connsiteX99" fmla="*/ 591569 w 4611119"/>
                <a:gd name="connsiteY99" fmla="*/ 5114925 h 7648575"/>
                <a:gd name="connsiteX100" fmla="*/ 601094 w 4611119"/>
                <a:gd name="connsiteY100" fmla="*/ 5172075 h 7648575"/>
                <a:gd name="connsiteX101" fmla="*/ 620144 w 4611119"/>
                <a:gd name="connsiteY101" fmla="*/ 5210175 h 7648575"/>
                <a:gd name="connsiteX102" fmla="*/ 629669 w 4611119"/>
                <a:gd name="connsiteY102" fmla="*/ 5267325 h 7648575"/>
                <a:gd name="connsiteX103" fmla="*/ 686819 w 4611119"/>
                <a:gd name="connsiteY103" fmla="*/ 5324475 h 7648575"/>
                <a:gd name="connsiteX104" fmla="*/ 715394 w 4611119"/>
                <a:gd name="connsiteY104" fmla="*/ 5381625 h 7648575"/>
                <a:gd name="connsiteX105" fmla="*/ 734444 w 4611119"/>
                <a:gd name="connsiteY105" fmla="*/ 5448300 h 7648575"/>
                <a:gd name="connsiteX106" fmla="*/ 743969 w 4611119"/>
                <a:gd name="connsiteY106" fmla="*/ 5476875 h 7648575"/>
                <a:gd name="connsiteX107" fmla="*/ 763019 w 4611119"/>
                <a:gd name="connsiteY107" fmla="*/ 5505450 h 7648575"/>
                <a:gd name="connsiteX108" fmla="*/ 763019 w 4611119"/>
                <a:gd name="connsiteY108" fmla="*/ 5581650 h 7648575"/>
                <a:gd name="connsiteX109" fmla="*/ 810644 w 4611119"/>
                <a:gd name="connsiteY109" fmla="*/ 5695950 h 7648575"/>
                <a:gd name="connsiteX110" fmla="*/ 839219 w 4611119"/>
                <a:gd name="connsiteY110" fmla="*/ 5724525 h 7648575"/>
                <a:gd name="connsiteX111" fmla="*/ 858269 w 4611119"/>
                <a:gd name="connsiteY111" fmla="*/ 5838825 h 7648575"/>
                <a:gd name="connsiteX112" fmla="*/ 877319 w 4611119"/>
                <a:gd name="connsiteY112" fmla="*/ 5867400 h 7648575"/>
                <a:gd name="connsiteX113" fmla="*/ 905894 w 4611119"/>
                <a:gd name="connsiteY113" fmla="*/ 5895975 h 7648575"/>
                <a:gd name="connsiteX114" fmla="*/ 972569 w 4611119"/>
                <a:gd name="connsiteY114" fmla="*/ 5972175 h 7648575"/>
                <a:gd name="connsiteX115" fmla="*/ 991619 w 4611119"/>
                <a:gd name="connsiteY115" fmla="*/ 6000750 h 7648575"/>
                <a:gd name="connsiteX116" fmla="*/ 1029719 w 4611119"/>
                <a:gd name="connsiteY116" fmla="*/ 6019800 h 7648575"/>
                <a:gd name="connsiteX117" fmla="*/ 1010669 w 4611119"/>
                <a:gd name="connsiteY117" fmla="*/ 6076950 h 7648575"/>
                <a:gd name="connsiteX118" fmla="*/ 991619 w 4611119"/>
                <a:gd name="connsiteY118" fmla="*/ 6143625 h 7648575"/>
                <a:gd name="connsiteX119" fmla="*/ 972569 w 4611119"/>
                <a:gd name="connsiteY119" fmla="*/ 6172200 h 7648575"/>
                <a:gd name="connsiteX120" fmla="*/ 982094 w 4611119"/>
                <a:gd name="connsiteY120" fmla="*/ 6286500 h 7648575"/>
                <a:gd name="connsiteX121" fmla="*/ 1010669 w 4611119"/>
                <a:gd name="connsiteY121" fmla="*/ 6391275 h 7648575"/>
                <a:gd name="connsiteX122" fmla="*/ 1029719 w 4611119"/>
                <a:gd name="connsiteY122" fmla="*/ 6448425 h 7648575"/>
                <a:gd name="connsiteX123" fmla="*/ 1048769 w 4611119"/>
                <a:gd name="connsiteY123" fmla="*/ 6505575 h 7648575"/>
                <a:gd name="connsiteX124" fmla="*/ 1067819 w 4611119"/>
                <a:gd name="connsiteY124" fmla="*/ 6553200 h 7648575"/>
                <a:gd name="connsiteX125" fmla="*/ 1096394 w 4611119"/>
                <a:gd name="connsiteY125" fmla="*/ 6581775 h 7648575"/>
                <a:gd name="connsiteX126" fmla="*/ 1239269 w 4611119"/>
                <a:gd name="connsiteY126" fmla="*/ 6610350 h 7648575"/>
                <a:gd name="connsiteX127" fmla="*/ 1258319 w 4611119"/>
                <a:gd name="connsiteY127" fmla="*/ 6638925 h 7648575"/>
                <a:gd name="connsiteX128" fmla="*/ 1315469 w 4611119"/>
                <a:gd name="connsiteY128" fmla="*/ 6753225 h 7648575"/>
                <a:gd name="connsiteX129" fmla="*/ 1344044 w 4611119"/>
                <a:gd name="connsiteY129" fmla="*/ 6772275 h 7648575"/>
                <a:gd name="connsiteX130" fmla="*/ 1458344 w 4611119"/>
                <a:gd name="connsiteY130" fmla="*/ 6800850 h 7648575"/>
                <a:gd name="connsiteX131" fmla="*/ 1496444 w 4611119"/>
                <a:gd name="connsiteY131" fmla="*/ 6838950 h 7648575"/>
                <a:gd name="connsiteX132" fmla="*/ 1572644 w 4611119"/>
                <a:gd name="connsiteY132" fmla="*/ 6858000 h 7648575"/>
                <a:gd name="connsiteX133" fmla="*/ 1601219 w 4611119"/>
                <a:gd name="connsiteY133" fmla="*/ 6867525 h 7648575"/>
                <a:gd name="connsiteX134" fmla="*/ 1648844 w 4611119"/>
                <a:gd name="connsiteY134" fmla="*/ 6877050 h 7648575"/>
                <a:gd name="connsiteX135" fmla="*/ 1677419 w 4611119"/>
                <a:gd name="connsiteY135" fmla="*/ 6896100 h 7648575"/>
                <a:gd name="connsiteX136" fmla="*/ 1763144 w 4611119"/>
                <a:gd name="connsiteY136" fmla="*/ 6934200 h 7648575"/>
                <a:gd name="connsiteX137" fmla="*/ 1791719 w 4611119"/>
                <a:gd name="connsiteY137" fmla="*/ 6943725 h 7648575"/>
                <a:gd name="connsiteX138" fmla="*/ 1801244 w 4611119"/>
                <a:gd name="connsiteY138" fmla="*/ 6972300 h 7648575"/>
                <a:gd name="connsiteX139" fmla="*/ 1744094 w 4611119"/>
                <a:gd name="connsiteY139" fmla="*/ 7000875 h 7648575"/>
                <a:gd name="connsiteX140" fmla="*/ 1725044 w 4611119"/>
                <a:gd name="connsiteY140" fmla="*/ 7029450 h 7648575"/>
                <a:gd name="connsiteX141" fmla="*/ 1734569 w 4611119"/>
                <a:gd name="connsiteY141" fmla="*/ 7077075 h 7648575"/>
                <a:gd name="connsiteX142" fmla="*/ 1753619 w 4611119"/>
                <a:gd name="connsiteY142" fmla="*/ 7143750 h 7648575"/>
                <a:gd name="connsiteX143" fmla="*/ 1772669 w 4611119"/>
                <a:gd name="connsiteY143" fmla="*/ 7172325 h 7648575"/>
                <a:gd name="connsiteX144" fmla="*/ 1801244 w 4611119"/>
                <a:gd name="connsiteY144" fmla="*/ 7181850 h 7648575"/>
                <a:gd name="connsiteX145" fmla="*/ 1991744 w 4611119"/>
                <a:gd name="connsiteY145" fmla="*/ 7181850 h 7648575"/>
                <a:gd name="connsiteX146" fmla="*/ 2020319 w 4611119"/>
                <a:gd name="connsiteY146" fmla="*/ 7210425 h 7648575"/>
                <a:gd name="connsiteX147" fmla="*/ 2029844 w 4611119"/>
                <a:gd name="connsiteY147" fmla="*/ 7277100 h 7648575"/>
                <a:gd name="connsiteX148" fmla="*/ 2048894 w 4611119"/>
                <a:gd name="connsiteY148" fmla="*/ 7305675 h 7648575"/>
                <a:gd name="connsiteX149" fmla="*/ 2086994 w 4611119"/>
                <a:gd name="connsiteY149" fmla="*/ 7391400 h 7648575"/>
                <a:gd name="connsiteX150" fmla="*/ 2096519 w 4611119"/>
                <a:gd name="connsiteY150" fmla="*/ 7429500 h 7648575"/>
                <a:gd name="connsiteX151" fmla="*/ 2134619 w 4611119"/>
                <a:gd name="connsiteY151" fmla="*/ 7410450 h 7648575"/>
                <a:gd name="connsiteX152" fmla="*/ 2258444 w 4611119"/>
                <a:gd name="connsiteY152" fmla="*/ 7381875 h 7648575"/>
                <a:gd name="connsiteX153" fmla="*/ 2315594 w 4611119"/>
                <a:gd name="connsiteY153" fmla="*/ 7362825 h 7648575"/>
                <a:gd name="connsiteX154" fmla="*/ 2677544 w 4611119"/>
                <a:gd name="connsiteY154" fmla="*/ 7372350 h 7648575"/>
                <a:gd name="connsiteX155" fmla="*/ 2839469 w 4611119"/>
                <a:gd name="connsiteY155" fmla="*/ 7391400 h 7648575"/>
                <a:gd name="connsiteX156" fmla="*/ 2925194 w 4611119"/>
                <a:gd name="connsiteY156" fmla="*/ 7400925 h 7648575"/>
                <a:gd name="connsiteX157" fmla="*/ 2963294 w 4611119"/>
                <a:gd name="connsiteY157" fmla="*/ 7410450 h 7648575"/>
                <a:gd name="connsiteX158" fmla="*/ 3077594 w 4611119"/>
                <a:gd name="connsiteY158" fmla="*/ 7429500 h 7648575"/>
                <a:gd name="connsiteX159" fmla="*/ 3191894 w 4611119"/>
                <a:gd name="connsiteY159" fmla="*/ 7439025 h 7648575"/>
                <a:gd name="connsiteX160" fmla="*/ 3353819 w 4611119"/>
                <a:gd name="connsiteY160" fmla="*/ 7467600 h 7648575"/>
                <a:gd name="connsiteX161" fmla="*/ 3430019 w 4611119"/>
                <a:gd name="connsiteY161" fmla="*/ 7477125 h 7648575"/>
                <a:gd name="connsiteX162" fmla="*/ 3534794 w 4611119"/>
                <a:gd name="connsiteY162" fmla="*/ 7486650 h 7648575"/>
                <a:gd name="connsiteX163" fmla="*/ 3687194 w 4611119"/>
                <a:gd name="connsiteY163" fmla="*/ 7524750 h 7648575"/>
                <a:gd name="connsiteX164" fmla="*/ 3772919 w 4611119"/>
                <a:gd name="connsiteY164" fmla="*/ 7534275 h 7648575"/>
                <a:gd name="connsiteX165" fmla="*/ 3953894 w 4611119"/>
                <a:gd name="connsiteY165" fmla="*/ 7562850 h 7648575"/>
                <a:gd name="connsiteX166" fmla="*/ 4030094 w 4611119"/>
                <a:gd name="connsiteY166" fmla="*/ 7572375 h 7648575"/>
                <a:gd name="connsiteX167" fmla="*/ 4115819 w 4611119"/>
                <a:gd name="connsiteY167" fmla="*/ 7581900 h 7648575"/>
                <a:gd name="connsiteX168" fmla="*/ 4201544 w 4611119"/>
                <a:gd name="connsiteY168" fmla="*/ 7600950 h 7648575"/>
                <a:gd name="connsiteX169" fmla="*/ 4439669 w 4611119"/>
                <a:gd name="connsiteY169" fmla="*/ 7620000 h 7648575"/>
                <a:gd name="connsiteX170" fmla="*/ 4468244 w 4611119"/>
                <a:gd name="connsiteY170" fmla="*/ 7629525 h 7648575"/>
                <a:gd name="connsiteX171" fmla="*/ 4544444 w 4611119"/>
                <a:gd name="connsiteY171" fmla="*/ 7648575 h 7648575"/>
                <a:gd name="connsiteX172" fmla="*/ 4601594 w 4611119"/>
                <a:gd name="connsiteY172" fmla="*/ 7639050 h 7648575"/>
                <a:gd name="connsiteX173" fmla="*/ 4611119 w 4611119"/>
                <a:gd name="connsiteY173" fmla="*/ 7610475 h 7648575"/>
                <a:gd name="connsiteX174" fmla="*/ 4573019 w 4611119"/>
                <a:gd name="connsiteY174" fmla="*/ 7543800 h 7648575"/>
                <a:gd name="connsiteX175" fmla="*/ 4544444 w 4611119"/>
                <a:gd name="connsiteY175" fmla="*/ 7486650 h 7648575"/>
                <a:gd name="connsiteX176" fmla="*/ 4534919 w 4611119"/>
                <a:gd name="connsiteY176" fmla="*/ 7458075 h 7648575"/>
                <a:gd name="connsiteX177" fmla="*/ 4506344 w 4611119"/>
                <a:gd name="connsiteY177" fmla="*/ 7410450 h 7648575"/>
                <a:gd name="connsiteX178" fmla="*/ 4468244 w 4611119"/>
                <a:gd name="connsiteY178" fmla="*/ 7334250 h 7648575"/>
                <a:gd name="connsiteX179" fmla="*/ 4458719 w 4611119"/>
                <a:gd name="connsiteY179" fmla="*/ 7296150 h 7648575"/>
                <a:gd name="connsiteX180" fmla="*/ 4430144 w 4611119"/>
                <a:gd name="connsiteY180" fmla="*/ 7286625 h 7648575"/>
                <a:gd name="connsiteX181" fmla="*/ 4487294 w 4611119"/>
                <a:gd name="connsiteY181" fmla="*/ 7258050 h 7648575"/>
                <a:gd name="connsiteX182" fmla="*/ 4506344 w 4611119"/>
                <a:gd name="connsiteY182" fmla="*/ 7143750 h 7648575"/>
                <a:gd name="connsiteX183" fmla="*/ 4477769 w 4611119"/>
                <a:gd name="connsiteY183" fmla="*/ 7134225 h 7648575"/>
                <a:gd name="connsiteX184" fmla="*/ 4458719 w 4611119"/>
                <a:gd name="connsiteY184" fmla="*/ 7105650 h 7648575"/>
                <a:gd name="connsiteX185" fmla="*/ 4420619 w 4611119"/>
                <a:gd name="connsiteY185" fmla="*/ 7077075 h 7648575"/>
                <a:gd name="connsiteX186" fmla="*/ 4325369 w 4611119"/>
                <a:gd name="connsiteY186" fmla="*/ 7058025 h 7648575"/>
                <a:gd name="connsiteX187" fmla="*/ 4296794 w 4611119"/>
                <a:gd name="connsiteY187" fmla="*/ 7048500 h 7648575"/>
                <a:gd name="connsiteX188" fmla="*/ 4239644 w 4611119"/>
                <a:gd name="connsiteY188" fmla="*/ 7010400 h 7648575"/>
                <a:gd name="connsiteX189" fmla="*/ 4134869 w 4611119"/>
                <a:gd name="connsiteY189" fmla="*/ 6991350 h 7648575"/>
                <a:gd name="connsiteX190" fmla="*/ 4106294 w 4611119"/>
                <a:gd name="connsiteY190" fmla="*/ 6981825 h 7648575"/>
                <a:gd name="connsiteX191" fmla="*/ 4068194 w 4611119"/>
                <a:gd name="connsiteY191" fmla="*/ 6972300 h 7648575"/>
                <a:gd name="connsiteX192" fmla="*/ 4011044 w 4611119"/>
                <a:gd name="connsiteY192" fmla="*/ 6953250 h 7648575"/>
                <a:gd name="connsiteX193" fmla="*/ 4001519 w 4611119"/>
                <a:gd name="connsiteY193" fmla="*/ 6924675 h 7648575"/>
                <a:gd name="connsiteX194" fmla="*/ 3991994 w 4611119"/>
                <a:gd name="connsiteY194" fmla="*/ 6886575 h 7648575"/>
                <a:gd name="connsiteX195" fmla="*/ 3934844 w 4611119"/>
                <a:gd name="connsiteY195" fmla="*/ 6858000 h 7648575"/>
                <a:gd name="connsiteX196" fmla="*/ 3925319 w 4611119"/>
                <a:gd name="connsiteY196" fmla="*/ 6829425 h 7648575"/>
                <a:gd name="connsiteX197" fmla="*/ 3925319 w 4611119"/>
                <a:gd name="connsiteY197" fmla="*/ 6734175 h 7648575"/>
                <a:gd name="connsiteX198" fmla="*/ 3887219 w 4611119"/>
                <a:gd name="connsiteY198" fmla="*/ 6724650 h 7648575"/>
                <a:gd name="connsiteX199" fmla="*/ 3868169 w 4611119"/>
                <a:gd name="connsiteY199" fmla="*/ 6638925 h 7648575"/>
                <a:gd name="connsiteX200" fmla="*/ 3858644 w 4611119"/>
                <a:gd name="connsiteY200" fmla="*/ 6610350 h 7648575"/>
                <a:gd name="connsiteX201" fmla="*/ 3887219 w 4611119"/>
                <a:gd name="connsiteY201" fmla="*/ 6591300 h 7648575"/>
                <a:gd name="connsiteX202" fmla="*/ 3944369 w 4611119"/>
                <a:gd name="connsiteY202" fmla="*/ 6619875 h 7648575"/>
                <a:gd name="connsiteX203" fmla="*/ 3963419 w 4611119"/>
                <a:gd name="connsiteY203" fmla="*/ 6648450 h 7648575"/>
                <a:gd name="connsiteX204" fmla="*/ 4020569 w 4611119"/>
                <a:gd name="connsiteY204" fmla="*/ 6677025 h 7648575"/>
                <a:gd name="connsiteX205" fmla="*/ 4049144 w 4611119"/>
                <a:gd name="connsiteY205" fmla="*/ 6696075 h 7648575"/>
                <a:gd name="connsiteX206" fmla="*/ 4087244 w 4611119"/>
                <a:gd name="connsiteY206" fmla="*/ 6657975 h 7648575"/>
                <a:gd name="connsiteX207" fmla="*/ 4125344 w 4611119"/>
                <a:gd name="connsiteY207" fmla="*/ 6581775 h 7648575"/>
                <a:gd name="connsiteX208" fmla="*/ 4077719 w 4611119"/>
                <a:gd name="connsiteY208" fmla="*/ 6534150 h 7648575"/>
                <a:gd name="connsiteX209" fmla="*/ 4049144 w 4611119"/>
                <a:gd name="connsiteY209" fmla="*/ 6505575 h 7648575"/>
                <a:gd name="connsiteX210" fmla="*/ 4020569 w 4611119"/>
                <a:gd name="connsiteY210" fmla="*/ 6486525 h 7648575"/>
                <a:gd name="connsiteX211" fmla="*/ 3991994 w 4611119"/>
                <a:gd name="connsiteY211" fmla="*/ 6381750 h 7648575"/>
                <a:gd name="connsiteX212" fmla="*/ 3972944 w 4611119"/>
                <a:gd name="connsiteY212" fmla="*/ 6334125 h 7648575"/>
                <a:gd name="connsiteX213" fmla="*/ 3953894 w 4611119"/>
                <a:gd name="connsiteY213" fmla="*/ 6276975 h 7648575"/>
                <a:gd name="connsiteX214" fmla="*/ 3944369 w 4611119"/>
                <a:gd name="connsiteY214" fmla="*/ 6248400 h 7648575"/>
                <a:gd name="connsiteX215" fmla="*/ 3934844 w 4611119"/>
                <a:gd name="connsiteY215" fmla="*/ 6153150 h 7648575"/>
                <a:gd name="connsiteX216" fmla="*/ 3925319 w 4611119"/>
                <a:gd name="connsiteY216" fmla="*/ 6124575 h 7648575"/>
                <a:gd name="connsiteX217" fmla="*/ 3915794 w 4611119"/>
                <a:gd name="connsiteY217" fmla="*/ 6076950 h 7648575"/>
                <a:gd name="connsiteX218" fmla="*/ 3925319 w 4611119"/>
                <a:gd name="connsiteY218" fmla="*/ 5934075 h 7648575"/>
                <a:gd name="connsiteX219" fmla="*/ 3934844 w 4611119"/>
                <a:gd name="connsiteY219" fmla="*/ 5895975 h 7648575"/>
                <a:gd name="connsiteX220" fmla="*/ 3991994 w 4611119"/>
                <a:gd name="connsiteY220" fmla="*/ 5838825 h 7648575"/>
                <a:gd name="connsiteX221" fmla="*/ 4020569 w 4611119"/>
                <a:gd name="connsiteY221" fmla="*/ 5810250 h 7648575"/>
                <a:gd name="connsiteX222" fmla="*/ 4049144 w 4611119"/>
                <a:gd name="connsiteY222" fmla="*/ 5638800 h 7648575"/>
                <a:gd name="connsiteX223" fmla="*/ 4106294 w 4611119"/>
                <a:gd name="connsiteY223" fmla="*/ 5591175 h 7648575"/>
                <a:gd name="connsiteX224" fmla="*/ 4163444 w 4611119"/>
                <a:gd name="connsiteY224" fmla="*/ 5534025 h 7648575"/>
                <a:gd name="connsiteX225" fmla="*/ 4115819 w 4611119"/>
                <a:gd name="connsiteY225" fmla="*/ 5495925 h 7648575"/>
                <a:gd name="connsiteX226" fmla="*/ 4058669 w 4611119"/>
                <a:gd name="connsiteY226" fmla="*/ 5438775 h 7648575"/>
                <a:gd name="connsiteX227" fmla="*/ 4049144 w 4611119"/>
                <a:gd name="connsiteY227" fmla="*/ 5410200 h 7648575"/>
                <a:gd name="connsiteX228" fmla="*/ 4068194 w 4611119"/>
                <a:gd name="connsiteY228" fmla="*/ 5229225 h 7648575"/>
                <a:gd name="connsiteX229" fmla="*/ 4039619 w 4611119"/>
                <a:gd name="connsiteY229" fmla="*/ 5124450 h 7648575"/>
                <a:gd name="connsiteX230" fmla="*/ 4011044 w 4611119"/>
                <a:gd name="connsiteY230" fmla="*/ 5076825 h 7648575"/>
                <a:gd name="connsiteX231" fmla="*/ 3982469 w 4611119"/>
                <a:gd name="connsiteY231" fmla="*/ 5067300 h 7648575"/>
                <a:gd name="connsiteX232" fmla="*/ 3982469 w 4611119"/>
                <a:gd name="connsiteY232" fmla="*/ 4991100 h 7648575"/>
                <a:gd name="connsiteX233" fmla="*/ 3953894 w 4611119"/>
                <a:gd name="connsiteY233" fmla="*/ 4924425 h 7648575"/>
                <a:gd name="connsiteX234" fmla="*/ 3925319 w 4611119"/>
                <a:gd name="connsiteY234" fmla="*/ 4914900 h 7648575"/>
                <a:gd name="connsiteX235" fmla="*/ 3896744 w 4611119"/>
                <a:gd name="connsiteY235" fmla="*/ 4886325 h 7648575"/>
                <a:gd name="connsiteX236" fmla="*/ 3858644 w 4611119"/>
                <a:gd name="connsiteY236" fmla="*/ 4686300 h 7648575"/>
                <a:gd name="connsiteX237" fmla="*/ 3849119 w 4611119"/>
                <a:gd name="connsiteY237" fmla="*/ 4638675 h 7648575"/>
                <a:gd name="connsiteX238" fmla="*/ 3858644 w 4611119"/>
                <a:gd name="connsiteY238" fmla="*/ 4581525 h 7648575"/>
                <a:gd name="connsiteX239" fmla="*/ 3887219 w 4611119"/>
                <a:gd name="connsiteY239" fmla="*/ 4552950 h 7648575"/>
                <a:gd name="connsiteX240" fmla="*/ 3906269 w 4611119"/>
                <a:gd name="connsiteY240" fmla="*/ 4514850 h 7648575"/>
                <a:gd name="connsiteX241" fmla="*/ 3925319 w 4611119"/>
                <a:gd name="connsiteY241" fmla="*/ 4486275 h 7648575"/>
                <a:gd name="connsiteX242" fmla="*/ 3944369 w 4611119"/>
                <a:gd name="connsiteY242" fmla="*/ 4076700 h 7648575"/>
                <a:gd name="connsiteX243" fmla="*/ 3925319 w 4611119"/>
                <a:gd name="connsiteY243" fmla="*/ 3876675 h 7648575"/>
                <a:gd name="connsiteX244" fmla="*/ 3896744 w 4611119"/>
                <a:gd name="connsiteY244" fmla="*/ 3848100 h 7648575"/>
                <a:gd name="connsiteX245" fmla="*/ 3877694 w 4611119"/>
                <a:gd name="connsiteY245" fmla="*/ 3819525 h 7648575"/>
                <a:gd name="connsiteX246" fmla="*/ 3868169 w 4611119"/>
                <a:gd name="connsiteY246" fmla="*/ 3771900 h 7648575"/>
                <a:gd name="connsiteX247" fmla="*/ 3830069 w 4611119"/>
                <a:gd name="connsiteY247" fmla="*/ 3686175 h 7648575"/>
                <a:gd name="connsiteX248" fmla="*/ 3772919 w 4611119"/>
                <a:gd name="connsiteY248" fmla="*/ 3629025 h 7648575"/>
                <a:gd name="connsiteX249" fmla="*/ 3734819 w 4611119"/>
                <a:gd name="connsiteY249" fmla="*/ 3609975 h 7648575"/>
                <a:gd name="connsiteX250" fmla="*/ 3744344 w 4611119"/>
                <a:gd name="connsiteY250" fmla="*/ 3581400 h 7648575"/>
                <a:gd name="connsiteX251" fmla="*/ 3772919 w 4611119"/>
                <a:gd name="connsiteY251" fmla="*/ 3552825 h 7648575"/>
                <a:gd name="connsiteX252" fmla="*/ 3782444 w 4611119"/>
                <a:gd name="connsiteY252" fmla="*/ 3505200 h 7648575"/>
                <a:gd name="connsiteX253" fmla="*/ 3791969 w 4611119"/>
                <a:gd name="connsiteY253" fmla="*/ 3390900 h 7648575"/>
                <a:gd name="connsiteX254" fmla="*/ 3801494 w 4611119"/>
                <a:gd name="connsiteY254" fmla="*/ 3343275 h 7648575"/>
                <a:gd name="connsiteX255" fmla="*/ 3830069 w 4611119"/>
                <a:gd name="connsiteY255" fmla="*/ 3352800 h 7648575"/>
                <a:gd name="connsiteX256" fmla="*/ 3858644 w 4611119"/>
                <a:gd name="connsiteY256" fmla="*/ 3381375 h 7648575"/>
                <a:gd name="connsiteX257" fmla="*/ 3915794 w 4611119"/>
                <a:gd name="connsiteY257" fmla="*/ 3362325 h 7648575"/>
                <a:gd name="connsiteX258" fmla="*/ 3953894 w 4611119"/>
                <a:gd name="connsiteY258" fmla="*/ 3352800 h 7648575"/>
                <a:gd name="connsiteX259" fmla="*/ 4030094 w 4611119"/>
                <a:gd name="connsiteY259" fmla="*/ 3333750 h 7648575"/>
                <a:gd name="connsiteX260" fmla="*/ 4020569 w 4611119"/>
                <a:gd name="connsiteY260" fmla="*/ 3286125 h 7648575"/>
                <a:gd name="connsiteX261" fmla="*/ 4039619 w 4611119"/>
                <a:gd name="connsiteY261" fmla="*/ 3171825 h 7648575"/>
                <a:gd name="connsiteX262" fmla="*/ 4030094 w 4611119"/>
                <a:gd name="connsiteY262" fmla="*/ 3028950 h 7648575"/>
                <a:gd name="connsiteX263" fmla="*/ 4001519 w 4611119"/>
                <a:gd name="connsiteY263" fmla="*/ 3038475 h 7648575"/>
                <a:gd name="connsiteX264" fmla="*/ 3925319 w 4611119"/>
                <a:gd name="connsiteY264" fmla="*/ 3019425 h 7648575"/>
                <a:gd name="connsiteX265" fmla="*/ 3896744 w 4611119"/>
                <a:gd name="connsiteY265" fmla="*/ 2943225 h 7648575"/>
                <a:gd name="connsiteX266" fmla="*/ 3877694 w 4611119"/>
                <a:gd name="connsiteY266" fmla="*/ 2886075 h 7648575"/>
                <a:gd name="connsiteX267" fmla="*/ 3868169 w 4611119"/>
                <a:gd name="connsiteY267" fmla="*/ 2857500 h 7648575"/>
                <a:gd name="connsiteX268" fmla="*/ 3858644 w 4611119"/>
                <a:gd name="connsiteY268" fmla="*/ 2762250 h 7648575"/>
                <a:gd name="connsiteX269" fmla="*/ 3849119 w 4611119"/>
                <a:gd name="connsiteY269" fmla="*/ 2733675 h 7648575"/>
                <a:gd name="connsiteX270" fmla="*/ 3820544 w 4611119"/>
                <a:gd name="connsiteY270" fmla="*/ 2705100 h 7648575"/>
                <a:gd name="connsiteX271" fmla="*/ 3772919 w 4611119"/>
                <a:gd name="connsiteY271" fmla="*/ 2600325 h 7648575"/>
                <a:gd name="connsiteX272" fmla="*/ 3734819 w 4611119"/>
                <a:gd name="connsiteY272" fmla="*/ 2590800 h 7648575"/>
                <a:gd name="connsiteX273" fmla="*/ 3715769 w 4611119"/>
                <a:gd name="connsiteY273" fmla="*/ 2619375 h 7648575"/>
                <a:gd name="connsiteX274" fmla="*/ 3706244 w 4611119"/>
                <a:gd name="connsiteY274" fmla="*/ 2676525 h 7648575"/>
                <a:gd name="connsiteX275" fmla="*/ 3658619 w 4611119"/>
                <a:gd name="connsiteY275" fmla="*/ 2619375 h 7648575"/>
                <a:gd name="connsiteX276" fmla="*/ 3572894 w 4611119"/>
                <a:gd name="connsiteY276" fmla="*/ 2581275 h 7648575"/>
                <a:gd name="connsiteX277" fmla="*/ 3544319 w 4611119"/>
                <a:gd name="connsiteY277" fmla="*/ 2571750 h 7648575"/>
                <a:gd name="connsiteX278" fmla="*/ 3572894 w 4611119"/>
                <a:gd name="connsiteY278" fmla="*/ 2543175 h 7648575"/>
                <a:gd name="connsiteX279" fmla="*/ 3563369 w 4611119"/>
                <a:gd name="connsiteY279" fmla="*/ 2505075 h 7648575"/>
                <a:gd name="connsiteX280" fmla="*/ 3468119 w 4611119"/>
                <a:gd name="connsiteY280" fmla="*/ 2476500 h 7648575"/>
                <a:gd name="connsiteX281" fmla="*/ 3439544 w 4611119"/>
                <a:gd name="connsiteY281" fmla="*/ 2457450 h 7648575"/>
                <a:gd name="connsiteX282" fmla="*/ 3449069 w 4611119"/>
                <a:gd name="connsiteY282" fmla="*/ 2409825 h 7648575"/>
                <a:gd name="connsiteX283" fmla="*/ 3544319 w 4611119"/>
                <a:gd name="connsiteY283" fmla="*/ 2343150 h 7648575"/>
                <a:gd name="connsiteX284" fmla="*/ 3601469 w 4611119"/>
                <a:gd name="connsiteY284" fmla="*/ 2305050 h 7648575"/>
                <a:gd name="connsiteX285" fmla="*/ 3620519 w 4611119"/>
                <a:gd name="connsiteY285" fmla="*/ 2266950 h 7648575"/>
                <a:gd name="connsiteX286" fmla="*/ 3658619 w 4611119"/>
                <a:gd name="connsiteY286" fmla="*/ 2257425 h 7648575"/>
                <a:gd name="connsiteX287" fmla="*/ 3734819 w 4611119"/>
                <a:gd name="connsiteY287" fmla="*/ 2238375 h 7648575"/>
                <a:gd name="connsiteX288" fmla="*/ 3744344 w 4611119"/>
                <a:gd name="connsiteY288" fmla="*/ 2209800 h 7648575"/>
                <a:gd name="connsiteX289" fmla="*/ 3696719 w 4611119"/>
                <a:gd name="connsiteY289" fmla="*/ 2152650 h 7648575"/>
                <a:gd name="connsiteX290" fmla="*/ 3668144 w 4611119"/>
                <a:gd name="connsiteY290" fmla="*/ 1981200 h 7648575"/>
                <a:gd name="connsiteX291" fmla="*/ 3639569 w 4611119"/>
                <a:gd name="connsiteY291" fmla="*/ 1962150 h 7648575"/>
                <a:gd name="connsiteX292" fmla="*/ 3582419 w 4611119"/>
                <a:gd name="connsiteY292" fmla="*/ 1905000 h 7648575"/>
                <a:gd name="connsiteX293" fmla="*/ 3553844 w 4611119"/>
                <a:gd name="connsiteY293" fmla="*/ 1876425 h 7648575"/>
                <a:gd name="connsiteX294" fmla="*/ 3544319 w 4611119"/>
                <a:gd name="connsiteY294" fmla="*/ 1847850 h 7648575"/>
                <a:gd name="connsiteX295" fmla="*/ 3591944 w 4611119"/>
                <a:gd name="connsiteY295" fmla="*/ 1800225 h 7648575"/>
                <a:gd name="connsiteX296" fmla="*/ 3630044 w 4611119"/>
                <a:gd name="connsiteY296" fmla="*/ 1666875 h 7648575"/>
                <a:gd name="connsiteX297" fmla="*/ 3696719 w 4611119"/>
                <a:gd name="connsiteY297" fmla="*/ 1676400 h 7648575"/>
                <a:gd name="connsiteX298" fmla="*/ 3725294 w 4611119"/>
                <a:gd name="connsiteY298" fmla="*/ 1704975 h 7648575"/>
                <a:gd name="connsiteX299" fmla="*/ 3849119 w 4611119"/>
                <a:gd name="connsiteY299" fmla="*/ 1714500 h 7648575"/>
                <a:gd name="connsiteX300" fmla="*/ 3877694 w 4611119"/>
                <a:gd name="connsiteY300" fmla="*/ 1724025 h 7648575"/>
                <a:gd name="connsiteX301" fmla="*/ 4020569 w 4611119"/>
                <a:gd name="connsiteY301" fmla="*/ 1714500 h 7648575"/>
                <a:gd name="connsiteX302" fmla="*/ 4049144 w 4611119"/>
                <a:gd name="connsiteY302" fmla="*/ 1685925 h 7648575"/>
                <a:gd name="connsiteX303" fmla="*/ 4106294 w 4611119"/>
                <a:gd name="connsiteY303" fmla="*/ 1647825 h 7648575"/>
                <a:gd name="connsiteX304" fmla="*/ 4163444 w 4611119"/>
                <a:gd name="connsiteY304" fmla="*/ 1628775 h 7648575"/>
                <a:gd name="connsiteX305" fmla="*/ 4239644 w 4611119"/>
                <a:gd name="connsiteY305" fmla="*/ 1609725 h 7648575"/>
                <a:gd name="connsiteX306" fmla="*/ 4277744 w 4611119"/>
                <a:gd name="connsiteY306" fmla="*/ 1552575 h 7648575"/>
                <a:gd name="connsiteX307" fmla="*/ 4296794 w 4611119"/>
                <a:gd name="connsiteY307" fmla="*/ 1428750 h 7648575"/>
                <a:gd name="connsiteX308" fmla="*/ 4325369 w 4611119"/>
                <a:gd name="connsiteY308" fmla="*/ 1409700 h 7648575"/>
                <a:gd name="connsiteX309" fmla="*/ 4353944 w 4611119"/>
                <a:gd name="connsiteY309" fmla="*/ 1428750 h 7648575"/>
                <a:gd name="connsiteX310" fmla="*/ 4344419 w 4611119"/>
                <a:gd name="connsiteY310" fmla="*/ 1400175 h 7648575"/>
                <a:gd name="connsiteX311" fmla="*/ 4334894 w 4611119"/>
                <a:gd name="connsiteY311" fmla="*/ 1362075 h 7648575"/>
                <a:gd name="connsiteX312" fmla="*/ 4344419 w 4611119"/>
                <a:gd name="connsiteY312" fmla="*/ 1314450 h 7648575"/>
                <a:gd name="connsiteX313" fmla="*/ 4372994 w 4611119"/>
                <a:gd name="connsiteY313" fmla="*/ 1285875 h 7648575"/>
                <a:gd name="connsiteX314" fmla="*/ 4420619 w 4611119"/>
                <a:gd name="connsiteY314" fmla="*/ 1200150 h 7648575"/>
                <a:gd name="connsiteX315" fmla="*/ 4430144 w 4611119"/>
                <a:gd name="connsiteY315" fmla="*/ 1162050 h 7648575"/>
                <a:gd name="connsiteX316" fmla="*/ 4468244 w 4611119"/>
                <a:gd name="connsiteY316" fmla="*/ 981075 h 7648575"/>
                <a:gd name="connsiteX317" fmla="*/ 4458719 w 4611119"/>
                <a:gd name="connsiteY317" fmla="*/ 885825 h 7648575"/>
                <a:gd name="connsiteX318" fmla="*/ 4449194 w 4611119"/>
                <a:gd name="connsiteY318" fmla="*/ 847725 h 7648575"/>
                <a:gd name="connsiteX319" fmla="*/ 4487294 w 4611119"/>
                <a:gd name="connsiteY319" fmla="*/ 790575 h 7648575"/>
                <a:gd name="connsiteX320" fmla="*/ 4515869 w 4611119"/>
                <a:gd name="connsiteY320" fmla="*/ 771525 h 7648575"/>
                <a:gd name="connsiteX321" fmla="*/ 4544444 w 4611119"/>
                <a:gd name="connsiteY321" fmla="*/ 762000 h 7648575"/>
                <a:gd name="connsiteX322" fmla="*/ 4553969 w 4611119"/>
                <a:gd name="connsiteY322" fmla="*/ 733425 h 7648575"/>
                <a:gd name="connsiteX323" fmla="*/ 4534919 w 4611119"/>
                <a:gd name="connsiteY323" fmla="*/ 704850 h 7648575"/>
                <a:gd name="connsiteX324" fmla="*/ 4458719 w 4611119"/>
                <a:gd name="connsiteY324" fmla="*/ 676275 h 7648575"/>
                <a:gd name="connsiteX325" fmla="*/ 4430144 w 4611119"/>
                <a:gd name="connsiteY325" fmla="*/ 666750 h 7648575"/>
                <a:gd name="connsiteX326" fmla="*/ 4401569 w 4611119"/>
                <a:gd name="connsiteY326" fmla="*/ 638175 h 7648575"/>
                <a:gd name="connsiteX327" fmla="*/ 4325369 w 4611119"/>
                <a:gd name="connsiteY327" fmla="*/ 647700 h 7648575"/>
                <a:gd name="connsiteX328" fmla="*/ 4258694 w 4611119"/>
                <a:gd name="connsiteY328" fmla="*/ 733425 h 7648575"/>
                <a:gd name="connsiteX329" fmla="*/ 4220594 w 4611119"/>
                <a:gd name="connsiteY329" fmla="*/ 790575 h 7648575"/>
                <a:gd name="connsiteX330" fmla="*/ 4192019 w 4611119"/>
                <a:gd name="connsiteY330" fmla="*/ 828675 h 7648575"/>
                <a:gd name="connsiteX331" fmla="*/ 4220594 w 4611119"/>
                <a:gd name="connsiteY331" fmla="*/ 838200 h 7648575"/>
                <a:gd name="connsiteX332" fmla="*/ 4277744 w 4611119"/>
                <a:gd name="connsiteY332" fmla="*/ 809625 h 7648575"/>
                <a:gd name="connsiteX333" fmla="*/ 4258694 w 4611119"/>
                <a:gd name="connsiteY333" fmla="*/ 771525 h 7648575"/>
                <a:gd name="connsiteX334" fmla="*/ 4201544 w 4611119"/>
                <a:gd name="connsiteY334" fmla="*/ 838200 h 7648575"/>
                <a:gd name="connsiteX335" fmla="*/ 4163444 w 4611119"/>
                <a:gd name="connsiteY335" fmla="*/ 895350 h 7648575"/>
                <a:gd name="connsiteX336" fmla="*/ 4096769 w 4611119"/>
                <a:gd name="connsiteY336" fmla="*/ 866775 h 7648575"/>
                <a:gd name="connsiteX337" fmla="*/ 4077719 w 4611119"/>
                <a:gd name="connsiteY337" fmla="*/ 714375 h 7648575"/>
                <a:gd name="connsiteX338" fmla="*/ 4058669 w 4611119"/>
                <a:gd name="connsiteY338" fmla="*/ 676275 h 7648575"/>
                <a:gd name="connsiteX339" fmla="*/ 4058669 w 4611119"/>
                <a:gd name="connsiteY339" fmla="*/ 409575 h 7648575"/>
                <a:gd name="connsiteX340" fmla="*/ 4077719 w 4611119"/>
                <a:gd name="connsiteY340" fmla="*/ 342900 h 7648575"/>
                <a:gd name="connsiteX341" fmla="*/ 4096769 w 4611119"/>
                <a:gd name="connsiteY341" fmla="*/ 314325 h 7648575"/>
                <a:gd name="connsiteX342" fmla="*/ 4125344 w 4611119"/>
                <a:gd name="connsiteY342" fmla="*/ 152400 h 7648575"/>
                <a:gd name="connsiteX343" fmla="*/ 4144394 w 4611119"/>
                <a:gd name="connsiteY343" fmla="*/ 123825 h 7648575"/>
                <a:gd name="connsiteX344" fmla="*/ 4172969 w 4611119"/>
                <a:gd name="connsiteY344" fmla="*/ 104775 h 7648575"/>
                <a:gd name="connsiteX345" fmla="*/ 4192019 w 4611119"/>
                <a:gd name="connsiteY345" fmla="*/ 76200 h 7648575"/>
                <a:gd name="connsiteX346" fmla="*/ 4125344 w 4611119"/>
                <a:gd name="connsiteY346" fmla="*/ 47625 h 7648575"/>
                <a:gd name="connsiteX347" fmla="*/ 4096769 w 4611119"/>
                <a:gd name="connsiteY347" fmla="*/ 28575 h 7648575"/>
                <a:gd name="connsiteX348" fmla="*/ 4020569 w 4611119"/>
                <a:gd name="connsiteY348" fmla="*/ 9525 h 7648575"/>
                <a:gd name="connsiteX349" fmla="*/ 3982469 w 4611119"/>
                <a:gd name="connsiteY349" fmla="*/ 0 h 7648575"/>
                <a:gd name="connsiteX350" fmla="*/ 2810894 w 4611119"/>
                <a:gd name="connsiteY350" fmla="*/ 19050 h 7648575"/>
                <a:gd name="connsiteX351" fmla="*/ 2782319 w 4611119"/>
                <a:gd name="connsiteY351" fmla="*/ 28575 h 7648575"/>
                <a:gd name="connsiteX352" fmla="*/ 2687069 w 4611119"/>
                <a:gd name="connsiteY352" fmla="*/ 47625 h 7648575"/>
                <a:gd name="connsiteX353" fmla="*/ 2382269 w 4611119"/>
                <a:gd name="connsiteY353" fmla="*/ 76200 h 7648575"/>
                <a:gd name="connsiteX354" fmla="*/ 2306069 w 4611119"/>
                <a:gd name="connsiteY354" fmla="*/ 85725 h 7648575"/>
                <a:gd name="connsiteX355" fmla="*/ 2258444 w 4611119"/>
                <a:gd name="connsiteY355" fmla="*/ 95250 h 7648575"/>
                <a:gd name="connsiteX356" fmla="*/ 2039369 w 4611119"/>
                <a:gd name="connsiteY356" fmla="*/ 104775 h 7648575"/>
                <a:gd name="connsiteX357" fmla="*/ 2001269 w 4611119"/>
                <a:gd name="connsiteY357" fmla="*/ 114300 h 764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</a:cxnLst>
              <a:rect l="l" t="t" r="r" b="b"/>
              <a:pathLst>
                <a:path w="4611119" h="7648575">
                  <a:moveTo>
                    <a:pt x="2001269" y="114300"/>
                  </a:moveTo>
                  <a:cubicBezTo>
                    <a:pt x="1993332" y="123825"/>
                    <a:pt x="1995671" y="146219"/>
                    <a:pt x="1991744" y="161925"/>
                  </a:cubicBezTo>
                  <a:cubicBezTo>
                    <a:pt x="1986138" y="184349"/>
                    <a:pt x="1978650" y="206266"/>
                    <a:pt x="1972694" y="228600"/>
                  </a:cubicBezTo>
                  <a:cubicBezTo>
                    <a:pt x="1965948" y="253898"/>
                    <a:pt x="1959994" y="279400"/>
                    <a:pt x="1953644" y="304800"/>
                  </a:cubicBezTo>
                  <a:cubicBezTo>
                    <a:pt x="1948960" y="323536"/>
                    <a:pt x="1950226" y="343628"/>
                    <a:pt x="1944119" y="361950"/>
                  </a:cubicBezTo>
                  <a:cubicBezTo>
                    <a:pt x="1940499" y="372810"/>
                    <a:pt x="1930189" y="380286"/>
                    <a:pt x="1925069" y="390525"/>
                  </a:cubicBezTo>
                  <a:cubicBezTo>
                    <a:pt x="1920579" y="399505"/>
                    <a:pt x="1918186" y="409414"/>
                    <a:pt x="1915544" y="419100"/>
                  </a:cubicBezTo>
                  <a:cubicBezTo>
                    <a:pt x="1884419" y="533225"/>
                    <a:pt x="1913829" y="460629"/>
                    <a:pt x="1858394" y="571500"/>
                  </a:cubicBezTo>
                  <a:cubicBezTo>
                    <a:pt x="1853904" y="580480"/>
                    <a:pt x="1854438" y="591721"/>
                    <a:pt x="1848869" y="600075"/>
                  </a:cubicBezTo>
                  <a:cubicBezTo>
                    <a:pt x="1841397" y="611283"/>
                    <a:pt x="1829819" y="619125"/>
                    <a:pt x="1820294" y="628650"/>
                  </a:cubicBezTo>
                  <a:cubicBezTo>
                    <a:pt x="1811035" y="656428"/>
                    <a:pt x="1808533" y="668422"/>
                    <a:pt x="1791719" y="695325"/>
                  </a:cubicBezTo>
                  <a:cubicBezTo>
                    <a:pt x="1783305" y="708787"/>
                    <a:pt x="1772248" y="720420"/>
                    <a:pt x="1763144" y="733425"/>
                  </a:cubicBezTo>
                  <a:cubicBezTo>
                    <a:pt x="1750014" y="752182"/>
                    <a:pt x="1737744" y="771525"/>
                    <a:pt x="1725044" y="790575"/>
                  </a:cubicBezTo>
                  <a:cubicBezTo>
                    <a:pt x="1713905" y="807283"/>
                    <a:pt x="1717133" y="831017"/>
                    <a:pt x="1705994" y="847725"/>
                  </a:cubicBezTo>
                  <a:cubicBezTo>
                    <a:pt x="1659088" y="918084"/>
                    <a:pt x="1681631" y="886559"/>
                    <a:pt x="1639319" y="942975"/>
                  </a:cubicBezTo>
                  <a:cubicBezTo>
                    <a:pt x="1636144" y="952500"/>
                    <a:pt x="1633749" y="962322"/>
                    <a:pt x="1629794" y="971550"/>
                  </a:cubicBezTo>
                  <a:cubicBezTo>
                    <a:pt x="1615292" y="1005387"/>
                    <a:pt x="1610826" y="1009527"/>
                    <a:pt x="1591694" y="1038225"/>
                  </a:cubicBezTo>
                  <a:cubicBezTo>
                    <a:pt x="1582005" y="1076980"/>
                    <a:pt x="1584466" y="1078847"/>
                    <a:pt x="1563119" y="1114425"/>
                  </a:cubicBezTo>
                  <a:cubicBezTo>
                    <a:pt x="1551339" y="1134058"/>
                    <a:pt x="1525019" y="1171575"/>
                    <a:pt x="1525019" y="1171575"/>
                  </a:cubicBezTo>
                  <a:cubicBezTo>
                    <a:pt x="1504874" y="1252156"/>
                    <a:pt x="1532317" y="1170153"/>
                    <a:pt x="1486919" y="1238250"/>
                  </a:cubicBezTo>
                  <a:cubicBezTo>
                    <a:pt x="1481350" y="1246604"/>
                    <a:pt x="1482270" y="1258048"/>
                    <a:pt x="1477394" y="1266825"/>
                  </a:cubicBezTo>
                  <a:cubicBezTo>
                    <a:pt x="1466275" y="1286839"/>
                    <a:pt x="1449533" y="1303497"/>
                    <a:pt x="1439294" y="1323975"/>
                  </a:cubicBezTo>
                  <a:cubicBezTo>
                    <a:pt x="1430314" y="1341936"/>
                    <a:pt x="1426594" y="1362075"/>
                    <a:pt x="1420244" y="1381125"/>
                  </a:cubicBezTo>
                  <a:cubicBezTo>
                    <a:pt x="1417069" y="1390650"/>
                    <a:pt x="1417819" y="1402600"/>
                    <a:pt x="1410719" y="1409700"/>
                  </a:cubicBezTo>
                  <a:lnTo>
                    <a:pt x="1382144" y="1438275"/>
                  </a:lnTo>
                  <a:cubicBezTo>
                    <a:pt x="1347406" y="1542488"/>
                    <a:pt x="1402808" y="1384638"/>
                    <a:pt x="1353569" y="1495425"/>
                  </a:cubicBezTo>
                  <a:lnTo>
                    <a:pt x="1324994" y="1581150"/>
                  </a:lnTo>
                  <a:cubicBezTo>
                    <a:pt x="1321374" y="1592010"/>
                    <a:pt x="1312294" y="1600200"/>
                    <a:pt x="1305944" y="1609725"/>
                  </a:cubicBezTo>
                  <a:cubicBezTo>
                    <a:pt x="1302769" y="1622425"/>
                    <a:pt x="1301016" y="1635568"/>
                    <a:pt x="1296419" y="1647825"/>
                  </a:cubicBezTo>
                  <a:cubicBezTo>
                    <a:pt x="1280719" y="1689692"/>
                    <a:pt x="1278417" y="1679328"/>
                    <a:pt x="1258319" y="1714500"/>
                  </a:cubicBezTo>
                  <a:cubicBezTo>
                    <a:pt x="1251274" y="1726828"/>
                    <a:pt x="1244255" y="1739305"/>
                    <a:pt x="1239269" y="1752600"/>
                  </a:cubicBezTo>
                  <a:cubicBezTo>
                    <a:pt x="1234672" y="1764857"/>
                    <a:pt x="1235598" y="1778991"/>
                    <a:pt x="1229744" y="1790700"/>
                  </a:cubicBezTo>
                  <a:cubicBezTo>
                    <a:pt x="1222644" y="1804899"/>
                    <a:pt x="1210694" y="1816100"/>
                    <a:pt x="1201169" y="1828800"/>
                  </a:cubicBezTo>
                  <a:cubicBezTo>
                    <a:pt x="1197994" y="1844675"/>
                    <a:pt x="1198343" y="1861687"/>
                    <a:pt x="1191644" y="1876425"/>
                  </a:cubicBezTo>
                  <a:cubicBezTo>
                    <a:pt x="1182170" y="1897268"/>
                    <a:pt x="1153544" y="1933575"/>
                    <a:pt x="1153544" y="1933575"/>
                  </a:cubicBezTo>
                  <a:cubicBezTo>
                    <a:pt x="1147788" y="1956601"/>
                    <a:pt x="1134907" y="2012261"/>
                    <a:pt x="1124969" y="2028825"/>
                  </a:cubicBezTo>
                  <a:cubicBezTo>
                    <a:pt x="1115444" y="2044700"/>
                    <a:pt x="1104673" y="2059891"/>
                    <a:pt x="1096394" y="2076450"/>
                  </a:cubicBezTo>
                  <a:cubicBezTo>
                    <a:pt x="1088748" y="2091743"/>
                    <a:pt x="1084990" y="2108782"/>
                    <a:pt x="1077344" y="2124075"/>
                  </a:cubicBezTo>
                  <a:cubicBezTo>
                    <a:pt x="1063892" y="2150978"/>
                    <a:pt x="1025768" y="2206202"/>
                    <a:pt x="1010669" y="2228850"/>
                  </a:cubicBezTo>
                  <a:cubicBezTo>
                    <a:pt x="999530" y="2245558"/>
                    <a:pt x="1000599" y="2268039"/>
                    <a:pt x="991619" y="2286000"/>
                  </a:cubicBezTo>
                  <a:cubicBezTo>
                    <a:pt x="977989" y="2313260"/>
                    <a:pt x="970052" y="2324645"/>
                    <a:pt x="963044" y="2352675"/>
                  </a:cubicBezTo>
                  <a:cubicBezTo>
                    <a:pt x="959117" y="2368381"/>
                    <a:pt x="957446" y="2384594"/>
                    <a:pt x="953519" y="2400300"/>
                  </a:cubicBezTo>
                  <a:cubicBezTo>
                    <a:pt x="943299" y="2441181"/>
                    <a:pt x="943117" y="2421542"/>
                    <a:pt x="924944" y="2466975"/>
                  </a:cubicBezTo>
                  <a:cubicBezTo>
                    <a:pt x="917486" y="2485619"/>
                    <a:pt x="910764" y="2504644"/>
                    <a:pt x="905894" y="2524125"/>
                  </a:cubicBezTo>
                  <a:cubicBezTo>
                    <a:pt x="889702" y="2588893"/>
                    <a:pt x="895135" y="2590578"/>
                    <a:pt x="867794" y="2638425"/>
                  </a:cubicBezTo>
                  <a:cubicBezTo>
                    <a:pt x="862114" y="2648364"/>
                    <a:pt x="855094" y="2657475"/>
                    <a:pt x="848744" y="2667000"/>
                  </a:cubicBezTo>
                  <a:cubicBezTo>
                    <a:pt x="845692" y="2679207"/>
                    <a:pt x="836526" y="2720010"/>
                    <a:pt x="829694" y="2733675"/>
                  </a:cubicBezTo>
                  <a:cubicBezTo>
                    <a:pt x="824574" y="2743914"/>
                    <a:pt x="815764" y="2752011"/>
                    <a:pt x="810644" y="2762250"/>
                  </a:cubicBezTo>
                  <a:cubicBezTo>
                    <a:pt x="806154" y="2771230"/>
                    <a:pt x="805609" y="2781845"/>
                    <a:pt x="801119" y="2790825"/>
                  </a:cubicBezTo>
                  <a:cubicBezTo>
                    <a:pt x="795999" y="2801064"/>
                    <a:pt x="786718" y="2808939"/>
                    <a:pt x="782069" y="2819400"/>
                  </a:cubicBezTo>
                  <a:cubicBezTo>
                    <a:pt x="773914" y="2837750"/>
                    <a:pt x="769369" y="2857500"/>
                    <a:pt x="763019" y="2876550"/>
                  </a:cubicBezTo>
                  <a:cubicBezTo>
                    <a:pt x="759844" y="2886075"/>
                    <a:pt x="755145" y="2895221"/>
                    <a:pt x="753494" y="2905125"/>
                  </a:cubicBezTo>
                  <a:cubicBezTo>
                    <a:pt x="750319" y="2924175"/>
                    <a:pt x="750076" y="2943953"/>
                    <a:pt x="743969" y="2962275"/>
                  </a:cubicBezTo>
                  <a:cubicBezTo>
                    <a:pt x="740349" y="2973135"/>
                    <a:pt x="729568" y="2980389"/>
                    <a:pt x="724919" y="2990850"/>
                  </a:cubicBezTo>
                  <a:cubicBezTo>
                    <a:pt x="716764" y="3009200"/>
                    <a:pt x="712219" y="3028950"/>
                    <a:pt x="705869" y="3048000"/>
                  </a:cubicBezTo>
                  <a:lnTo>
                    <a:pt x="696344" y="3076575"/>
                  </a:lnTo>
                  <a:cubicBezTo>
                    <a:pt x="679645" y="3126672"/>
                    <a:pt x="679147" y="3101444"/>
                    <a:pt x="658244" y="3143250"/>
                  </a:cubicBezTo>
                  <a:cubicBezTo>
                    <a:pt x="653754" y="3152230"/>
                    <a:pt x="653209" y="3162845"/>
                    <a:pt x="648719" y="3171825"/>
                  </a:cubicBezTo>
                  <a:cubicBezTo>
                    <a:pt x="643599" y="3182064"/>
                    <a:pt x="634318" y="3189939"/>
                    <a:pt x="629669" y="3200400"/>
                  </a:cubicBezTo>
                  <a:cubicBezTo>
                    <a:pt x="621514" y="3218750"/>
                    <a:pt x="616969" y="3238500"/>
                    <a:pt x="610619" y="3257550"/>
                  </a:cubicBezTo>
                  <a:cubicBezTo>
                    <a:pt x="607444" y="3267075"/>
                    <a:pt x="606663" y="3277771"/>
                    <a:pt x="601094" y="3286125"/>
                  </a:cubicBezTo>
                  <a:cubicBezTo>
                    <a:pt x="594744" y="3295650"/>
                    <a:pt x="587164" y="3304461"/>
                    <a:pt x="582044" y="3314700"/>
                  </a:cubicBezTo>
                  <a:cubicBezTo>
                    <a:pt x="574398" y="3329993"/>
                    <a:pt x="572056" y="3347826"/>
                    <a:pt x="562994" y="3362325"/>
                  </a:cubicBezTo>
                  <a:cubicBezTo>
                    <a:pt x="555855" y="3373748"/>
                    <a:pt x="543944" y="3381375"/>
                    <a:pt x="534419" y="3390900"/>
                  </a:cubicBezTo>
                  <a:cubicBezTo>
                    <a:pt x="511364" y="3460065"/>
                    <a:pt x="544373" y="3371077"/>
                    <a:pt x="496319" y="3457575"/>
                  </a:cubicBezTo>
                  <a:cubicBezTo>
                    <a:pt x="488016" y="3472521"/>
                    <a:pt x="486331" y="3490701"/>
                    <a:pt x="477269" y="3505200"/>
                  </a:cubicBezTo>
                  <a:cubicBezTo>
                    <a:pt x="470130" y="3516623"/>
                    <a:pt x="457318" y="3523427"/>
                    <a:pt x="448694" y="3533775"/>
                  </a:cubicBezTo>
                  <a:cubicBezTo>
                    <a:pt x="441365" y="3542569"/>
                    <a:pt x="435126" y="3552300"/>
                    <a:pt x="429644" y="3562350"/>
                  </a:cubicBezTo>
                  <a:cubicBezTo>
                    <a:pt x="409959" y="3598440"/>
                    <a:pt x="392426" y="3628965"/>
                    <a:pt x="382019" y="3667125"/>
                  </a:cubicBezTo>
                  <a:cubicBezTo>
                    <a:pt x="375130" y="3692384"/>
                    <a:pt x="377492" y="3721540"/>
                    <a:pt x="362969" y="3743325"/>
                  </a:cubicBezTo>
                  <a:cubicBezTo>
                    <a:pt x="356619" y="3752850"/>
                    <a:pt x="348568" y="3761439"/>
                    <a:pt x="343919" y="3771900"/>
                  </a:cubicBezTo>
                  <a:cubicBezTo>
                    <a:pt x="335764" y="3790250"/>
                    <a:pt x="331219" y="3810000"/>
                    <a:pt x="324869" y="3829050"/>
                  </a:cubicBezTo>
                  <a:cubicBezTo>
                    <a:pt x="321694" y="3838575"/>
                    <a:pt x="322444" y="3850525"/>
                    <a:pt x="315344" y="3857625"/>
                  </a:cubicBezTo>
                  <a:cubicBezTo>
                    <a:pt x="305819" y="3867150"/>
                    <a:pt x="295039" y="3875567"/>
                    <a:pt x="286769" y="3886200"/>
                  </a:cubicBezTo>
                  <a:cubicBezTo>
                    <a:pt x="265655" y="3913346"/>
                    <a:pt x="256051" y="3950414"/>
                    <a:pt x="220094" y="3962400"/>
                  </a:cubicBezTo>
                  <a:cubicBezTo>
                    <a:pt x="201772" y="3968507"/>
                    <a:pt x="181994" y="3968750"/>
                    <a:pt x="162944" y="3971925"/>
                  </a:cubicBezTo>
                  <a:lnTo>
                    <a:pt x="105794" y="4029075"/>
                  </a:lnTo>
                  <a:cubicBezTo>
                    <a:pt x="89605" y="4045264"/>
                    <a:pt x="80394" y="4067175"/>
                    <a:pt x="67694" y="4086225"/>
                  </a:cubicBezTo>
                  <a:cubicBezTo>
                    <a:pt x="61344" y="4095750"/>
                    <a:pt x="52264" y="4103940"/>
                    <a:pt x="48644" y="4114800"/>
                  </a:cubicBezTo>
                  <a:cubicBezTo>
                    <a:pt x="45469" y="4124325"/>
                    <a:pt x="44688" y="4135021"/>
                    <a:pt x="39119" y="4143375"/>
                  </a:cubicBezTo>
                  <a:cubicBezTo>
                    <a:pt x="31647" y="4154583"/>
                    <a:pt x="20069" y="4162425"/>
                    <a:pt x="10544" y="4171950"/>
                  </a:cubicBezTo>
                  <a:cubicBezTo>
                    <a:pt x="-6320" y="4239406"/>
                    <a:pt x="-2820" y="4202300"/>
                    <a:pt x="20069" y="4305300"/>
                  </a:cubicBezTo>
                  <a:cubicBezTo>
                    <a:pt x="25749" y="4330858"/>
                    <a:pt x="32769" y="4356100"/>
                    <a:pt x="39119" y="4381500"/>
                  </a:cubicBezTo>
                  <a:cubicBezTo>
                    <a:pt x="41554" y="4391240"/>
                    <a:pt x="44154" y="4401095"/>
                    <a:pt x="48644" y="4410075"/>
                  </a:cubicBezTo>
                  <a:cubicBezTo>
                    <a:pt x="57927" y="4428640"/>
                    <a:pt x="79885" y="4455522"/>
                    <a:pt x="96269" y="4467225"/>
                  </a:cubicBezTo>
                  <a:cubicBezTo>
                    <a:pt x="107823" y="4475478"/>
                    <a:pt x="120899" y="4481785"/>
                    <a:pt x="134369" y="4486275"/>
                  </a:cubicBezTo>
                  <a:cubicBezTo>
                    <a:pt x="149728" y="4491395"/>
                    <a:pt x="166119" y="4492625"/>
                    <a:pt x="181994" y="4495800"/>
                  </a:cubicBezTo>
                  <a:cubicBezTo>
                    <a:pt x="191519" y="4502150"/>
                    <a:pt x="200330" y="4509730"/>
                    <a:pt x="210569" y="4514850"/>
                  </a:cubicBezTo>
                  <a:cubicBezTo>
                    <a:pt x="225862" y="4522496"/>
                    <a:pt x="244516" y="4523641"/>
                    <a:pt x="258194" y="4533900"/>
                  </a:cubicBezTo>
                  <a:cubicBezTo>
                    <a:pt x="270894" y="4543425"/>
                    <a:pt x="276438" y="4559947"/>
                    <a:pt x="286769" y="4572000"/>
                  </a:cubicBezTo>
                  <a:cubicBezTo>
                    <a:pt x="295535" y="4582227"/>
                    <a:pt x="305819" y="4591050"/>
                    <a:pt x="315344" y="4600575"/>
                  </a:cubicBezTo>
                  <a:cubicBezTo>
                    <a:pt x="321694" y="4616450"/>
                    <a:pt x="325332" y="4633701"/>
                    <a:pt x="334394" y="4648200"/>
                  </a:cubicBezTo>
                  <a:cubicBezTo>
                    <a:pt x="385358" y="4729742"/>
                    <a:pt x="347313" y="4629808"/>
                    <a:pt x="372494" y="4705350"/>
                  </a:cubicBezTo>
                  <a:cubicBezTo>
                    <a:pt x="375669" y="4746625"/>
                    <a:pt x="376884" y="4788098"/>
                    <a:pt x="382019" y="4829175"/>
                  </a:cubicBezTo>
                  <a:cubicBezTo>
                    <a:pt x="383264" y="4839138"/>
                    <a:pt x="386563" y="4849033"/>
                    <a:pt x="391544" y="4857750"/>
                  </a:cubicBezTo>
                  <a:cubicBezTo>
                    <a:pt x="399420" y="4871533"/>
                    <a:pt x="410594" y="4883150"/>
                    <a:pt x="420119" y="4895850"/>
                  </a:cubicBezTo>
                  <a:cubicBezTo>
                    <a:pt x="438163" y="4949983"/>
                    <a:pt x="422544" y="4917325"/>
                    <a:pt x="486794" y="4981575"/>
                  </a:cubicBezTo>
                  <a:cubicBezTo>
                    <a:pt x="575694" y="5070475"/>
                    <a:pt x="451869" y="4972050"/>
                    <a:pt x="553469" y="5048250"/>
                  </a:cubicBezTo>
                  <a:cubicBezTo>
                    <a:pt x="556644" y="5060950"/>
                    <a:pt x="556499" y="5074984"/>
                    <a:pt x="562994" y="5086350"/>
                  </a:cubicBezTo>
                  <a:cubicBezTo>
                    <a:pt x="569677" y="5098046"/>
                    <a:pt x="586098" y="5102616"/>
                    <a:pt x="591569" y="5114925"/>
                  </a:cubicBezTo>
                  <a:cubicBezTo>
                    <a:pt x="599413" y="5132573"/>
                    <a:pt x="595545" y="5153577"/>
                    <a:pt x="601094" y="5172075"/>
                  </a:cubicBezTo>
                  <a:cubicBezTo>
                    <a:pt x="605174" y="5185675"/>
                    <a:pt x="613794" y="5197475"/>
                    <a:pt x="620144" y="5210175"/>
                  </a:cubicBezTo>
                  <a:cubicBezTo>
                    <a:pt x="623319" y="5229225"/>
                    <a:pt x="619938" y="5250643"/>
                    <a:pt x="629669" y="5267325"/>
                  </a:cubicBezTo>
                  <a:cubicBezTo>
                    <a:pt x="643244" y="5290596"/>
                    <a:pt x="686819" y="5324475"/>
                    <a:pt x="686819" y="5324475"/>
                  </a:cubicBezTo>
                  <a:cubicBezTo>
                    <a:pt x="710760" y="5396299"/>
                    <a:pt x="678465" y="5307767"/>
                    <a:pt x="715394" y="5381625"/>
                  </a:cubicBezTo>
                  <a:cubicBezTo>
                    <a:pt x="723007" y="5396850"/>
                    <a:pt x="730375" y="5434058"/>
                    <a:pt x="734444" y="5448300"/>
                  </a:cubicBezTo>
                  <a:cubicBezTo>
                    <a:pt x="737202" y="5457954"/>
                    <a:pt x="739479" y="5467895"/>
                    <a:pt x="743969" y="5476875"/>
                  </a:cubicBezTo>
                  <a:cubicBezTo>
                    <a:pt x="749089" y="5487114"/>
                    <a:pt x="756669" y="5495925"/>
                    <a:pt x="763019" y="5505450"/>
                  </a:cubicBezTo>
                  <a:cubicBezTo>
                    <a:pt x="748850" y="5547958"/>
                    <a:pt x="750759" y="5526479"/>
                    <a:pt x="763019" y="5581650"/>
                  </a:cubicBezTo>
                  <a:cubicBezTo>
                    <a:pt x="776149" y="5640735"/>
                    <a:pt x="773810" y="5622283"/>
                    <a:pt x="810644" y="5695950"/>
                  </a:cubicBezTo>
                  <a:cubicBezTo>
                    <a:pt x="816668" y="5707998"/>
                    <a:pt x="829694" y="5715000"/>
                    <a:pt x="839219" y="5724525"/>
                  </a:cubicBezTo>
                  <a:cubicBezTo>
                    <a:pt x="842237" y="5751687"/>
                    <a:pt x="842312" y="5806910"/>
                    <a:pt x="858269" y="5838825"/>
                  </a:cubicBezTo>
                  <a:cubicBezTo>
                    <a:pt x="863389" y="5849064"/>
                    <a:pt x="869990" y="5858606"/>
                    <a:pt x="877319" y="5867400"/>
                  </a:cubicBezTo>
                  <a:cubicBezTo>
                    <a:pt x="885943" y="5877748"/>
                    <a:pt x="897624" y="5885342"/>
                    <a:pt x="905894" y="5895975"/>
                  </a:cubicBezTo>
                  <a:cubicBezTo>
                    <a:pt x="965731" y="5972908"/>
                    <a:pt x="917251" y="5935296"/>
                    <a:pt x="972569" y="5972175"/>
                  </a:cubicBezTo>
                  <a:cubicBezTo>
                    <a:pt x="978919" y="5981700"/>
                    <a:pt x="982825" y="5993421"/>
                    <a:pt x="991619" y="6000750"/>
                  </a:cubicBezTo>
                  <a:cubicBezTo>
                    <a:pt x="1002527" y="6009840"/>
                    <a:pt x="1026275" y="6006025"/>
                    <a:pt x="1029719" y="6019800"/>
                  </a:cubicBezTo>
                  <a:cubicBezTo>
                    <a:pt x="1034589" y="6039281"/>
                    <a:pt x="1017019" y="6057900"/>
                    <a:pt x="1010669" y="6076950"/>
                  </a:cubicBezTo>
                  <a:cubicBezTo>
                    <a:pt x="1004565" y="6095261"/>
                    <a:pt x="1000792" y="6125279"/>
                    <a:pt x="991619" y="6143625"/>
                  </a:cubicBezTo>
                  <a:cubicBezTo>
                    <a:pt x="986499" y="6153864"/>
                    <a:pt x="978919" y="6162675"/>
                    <a:pt x="972569" y="6172200"/>
                  </a:cubicBezTo>
                  <a:cubicBezTo>
                    <a:pt x="975744" y="6210300"/>
                    <a:pt x="977627" y="6248530"/>
                    <a:pt x="982094" y="6286500"/>
                  </a:cubicBezTo>
                  <a:cubicBezTo>
                    <a:pt x="986990" y="6328113"/>
                    <a:pt x="997126" y="6350646"/>
                    <a:pt x="1010669" y="6391275"/>
                  </a:cubicBezTo>
                  <a:lnTo>
                    <a:pt x="1029719" y="6448425"/>
                  </a:lnTo>
                  <a:lnTo>
                    <a:pt x="1048769" y="6505575"/>
                  </a:lnTo>
                  <a:cubicBezTo>
                    <a:pt x="1054176" y="6521795"/>
                    <a:pt x="1058757" y="6538701"/>
                    <a:pt x="1067819" y="6553200"/>
                  </a:cubicBezTo>
                  <a:cubicBezTo>
                    <a:pt x="1074958" y="6564623"/>
                    <a:pt x="1086869" y="6572250"/>
                    <a:pt x="1096394" y="6581775"/>
                  </a:cubicBezTo>
                  <a:cubicBezTo>
                    <a:pt x="1118907" y="6671828"/>
                    <a:pt x="1085440" y="6591121"/>
                    <a:pt x="1239269" y="6610350"/>
                  </a:cubicBezTo>
                  <a:cubicBezTo>
                    <a:pt x="1250628" y="6611770"/>
                    <a:pt x="1253670" y="6628464"/>
                    <a:pt x="1258319" y="6638925"/>
                  </a:cubicBezTo>
                  <a:cubicBezTo>
                    <a:pt x="1310899" y="6757231"/>
                    <a:pt x="1236255" y="6634404"/>
                    <a:pt x="1315469" y="6753225"/>
                  </a:cubicBezTo>
                  <a:cubicBezTo>
                    <a:pt x="1321819" y="6762750"/>
                    <a:pt x="1334105" y="6766595"/>
                    <a:pt x="1344044" y="6772275"/>
                  </a:cubicBezTo>
                  <a:cubicBezTo>
                    <a:pt x="1395280" y="6801553"/>
                    <a:pt x="1385648" y="6791763"/>
                    <a:pt x="1458344" y="6800850"/>
                  </a:cubicBezTo>
                  <a:cubicBezTo>
                    <a:pt x="1471044" y="6813550"/>
                    <a:pt x="1480380" y="6830918"/>
                    <a:pt x="1496444" y="6838950"/>
                  </a:cubicBezTo>
                  <a:cubicBezTo>
                    <a:pt x="1519862" y="6850659"/>
                    <a:pt x="1547244" y="6851650"/>
                    <a:pt x="1572644" y="6858000"/>
                  </a:cubicBezTo>
                  <a:cubicBezTo>
                    <a:pt x="1582384" y="6860435"/>
                    <a:pt x="1591479" y="6865090"/>
                    <a:pt x="1601219" y="6867525"/>
                  </a:cubicBezTo>
                  <a:cubicBezTo>
                    <a:pt x="1616925" y="6871452"/>
                    <a:pt x="1632969" y="6873875"/>
                    <a:pt x="1648844" y="6877050"/>
                  </a:cubicBezTo>
                  <a:cubicBezTo>
                    <a:pt x="1658369" y="6883400"/>
                    <a:pt x="1667480" y="6890420"/>
                    <a:pt x="1677419" y="6896100"/>
                  </a:cubicBezTo>
                  <a:cubicBezTo>
                    <a:pt x="1704969" y="6911843"/>
                    <a:pt x="1733454" y="6923066"/>
                    <a:pt x="1763144" y="6934200"/>
                  </a:cubicBezTo>
                  <a:cubicBezTo>
                    <a:pt x="1772545" y="6937725"/>
                    <a:pt x="1782194" y="6940550"/>
                    <a:pt x="1791719" y="6943725"/>
                  </a:cubicBezTo>
                  <a:cubicBezTo>
                    <a:pt x="1794894" y="6953250"/>
                    <a:pt x="1804973" y="6962978"/>
                    <a:pt x="1801244" y="6972300"/>
                  </a:cubicBezTo>
                  <a:cubicBezTo>
                    <a:pt x="1795563" y="6986503"/>
                    <a:pt x="1756123" y="6996865"/>
                    <a:pt x="1744094" y="7000875"/>
                  </a:cubicBezTo>
                  <a:cubicBezTo>
                    <a:pt x="1737744" y="7010400"/>
                    <a:pt x="1726464" y="7018091"/>
                    <a:pt x="1725044" y="7029450"/>
                  </a:cubicBezTo>
                  <a:cubicBezTo>
                    <a:pt x="1723036" y="7045514"/>
                    <a:pt x="1731057" y="7061271"/>
                    <a:pt x="1734569" y="7077075"/>
                  </a:cubicBezTo>
                  <a:cubicBezTo>
                    <a:pt x="1737010" y="7088062"/>
                    <a:pt x="1747255" y="7131022"/>
                    <a:pt x="1753619" y="7143750"/>
                  </a:cubicBezTo>
                  <a:cubicBezTo>
                    <a:pt x="1758739" y="7153989"/>
                    <a:pt x="1763730" y="7165174"/>
                    <a:pt x="1772669" y="7172325"/>
                  </a:cubicBezTo>
                  <a:cubicBezTo>
                    <a:pt x="1780509" y="7178597"/>
                    <a:pt x="1791719" y="7178675"/>
                    <a:pt x="1801244" y="7181850"/>
                  </a:cubicBezTo>
                  <a:cubicBezTo>
                    <a:pt x="1875800" y="7166939"/>
                    <a:pt x="1891305" y="7159530"/>
                    <a:pt x="1991744" y="7181850"/>
                  </a:cubicBezTo>
                  <a:cubicBezTo>
                    <a:pt x="2004894" y="7184772"/>
                    <a:pt x="2010794" y="7200900"/>
                    <a:pt x="2020319" y="7210425"/>
                  </a:cubicBezTo>
                  <a:cubicBezTo>
                    <a:pt x="2023494" y="7232650"/>
                    <a:pt x="2023393" y="7255596"/>
                    <a:pt x="2029844" y="7277100"/>
                  </a:cubicBezTo>
                  <a:cubicBezTo>
                    <a:pt x="2033133" y="7288065"/>
                    <a:pt x="2045274" y="7294815"/>
                    <a:pt x="2048894" y="7305675"/>
                  </a:cubicBezTo>
                  <a:cubicBezTo>
                    <a:pt x="2078243" y="7393721"/>
                    <a:pt x="2032481" y="7336887"/>
                    <a:pt x="2086994" y="7391400"/>
                  </a:cubicBezTo>
                  <a:cubicBezTo>
                    <a:pt x="2090169" y="7404100"/>
                    <a:pt x="2084364" y="7424638"/>
                    <a:pt x="2096519" y="7429500"/>
                  </a:cubicBezTo>
                  <a:cubicBezTo>
                    <a:pt x="2109702" y="7434773"/>
                    <a:pt x="2121149" y="7414940"/>
                    <a:pt x="2134619" y="7410450"/>
                  </a:cubicBezTo>
                  <a:cubicBezTo>
                    <a:pt x="2242401" y="7374523"/>
                    <a:pt x="2175329" y="7404543"/>
                    <a:pt x="2258444" y="7381875"/>
                  </a:cubicBezTo>
                  <a:cubicBezTo>
                    <a:pt x="2277817" y="7376591"/>
                    <a:pt x="2296544" y="7369175"/>
                    <a:pt x="2315594" y="7362825"/>
                  </a:cubicBezTo>
                  <a:lnTo>
                    <a:pt x="2677544" y="7372350"/>
                  </a:lnTo>
                  <a:cubicBezTo>
                    <a:pt x="2794430" y="7377121"/>
                    <a:pt x="2751650" y="7379691"/>
                    <a:pt x="2839469" y="7391400"/>
                  </a:cubicBezTo>
                  <a:cubicBezTo>
                    <a:pt x="2867968" y="7395200"/>
                    <a:pt x="2896619" y="7397750"/>
                    <a:pt x="2925194" y="7400925"/>
                  </a:cubicBezTo>
                  <a:cubicBezTo>
                    <a:pt x="2937894" y="7404100"/>
                    <a:pt x="2950515" y="7407610"/>
                    <a:pt x="2963294" y="7410450"/>
                  </a:cubicBezTo>
                  <a:cubicBezTo>
                    <a:pt x="3000533" y="7418725"/>
                    <a:pt x="3039824" y="7425524"/>
                    <a:pt x="3077594" y="7429500"/>
                  </a:cubicBezTo>
                  <a:cubicBezTo>
                    <a:pt x="3115616" y="7433502"/>
                    <a:pt x="3153794" y="7435850"/>
                    <a:pt x="3191894" y="7439025"/>
                  </a:cubicBezTo>
                  <a:cubicBezTo>
                    <a:pt x="3286810" y="7470664"/>
                    <a:pt x="3221193" y="7453639"/>
                    <a:pt x="3353819" y="7467600"/>
                  </a:cubicBezTo>
                  <a:cubicBezTo>
                    <a:pt x="3379276" y="7470280"/>
                    <a:pt x="3404562" y="7474445"/>
                    <a:pt x="3430019" y="7477125"/>
                  </a:cubicBezTo>
                  <a:cubicBezTo>
                    <a:pt x="3464895" y="7480796"/>
                    <a:pt x="3499869" y="7483475"/>
                    <a:pt x="3534794" y="7486650"/>
                  </a:cubicBezTo>
                  <a:cubicBezTo>
                    <a:pt x="3594148" y="7506435"/>
                    <a:pt x="3618230" y="7517087"/>
                    <a:pt x="3687194" y="7524750"/>
                  </a:cubicBezTo>
                  <a:cubicBezTo>
                    <a:pt x="3715769" y="7527925"/>
                    <a:pt x="3744457" y="7530209"/>
                    <a:pt x="3772919" y="7534275"/>
                  </a:cubicBezTo>
                  <a:cubicBezTo>
                    <a:pt x="3833378" y="7542912"/>
                    <a:pt x="3893569" y="7553325"/>
                    <a:pt x="3953894" y="7562850"/>
                  </a:cubicBezTo>
                  <a:cubicBezTo>
                    <a:pt x="3979178" y="7566842"/>
                    <a:pt x="4004672" y="7569384"/>
                    <a:pt x="4030094" y="7572375"/>
                  </a:cubicBezTo>
                  <a:cubicBezTo>
                    <a:pt x="4058648" y="7575734"/>
                    <a:pt x="4087459" y="7577173"/>
                    <a:pt x="4115819" y="7581900"/>
                  </a:cubicBezTo>
                  <a:cubicBezTo>
                    <a:pt x="4144693" y="7586712"/>
                    <a:pt x="4172670" y="7596138"/>
                    <a:pt x="4201544" y="7600950"/>
                  </a:cubicBezTo>
                  <a:cubicBezTo>
                    <a:pt x="4265157" y="7611552"/>
                    <a:pt x="4387279" y="7616726"/>
                    <a:pt x="4439669" y="7620000"/>
                  </a:cubicBezTo>
                  <a:cubicBezTo>
                    <a:pt x="4449194" y="7623175"/>
                    <a:pt x="4458504" y="7627090"/>
                    <a:pt x="4468244" y="7629525"/>
                  </a:cubicBezTo>
                  <a:lnTo>
                    <a:pt x="4544444" y="7648575"/>
                  </a:lnTo>
                  <a:cubicBezTo>
                    <a:pt x="4563494" y="7645400"/>
                    <a:pt x="4584826" y="7648632"/>
                    <a:pt x="4601594" y="7639050"/>
                  </a:cubicBezTo>
                  <a:cubicBezTo>
                    <a:pt x="4610311" y="7634069"/>
                    <a:pt x="4611119" y="7620515"/>
                    <a:pt x="4611119" y="7610475"/>
                  </a:cubicBezTo>
                  <a:cubicBezTo>
                    <a:pt x="4611119" y="7572099"/>
                    <a:pt x="4597688" y="7568469"/>
                    <a:pt x="4573019" y="7543800"/>
                  </a:cubicBezTo>
                  <a:cubicBezTo>
                    <a:pt x="4549078" y="7471976"/>
                    <a:pt x="4581373" y="7560508"/>
                    <a:pt x="4544444" y="7486650"/>
                  </a:cubicBezTo>
                  <a:cubicBezTo>
                    <a:pt x="4539954" y="7477670"/>
                    <a:pt x="4539409" y="7467055"/>
                    <a:pt x="4534919" y="7458075"/>
                  </a:cubicBezTo>
                  <a:cubicBezTo>
                    <a:pt x="4526640" y="7441516"/>
                    <a:pt x="4514623" y="7427009"/>
                    <a:pt x="4506344" y="7410450"/>
                  </a:cubicBezTo>
                  <a:cubicBezTo>
                    <a:pt x="4459741" y="7317244"/>
                    <a:pt x="4512379" y="7400453"/>
                    <a:pt x="4468244" y="7334250"/>
                  </a:cubicBezTo>
                  <a:cubicBezTo>
                    <a:pt x="4465069" y="7321550"/>
                    <a:pt x="4466897" y="7306372"/>
                    <a:pt x="4458719" y="7296150"/>
                  </a:cubicBezTo>
                  <a:cubicBezTo>
                    <a:pt x="4452447" y="7288310"/>
                    <a:pt x="4430144" y="7296665"/>
                    <a:pt x="4430144" y="7286625"/>
                  </a:cubicBezTo>
                  <a:cubicBezTo>
                    <a:pt x="4430144" y="7274315"/>
                    <a:pt x="4480248" y="7260399"/>
                    <a:pt x="4487294" y="7258050"/>
                  </a:cubicBezTo>
                  <a:cubicBezTo>
                    <a:pt x="4526617" y="7218727"/>
                    <a:pt x="4537808" y="7222411"/>
                    <a:pt x="4506344" y="7143750"/>
                  </a:cubicBezTo>
                  <a:cubicBezTo>
                    <a:pt x="4502615" y="7134428"/>
                    <a:pt x="4487294" y="7137400"/>
                    <a:pt x="4477769" y="7134225"/>
                  </a:cubicBezTo>
                  <a:cubicBezTo>
                    <a:pt x="4471419" y="7124700"/>
                    <a:pt x="4466814" y="7113745"/>
                    <a:pt x="4458719" y="7105650"/>
                  </a:cubicBezTo>
                  <a:cubicBezTo>
                    <a:pt x="4447494" y="7094425"/>
                    <a:pt x="4434402" y="7084951"/>
                    <a:pt x="4420619" y="7077075"/>
                  </a:cubicBezTo>
                  <a:cubicBezTo>
                    <a:pt x="4398453" y="7064409"/>
                    <a:pt x="4340027" y="7060119"/>
                    <a:pt x="4325369" y="7058025"/>
                  </a:cubicBezTo>
                  <a:cubicBezTo>
                    <a:pt x="4315844" y="7054850"/>
                    <a:pt x="4305571" y="7053376"/>
                    <a:pt x="4296794" y="7048500"/>
                  </a:cubicBezTo>
                  <a:cubicBezTo>
                    <a:pt x="4276780" y="7037381"/>
                    <a:pt x="4261364" y="7017640"/>
                    <a:pt x="4239644" y="7010400"/>
                  </a:cubicBezTo>
                  <a:cubicBezTo>
                    <a:pt x="4186785" y="6992780"/>
                    <a:pt x="4221032" y="7002120"/>
                    <a:pt x="4134869" y="6991350"/>
                  </a:cubicBezTo>
                  <a:cubicBezTo>
                    <a:pt x="4125344" y="6988175"/>
                    <a:pt x="4115948" y="6984583"/>
                    <a:pt x="4106294" y="6981825"/>
                  </a:cubicBezTo>
                  <a:cubicBezTo>
                    <a:pt x="4093707" y="6978229"/>
                    <a:pt x="4080733" y="6976062"/>
                    <a:pt x="4068194" y="6972300"/>
                  </a:cubicBezTo>
                  <a:cubicBezTo>
                    <a:pt x="4048960" y="6966530"/>
                    <a:pt x="4011044" y="6953250"/>
                    <a:pt x="4011044" y="6953250"/>
                  </a:cubicBezTo>
                  <a:cubicBezTo>
                    <a:pt x="4007869" y="6943725"/>
                    <a:pt x="4004277" y="6934329"/>
                    <a:pt x="4001519" y="6924675"/>
                  </a:cubicBezTo>
                  <a:cubicBezTo>
                    <a:pt x="3997923" y="6912088"/>
                    <a:pt x="3999256" y="6897467"/>
                    <a:pt x="3991994" y="6886575"/>
                  </a:cubicBezTo>
                  <a:cubicBezTo>
                    <a:pt x="3981443" y="6870748"/>
                    <a:pt x="3951144" y="6863433"/>
                    <a:pt x="3934844" y="6858000"/>
                  </a:cubicBezTo>
                  <a:cubicBezTo>
                    <a:pt x="3931669" y="6848475"/>
                    <a:pt x="3925319" y="6839465"/>
                    <a:pt x="3925319" y="6829425"/>
                  </a:cubicBezTo>
                  <a:cubicBezTo>
                    <a:pt x="3925319" y="6810572"/>
                    <a:pt x="3947443" y="6756299"/>
                    <a:pt x="3925319" y="6734175"/>
                  </a:cubicBezTo>
                  <a:cubicBezTo>
                    <a:pt x="3916062" y="6724918"/>
                    <a:pt x="3899919" y="6727825"/>
                    <a:pt x="3887219" y="6724650"/>
                  </a:cubicBezTo>
                  <a:cubicBezTo>
                    <a:pt x="3865777" y="6660324"/>
                    <a:pt x="3890520" y="6739505"/>
                    <a:pt x="3868169" y="6638925"/>
                  </a:cubicBezTo>
                  <a:cubicBezTo>
                    <a:pt x="3865991" y="6629124"/>
                    <a:pt x="3861819" y="6619875"/>
                    <a:pt x="3858644" y="6610350"/>
                  </a:cubicBezTo>
                  <a:cubicBezTo>
                    <a:pt x="3868169" y="6604000"/>
                    <a:pt x="3875927" y="6593182"/>
                    <a:pt x="3887219" y="6591300"/>
                  </a:cubicBezTo>
                  <a:cubicBezTo>
                    <a:pt x="3902993" y="6588671"/>
                    <a:pt x="3934418" y="6613241"/>
                    <a:pt x="3944369" y="6619875"/>
                  </a:cubicBezTo>
                  <a:cubicBezTo>
                    <a:pt x="3950719" y="6629400"/>
                    <a:pt x="3955324" y="6640355"/>
                    <a:pt x="3963419" y="6648450"/>
                  </a:cubicBezTo>
                  <a:cubicBezTo>
                    <a:pt x="3981883" y="6666914"/>
                    <a:pt x="3997328" y="6669278"/>
                    <a:pt x="4020569" y="6677025"/>
                  </a:cubicBezTo>
                  <a:cubicBezTo>
                    <a:pt x="4030094" y="6683375"/>
                    <a:pt x="4037852" y="6694193"/>
                    <a:pt x="4049144" y="6696075"/>
                  </a:cubicBezTo>
                  <a:cubicBezTo>
                    <a:pt x="4084313" y="6701937"/>
                    <a:pt x="4077475" y="6677513"/>
                    <a:pt x="4087244" y="6657975"/>
                  </a:cubicBezTo>
                  <a:cubicBezTo>
                    <a:pt x="4132232" y="6568000"/>
                    <a:pt x="4103865" y="6646212"/>
                    <a:pt x="4125344" y="6581775"/>
                  </a:cubicBezTo>
                  <a:cubicBezTo>
                    <a:pt x="4108208" y="6530367"/>
                    <a:pt x="4129213" y="6570931"/>
                    <a:pt x="4077719" y="6534150"/>
                  </a:cubicBezTo>
                  <a:cubicBezTo>
                    <a:pt x="4066758" y="6526320"/>
                    <a:pt x="4059492" y="6514199"/>
                    <a:pt x="4049144" y="6505575"/>
                  </a:cubicBezTo>
                  <a:cubicBezTo>
                    <a:pt x="4040350" y="6498246"/>
                    <a:pt x="4030094" y="6492875"/>
                    <a:pt x="4020569" y="6486525"/>
                  </a:cubicBezTo>
                  <a:cubicBezTo>
                    <a:pt x="4010691" y="6447013"/>
                    <a:pt x="4005347" y="6417359"/>
                    <a:pt x="3991994" y="6381750"/>
                  </a:cubicBezTo>
                  <a:cubicBezTo>
                    <a:pt x="3985991" y="6365741"/>
                    <a:pt x="3978787" y="6350193"/>
                    <a:pt x="3972944" y="6334125"/>
                  </a:cubicBezTo>
                  <a:cubicBezTo>
                    <a:pt x="3966082" y="6315254"/>
                    <a:pt x="3960244" y="6296025"/>
                    <a:pt x="3953894" y="6276975"/>
                  </a:cubicBezTo>
                  <a:lnTo>
                    <a:pt x="3944369" y="6248400"/>
                  </a:lnTo>
                  <a:cubicBezTo>
                    <a:pt x="3941194" y="6216650"/>
                    <a:pt x="3939696" y="6184687"/>
                    <a:pt x="3934844" y="6153150"/>
                  </a:cubicBezTo>
                  <a:cubicBezTo>
                    <a:pt x="3933317" y="6143227"/>
                    <a:pt x="3927754" y="6134315"/>
                    <a:pt x="3925319" y="6124575"/>
                  </a:cubicBezTo>
                  <a:cubicBezTo>
                    <a:pt x="3921392" y="6108869"/>
                    <a:pt x="3918969" y="6092825"/>
                    <a:pt x="3915794" y="6076950"/>
                  </a:cubicBezTo>
                  <a:cubicBezTo>
                    <a:pt x="3918969" y="6029325"/>
                    <a:pt x="3920322" y="5981543"/>
                    <a:pt x="3925319" y="5934075"/>
                  </a:cubicBezTo>
                  <a:cubicBezTo>
                    <a:pt x="3926689" y="5921056"/>
                    <a:pt x="3927337" y="5906699"/>
                    <a:pt x="3934844" y="5895975"/>
                  </a:cubicBezTo>
                  <a:cubicBezTo>
                    <a:pt x="3950294" y="5873904"/>
                    <a:pt x="3972944" y="5857875"/>
                    <a:pt x="3991994" y="5838825"/>
                  </a:cubicBezTo>
                  <a:lnTo>
                    <a:pt x="4020569" y="5810250"/>
                  </a:lnTo>
                  <a:cubicBezTo>
                    <a:pt x="4072284" y="5655104"/>
                    <a:pt x="3998777" y="5890633"/>
                    <a:pt x="4049144" y="5638800"/>
                  </a:cubicBezTo>
                  <a:cubicBezTo>
                    <a:pt x="4055643" y="5606306"/>
                    <a:pt x="4083292" y="5605551"/>
                    <a:pt x="4106294" y="5591175"/>
                  </a:cubicBezTo>
                  <a:cubicBezTo>
                    <a:pt x="4146801" y="5565858"/>
                    <a:pt x="4140456" y="5568506"/>
                    <a:pt x="4163444" y="5534025"/>
                  </a:cubicBezTo>
                  <a:cubicBezTo>
                    <a:pt x="4142600" y="5471494"/>
                    <a:pt x="4173020" y="5535965"/>
                    <a:pt x="4115819" y="5495925"/>
                  </a:cubicBezTo>
                  <a:cubicBezTo>
                    <a:pt x="4093748" y="5480475"/>
                    <a:pt x="4058669" y="5438775"/>
                    <a:pt x="4058669" y="5438775"/>
                  </a:cubicBezTo>
                  <a:cubicBezTo>
                    <a:pt x="4055494" y="5429250"/>
                    <a:pt x="4049144" y="5420240"/>
                    <a:pt x="4049144" y="5410200"/>
                  </a:cubicBezTo>
                  <a:cubicBezTo>
                    <a:pt x="4049144" y="5278233"/>
                    <a:pt x="4044576" y="5300080"/>
                    <a:pt x="4068194" y="5229225"/>
                  </a:cubicBezTo>
                  <a:cubicBezTo>
                    <a:pt x="4058430" y="5160877"/>
                    <a:pt x="4067590" y="5174798"/>
                    <a:pt x="4039619" y="5124450"/>
                  </a:cubicBezTo>
                  <a:cubicBezTo>
                    <a:pt x="4030628" y="5108266"/>
                    <a:pt x="4024135" y="5089916"/>
                    <a:pt x="4011044" y="5076825"/>
                  </a:cubicBezTo>
                  <a:cubicBezTo>
                    <a:pt x="4003944" y="5069725"/>
                    <a:pt x="3991994" y="5070475"/>
                    <a:pt x="3982469" y="5067300"/>
                  </a:cubicBezTo>
                  <a:cubicBezTo>
                    <a:pt x="3936493" y="4998336"/>
                    <a:pt x="3923891" y="5020389"/>
                    <a:pt x="3982469" y="4991100"/>
                  </a:cubicBezTo>
                  <a:cubicBezTo>
                    <a:pt x="3976749" y="4968221"/>
                    <a:pt x="3974450" y="4940870"/>
                    <a:pt x="3953894" y="4924425"/>
                  </a:cubicBezTo>
                  <a:cubicBezTo>
                    <a:pt x="3946054" y="4918153"/>
                    <a:pt x="3934844" y="4918075"/>
                    <a:pt x="3925319" y="4914900"/>
                  </a:cubicBezTo>
                  <a:cubicBezTo>
                    <a:pt x="3915794" y="4905375"/>
                    <a:pt x="3901747" y="4898832"/>
                    <a:pt x="3896744" y="4886325"/>
                  </a:cubicBezTo>
                  <a:cubicBezTo>
                    <a:pt x="3864630" y="4806039"/>
                    <a:pt x="3869992" y="4765736"/>
                    <a:pt x="3858644" y="4686300"/>
                  </a:cubicBezTo>
                  <a:cubicBezTo>
                    <a:pt x="3856354" y="4670273"/>
                    <a:pt x="3852294" y="4654550"/>
                    <a:pt x="3849119" y="4638675"/>
                  </a:cubicBezTo>
                  <a:cubicBezTo>
                    <a:pt x="3852294" y="4619625"/>
                    <a:pt x="3850800" y="4599173"/>
                    <a:pt x="3858644" y="4581525"/>
                  </a:cubicBezTo>
                  <a:cubicBezTo>
                    <a:pt x="3864115" y="4569216"/>
                    <a:pt x="3879389" y="4563911"/>
                    <a:pt x="3887219" y="4552950"/>
                  </a:cubicBezTo>
                  <a:cubicBezTo>
                    <a:pt x="3895472" y="4541396"/>
                    <a:pt x="3899224" y="4527178"/>
                    <a:pt x="3906269" y="4514850"/>
                  </a:cubicBezTo>
                  <a:cubicBezTo>
                    <a:pt x="3911949" y="4504911"/>
                    <a:pt x="3918969" y="4495800"/>
                    <a:pt x="3925319" y="4486275"/>
                  </a:cubicBezTo>
                  <a:cubicBezTo>
                    <a:pt x="3948119" y="4326673"/>
                    <a:pt x="3948967" y="4338814"/>
                    <a:pt x="3944369" y="4076700"/>
                  </a:cubicBezTo>
                  <a:cubicBezTo>
                    <a:pt x="3943194" y="4009734"/>
                    <a:pt x="3938979" y="3942244"/>
                    <a:pt x="3925319" y="3876675"/>
                  </a:cubicBezTo>
                  <a:cubicBezTo>
                    <a:pt x="3922572" y="3863488"/>
                    <a:pt x="3905368" y="3858448"/>
                    <a:pt x="3896744" y="3848100"/>
                  </a:cubicBezTo>
                  <a:cubicBezTo>
                    <a:pt x="3889415" y="3839306"/>
                    <a:pt x="3884044" y="3829050"/>
                    <a:pt x="3877694" y="3819525"/>
                  </a:cubicBezTo>
                  <a:cubicBezTo>
                    <a:pt x="3874519" y="3803650"/>
                    <a:pt x="3872429" y="3787519"/>
                    <a:pt x="3868169" y="3771900"/>
                  </a:cubicBezTo>
                  <a:cubicBezTo>
                    <a:pt x="3859258" y="3739227"/>
                    <a:pt x="3852414" y="3711313"/>
                    <a:pt x="3830069" y="3686175"/>
                  </a:cubicBezTo>
                  <a:cubicBezTo>
                    <a:pt x="3812171" y="3666039"/>
                    <a:pt x="3791969" y="3648075"/>
                    <a:pt x="3772919" y="3629025"/>
                  </a:cubicBezTo>
                  <a:cubicBezTo>
                    <a:pt x="3762879" y="3618985"/>
                    <a:pt x="3747519" y="3616325"/>
                    <a:pt x="3734819" y="3609975"/>
                  </a:cubicBezTo>
                  <a:cubicBezTo>
                    <a:pt x="3737994" y="3600450"/>
                    <a:pt x="3738775" y="3589754"/>
                    <a:pt x="3744344" y="3581400"/>
                  </a:cubicBezTo>
                  <a:cubicBezTo>
                    <a:pt x="3751816" y="3570192"/>
                    <a:pt x="3766895" y="3564873"/>
                    <a:pt x="3772919" y="3552825"/>
                  </a:cubicBezTo>
                  <a:cubicBezTo>
                    <a:pt x="3780159" y="3538345"/>
                    <a:pt x="3779269" y="3521075"/>
                    <a:pt x="3782444" y="3505200"/>
                  </a:cubicBezTo>
                  <a:cubicBezTo>
                    <a:pt x="3785619" y="3467100"/>
                    <a:pt x="3787502" y="3428870"/>
                    <a:pt x="3791969" y="3390900"/>
                  </a:cubicBezTo>
                  <a:cubicBezTo>
                    <a:pt x="3793861" y="3374822"/>
                    <a:pt x="3790046" y="3354723"/>
                    <a:pt x="3801494" y="3343275"/>
                  </a:cubicBezTo>
                  <a:cubicBezTo>
                    <a:pt x="3808594" y="3336175"/>
                    <a:pt x="3820544" y="3349625"/>
                    <a:pt x="3830069" y="3352800"/>
                  </a:cubicBezTo>
                  <a:cubicBezTo>
                    <a:pt x="3839594" y="3362325"/>
                    <a:pt x="3845256" y="3379887"/>
                    <a:pt x="3858644" y="3381375"/>
                  </a:cubicBezTo>
                  <a:cubicBezTo>
                    <a:pt x="3878602" y="3383593"/>
                    <a:pt x="3896560" y="3368095"/>
                    <a:pt x="3915794" y="3362325"/>
                  </a:cubicBezTo>
                  <a:cubicBezTo>
                    <a:pt x="3928333" y="3358563"/>
                    <a:pt x="3941307" y="3356396"/>
                    <a:pt x="3953894" y="3352800"/>
                  </a:cubicBezTo>
                  <a:cubicBezTo>
                    <a:pt x="4022235" y="3333274"/>
                    <a:pt x="3933268" y="3353115"/>
                    <a:pt x="4030094" y="3333750"/>
                  </a:cubicBezTo>
                  <a:cubicBezTo>
                    <a:pt x="4026919" y="3317875"/>
                    <a:pt x="4020569" y="3302314"/>
                    <a:pt x="4020569" y="3286125"/>
                  </a:cubicBezTo>
                  <a:cubicBezTo>
                    <a:pt x="4020569" y="3222322"/>
                    <a:pt x="4024716" y="3216535"/>
                    <a:pt x="4039619" y="3171825"/>
                  </a:cubicBezTo>
                  <a:cubicBezTo>
                    <a:pt x="4036444" y="3124200"/>
                    <a:pt x="4043207" y="3074844"/>
                    <a:pt x="4030094" y="3028950"/>
                  </a:cubicBezTo>
                  <a:cubicBezTo>
                    <a:pt x="4027336" y="3019296"/>
                    <a:pt x="4011518" y="3039384"/>
                    <a:pt x="4001519" y="3038475"/>
                  </a:cubicBezTo>
                  <a:cubicBezTo>
                    <a:pt x="3975445" y="3036105"/>
                    <a:pt x="3950719" y="3025775"/>
                    <a:pt x="3925319" y="3019425"/>
                  </a:cubicBezTo>
                  <a:cubicBezTo>
                    <a:pt x="3904697" y="2936936"/>
                    <a:pt x="3929950" y="3026240"/>
                    <a:pt x="3896744" y="2943225"/>
                  </a:cubicBezTo>
                  <a:cubicBezTo>
                    <a:pt x="3889286" y="2924581"/>
                    <a:pt x="3884044" y="2905125"/>
                    <a:pt x="3877694" y="2886075"/>
                  </a:cubicBezTo>
                  <a:lnTo>
                    <a:pt x="3868169" y="2857500"/>
                  </a:lnTo>
                  <a:cubicBezTo>
                    <a:pt x="3864994" y="2825750"/>
                    <a:pt x="3863496" y="2793787"/>
                    <a:pt x="3858644" y="2762250"/>
                  </a:cubicBezTo>
                  <a:cubicBezTo>
                    <a:pt x="3857117" y="2752327"/>
                    <a:pt x="3854688" y="2742029"/>
                    <a:pt x="3849119" y="2733675"/>
                  </a:cubicBezTo>
                  <a:cubicBezTo>
                    <a:pt x="3841647" y="2722467"/>
                    <a:pt x="3830069" y="2714625"/>
                    <a:pt x="3820544" y="2705100"/>
                  </a:cubicBezTo>
                  <a:cubicBezTo>
                    <a:pt x="3806529" y="2635024"/>
                    <a:pt x="3819999" y="2670945"/>
                    <a:pt x="3772919" y="2600325"/>
                  </a:cubicBezTo>
                  <a:cubicBezTo>
                    <a:pt x="3765657" y="2589433"/>
                    <a:pt x="3747519" y="2593975"/>
                    <a:pt x="3734819" y="2590800"/>
                  </a:cubicBezTo>
                  <a:cubicBezTo>
                    <a:pt x="3728469" y="2600325"/>
                    <a:pt x="3719389" y="2608515"/>
                    <a:pt x="3715769" y="2619375"/>
                  </a:cubicBezTo>
                  <a:cubicBezTo>
                    <a:pt x="3709662" y="2637697"/>
                    <a:pt x="3721694" y="2664937"/>
                    <a:pt x="3706244" y="2676525"/>
                  </a:cubicBezTo>
                  <a:cubicBezTo>
                    <a:pt x="3697327" y="2683213"/>
                    <a:pt x="3661555" y="2622311"/>
                    <a:pt x="3658619" y="2619375"/>
                  </a:cubicBezTo>
                  <a:cubicBezTo>
                    <a:pt x="3635978" y="2596734"/>
                    <a:pt x="3601188" y="2590706"/>
                    <a:pt x="3572894" y="2581275"/>
                  </a:cubicBezTo>
                  <a:lnTo>
                    <a:pt x="3544319" y="2571750"/>
                  </a:lnTo>
                  <a:cubicBezTo>
                    <a:pt x="3553844" y="2562225"/>
                    <a:pt x="3569193" y="2556127"/>
                    <a:pt x="3572894" y="2543175"/>
                  </a:cubicBezTo>
                  <a:cubicBezTo>
                    <a:pt x="3576490" y="2530588"/>
                    <a:pt x="3573308" y="2513594"/>
                    <a:pt x="3563369" y="2505075"/>
                  </a:cubicBezTo>
                  <a:cubicBezTo>
                    <a:pt x="3553820" y="2496890"/>
                    <a:pt x="3486571" y="2481113"/>
                    <a:pt x="3468119" y="2476500"/>
                  </a:cubicBezTo>
                  <a:cubicBezTo>
                    <a:pt x="3458594" y="2470150"/>
                    <a:pt x="3442689" y="2468457"/>
                    <a:pt x="3439544" y="2457450"/>
                  </a:cubicBezTo>
                  <a:cubicBezTo>
                    <a:pt x="3435096" y="2441884"/>
                    <a:pt x="3440377" y="2423483"/>
                    <a:pt x="3449069" y="2409825"/>
                  </a:cubicBezTo>
                  <a:cubicBezTo>
                    <a:pt x="3486759" y="2350597"/>
                    <a:pt x="3494036" y="2355721"/>
                    <a:pt x="3544319" y="2343150"/>
                  </a:cubicBezTo>
                  <a:cubicBezTo>
                    <a:pt x="3563369" y="2330450"/>
                    <a:pt x="3591230" y="2325528"/>
                    <a:pt x="3601469" y="2305050"/>
                  </a:cubicBezTo>
                  <a:cubicBezTo>
                    <a:pt x="3607819" y="2292350"/>
                    <a:pt x="3609611" y="2276040"/>
                    <a:pt x="3620519" y="2266950"/>
                  </a:cubicBezTo>
                  <a:cubicBezTo>
                    <a:pt x="3630576" y="2258569"/>
                    <a:pt x="3645840" y="2260265"/>
                    <a:pt x="3658619" y="2257425"/>
                  </a:cubicBezTo>
                  <a:cubicBezTo>
                    <a:pt x="3727583" y="2242100"/>
                    <a:pt x="3683757" y="2255396"/>
                    <a:pt x="3734819" y="2238375"/>
                  </a:cubicBezTo>
                  <a:cubicBezTo>
                    <a:pt x="3737994" y="2228850"/>
                    <a:pt x="3745764" y="2219739"/>
                    <a:pt x="3744344" y="2209800"/>
                  </a:cubicBezTo>
                  <a:cubicBezTo>
                    <a:pt x="3739256" y="2174182"/>
                    <a:pt x="3721725" y="2169320"/>
                    <a:pt x="3696719" y="2152650"/>
                  </a:cubicBezTo>
                  <a:cubicBezTo>
                    <a:pt x="3641549" y="2069895"/>
                    <a:pt x="3718641" y="2195813"/>
                    <a:pt x="3668144" y="1981200"/>
                  </a:cubicBezTo>
                  <a:cubicBezTo>
                    <a:pt x="3665522" y="1970057"/>
                    <a:pt x="3648125" y="1969755"/>
                    <a:pt x="3639569" y="1962150"/>
                  </a:cubicBezTo>
                  <a:cubicBezTo>
                    <a:pt x="3619433" y="1944252"/>
                    <a:pt x="3601469" y="1924050"/>
                    <a:pt x="3582419" y="1905000"/>
                  </a:cubicBezTo>
                  <a:lnTo>
                    <a:pt x="3553844" y="1876425"/>
                  </a:lnTo>
                  <a:cubicBezTo>
                    <a:pt x="3550669" y="1866900"/>
                    <a:pt x="3542668" y="1857754"/>
                    <a:pt x="3544319" y="1847850"/>
                  </a:cubicBezTo>
                  <a:cubicBezTo>
                    <a:pt x="3548288" y="1824038"/>
                    <a:pt x="3575275" y="1811338"/>
                    <a:pt x="3591944" y="1800225"/>
                  </a:cubicBezTo>
                  <a:cubicBezTo>
                    <a:pt x="3595066" y="1759637"/>
                    <a:pt x="3563936" y="1666875"/>
                    <a:pt x="3630044" y="1666875"/>
                  </a:cubicBezTo>
                  <a:cubicBezTo>
                    <a:pt x="3652495" y="1666875"/>
                    <a:pt x="3674494" y="1673225"/>
                    <a:pt x="3696719" y="1676400"/>
                  </a:cubicBezTo>
                  <a:cubicBezTo>
                    <a:pt x="3706244" y="1685925"/>
                    <a:pt x="3712226" y="1701708"/>
                    <a:pt x="3725294" y="1704975"/>
                  </a:cubicBezTo>
                  <a:cubicBezTo>
                    <a:pt x="3765455" y="1715015"/>
                    <a:pt x="3808042" y="1709365"/>
                    <a:pt x="3849119" y="1714500"/>
                  </a:cubicBezTo>
                  <a:cubicBezTo>
                    <a:pt x="3859082" y="1715745"/>
                    <a:pt x="3868169" y="1720850"/>
                    <a:pt x="3877694" y="1724025"/>
                  </a:cubicBezTo>
                  <a:cubicBezTo>
                    <a:pt x="3925319" y="1720850"/>
                    <a:pt x="3973975" y="1724854"/>
                    <a:pt x="4020569" y="1714500"/>
                  </a:cubicBezTo>
                  <a:cubicBezTo>
                    <a:pt x="4033719" y="1711578"/>
                    <a:pt x="4038511" y="1694195"/>
                    <a:pt x="4049144" y="1685925"/>
                  </a:cubicBezTo>
                  <a:cubicBezTo>
                    <a:pt x="4067216" y="1671869"/>
                    <a:pt x="4087244" y="1660525"/>
                    <a:pt x="4106294" y="1647825"/>
                  </a:cubicBezTo>
                  <a:cubicBezTo>
                    <a:pt x="4123002" y="1636686"/>
                    <a:pt x="4144394" y="1635125"/>
                    <a:pt x="4163444" y="1628775"/>
                  </a:cubicBezTo>
                  <a:cubicBezTo>
                    <a:pt x="4207378" y="1614130"/>
                    <a:pt x="4182174" y="1621219"/>
                    <a:pt x="4239644" y="1609725"/>
                  </a:cubicBezTo>
                  <a:lnTo>
                    <a:pt x="4277744" y="1552575"/>
                  </a:lnTo>
                  <a:cubicBezTo>
                    <a:pt x="4278087" y="1552061"/>
                    <a:pt x="4293827" y="1434685"/>
                    <a:pt x="4296794" y="1428750"/>
                  </a:cubicBezTo>
                  <a:cubicBezTo>
                    <a:pt x="4301914" y="1418511"/>
                    <a:pt x="4315844" y="1416050"/>
                    <a:pt x="4325369" y="1409700"/>
                  </a:cubicBezTo>
                  <a:cubicBezTo>
                    <a:pt x="4334894" y="1416050"/>
                    <a:pt x="4343705" y="1433870"/>
                    <a:pt x="4353944" y="1428750"/>
                  </a:cubicBezTo>
                  <a:cubicBezTo>
                    <a:pt x="4362924" y="1424260"/>
                    <a:pt x="4347177" y="1409829"/>
                    <a:pt x="4344419" y="1400175"/>
                  </a:cubicBezTo>
                  <a:cubicBezTo>
                    <a:pt x="4340823" y="1387588"/>
                    <a:pt x="4338069" y="1374775"/>
                    <a:pt x="4334894" y="1362075"/>
                  </a:cubicBezTo>
                  <a:cubicBezTo>
                    <a:pt x="4338069" y="1346200"/>
                    <a:pt x="4337179" y="1328930"/>
                    <a:pt x="4344419" y="1314450"/>
                  </a:cubicBezTo>
                  <a:cubicBezTo>
                    <a:pt x="4350443" y="1302402"/>
                    <a:pt x="4364724" y="1296508"/>
                    <a:pt x="4372994" y="1285875"/>
                  </a:cubicBezTo>
                  <a:cubicBezTo>
                    <a:pt x="4403805" y="1246261"/>
                    <a:pt x="4409493" y="1239092"/>
                    <a:pt x="4420619" y="1200150"/>
                  </a:cubicBezTo>
                  <a:cubicBezTo>
                    <a:pt x="4424215" y="1187563"/>
                    <a:pt x="4428202" y="1174996"/>
                    <a:pt x="4430144" y="1162050"/>
                  </a:cubicBezTo>
                  <a:cubicBezTo>
                    <a:pt x="4455896" y="990367"/>
                    <a:pt x="4419615" y="1054019"/>
                    <a:pt x="4468244" y="981075"/>
                  </a:cubicBezTo>
                  <a:cubicBezTo>
                    <a:pt x="4465069" y="949325"/>
                    <a:pt x="4463232" y="917413"/>
                    <a:pt x="4458719" y="885825"/>
                  </a:cubicBezTo>
                  <a:cubicBezTo>
                    <a:pt x="4456868" y="872866"/>
                    <a:pt x="4449194" y="860816"/>
                    <a:pt x="4449194" y="847725"/>
                  </a:cubicBezTo>
                  <a:cubicBezTo>
                    <a:pt x="4449194" y="822290"/>
                    <a:pt x="4470114" y="804892"/>
                    <a:pt x="4487294" y="790575"/>
                  </a:cubicBezTo>
                  <a:cubicBezTo>
                    <a:pt x="4496088" y="783246"/>
                    <a:pt x="4505630" y="776645"/>
                    <a:pt x="4515869" y="771525"/>
                  </a:cubicBezTo>
                  <a:cubicBezTo>
                    <a:pt x="4524849" y="767035"/>
                    <a:pt x="4534919" y="765175"/>
                    <a:pt x="4544444" y="762000"/>
                  </a:cubicBezTo>
                  <a:cubicBezTo>
                    <a:pt x="4547619" y="752475"/>
                    <a:pt x="4555620" y="743329"/>
                    <a:pt x="4553969" y="733425"/>
                  </a:cubicBezTo>
                  <a:cubicBezTo>
                    <a:pt x="4552087" y="722133"/>
                    <a:pt x="4543713" y="712179"/>
                    <a:pt x="4534919" y="704850"/>
                  </a:cubicBezTo>
                  <a:cubicBezTo>
                    <a:pt x="4511759" y="685550"/>
                    <a:pt x="4486025" y="684077"/>
                    <a:pt x="4458719" y="676275"/>
                  </a:cubicBezTo>
                  <a:cubicBezTo>
                    <a:pt x="4449065" y="673517"/>
                    <a:pt x="4439669" y="669925"/>
                    <a:pt x="4430144" y="666750"/>
                  </a:cubicBezTo>
                  <a:cubicBezTo>
                    <a:pt x="4420619" y="657225"/>
                    <a:pt x="4414822" y="640585"/>
                    <a:pt x="4401569" y="638175"/>
                  </a:cubicBezTo>
                  <a:cubicBezTo>
                    <a:pt x="4376384" y="633596"/>
                    <a:pt x="4349426" y="638952"/>
                    <a:pt x="4325369" y="647700"/>
                  </a:cubicBezTo>
                  <a:cubicBezTo>
                    <a:pt x="4305673" y="654862"/>
                    <a:pt x="4261659" y="728978"/>
                    <a:pt x="4258694" y="733425"/>
                  </a:cubicBezTo>
                  <a:lnTo>
                    <a:pt x="4220594" y="790575"/>
                  </a:lnTo>
                  <a:cubicBezTo>
                    <a:pt x="4211788" y="803784"/>
                    <a:pt x="4201544" y="815975"/>
                    <a:pt x="4192019" y="828675"/>
                  </a:cubicBezTo>
                  <a:cubicBezTo>
                    <a:pt x="4201544" y="831850"/>
                    <a:pt x="4210554" y="838200"/>
                    <a:pt x="4220594" y="838200"/>
                  </a:cubicBezTo>
                  <a:cubicBezTo>
                    <a:pt x="4240312" y="838200"/>
                    <a:pt x="4263297" y="819257"/>
                    <a:pt x="4277744" y="809625"/>
                  </a:cubicBezTo>
                  <a:cubicBezTo>
                    <a:pt x="4280919" y="800100"/>
                    <a:pt x="4306319" y="755650"/>
                    <a:pt x="4258694" y="771525"/>
                  </a:cubicBezTo>
                  <a:cubicBezTo>
                    <a:pt x="4245825" y="775815"/>
                    <a:pt x="4206463" y="831173"/>
                    <a:pt x="4201544" y="838200"/>
                  </a:cubicBezTo>
                  <a:cubicBezTo>
                    <a:pt x="4188414" y="856957"/>
                    <a:pt x="4163444" y="895350"/>
                    <a:pt x="4163444" y="895350"/>
                  </a:cubicBezTo>
                  <a:cubicBezTo>
                    <a:pt x="4153757" y="892928"/>
                    <a:pt x="4101678" y="884447"/>
                    <a:pt x="4096769" y="866775"/>
                  </a:cubicBezTo>
                  <a:cubicBezTo>
                    <a:pt x="4083067" y="817447"/>
                    <a:pt x="4100614" y="760166"/>
                    <a:pt x="4077719" y="714375"/>
                  </a:cubicBezTo>
                  <a:lnTo>
                    <a:pt x="4058669" y="676275"/>
                  </a:lnTo>
                  <a:cubicBezTo>
                    <a:pt x="4051268" y="520851"/>
                    <a:pt x="4038631" y="519786"/>
                    <a:pt x="4058669" y="409575"/>
                  </a:cubicBezTo>
                  <a:cubicBezTo>
                    <a:pt x="4060413" y="399984"/>
                    <a:pt x="4071890" y="354558"/>
                    <a:pt x="4077719" y="342900"/>
                  </a:cubicBezTo>
                  <a:cubicBezTo>
                    <a:pt x="4082839" y="332661"/>
                    <a:pt x="4090419" y="323850"/>
                    <a:pt x="4096769" y="314325"/>
                  </a:cubicBezTo>
                  <a:cubicBezTo>
                    <a:pt x="4108112" y="189552"/>
                    <a:pt x="4095204" y="242819"/>
                    <a:pt x="4125344" y="152400"/>
                  </a:cubicBezTo>
                  <a:cubicBezTo>
                    <a:pt x="4128964" y="141540"/>
                    <a:pt x="4136299" y="131920"/>
                    <a:pt x="4144394" y="123825"/>
                  </a:cubicBezTo>
                  <a:cubicBezTo>
                    <a:pt x="4152489" y="115730"/>
                    <a:pt x="4163444" y="111125"/>
                    <a:pt x="4172969" y="104775"/>
                  </a:cubicBezTo>
                  <a:cubicBezTo>
                    <a:pt x="4179319" y="95250"/>
                    <a:pt x="4194264" y="87425"/>
                    <a:pt x="4192019" y="76200"/>
                  </a:cubicBezTo>
                  <a:cubicBezTo>
                    <a:pt x="4188557" y="58890"/>
                    <a:pt x="4133376" y="49633"/>
                    <a:pt x="4125344" y="47625"/>
                  </a:cubicBezTo>
                  <a:cubicBezTo>
                    <a:pt x="4115819" y="41275"/>
                    <a:pt x="4107008" y="33695"/>
                    <a:pt x="4096769" y="28575"/>
                  </a:cubicBezTo>
                  <a:cubicBezTo>
                    <a:pt x="4076344" y="18363"/>
                    <a:pt x="4040132" y="13872"/>
                    <a:pt x="4020569" y="9525"/>
                  </a:cubicBezTo>
                  <a:cubicBezTo>
                    <a:pt x="4007790" y="6685"/>
                    <a:pt x="3995169" y="3175"/>
                    <a:pt x="3982469" y="0"/>
                  </a:cubicBezTo>
                  <a:cubicBezTo>
                    <a:pt x="3446923" y="31503"/>
                    <a:pt x="4108895" y="-4767"/>
                    <a:pt x="2810894" y="19050"/>
                  </a:cubicBezTo>
                  <a:cubicBezTo>
                    <a:pt x="2800855" y="19234"/>
                    <a:pt x="2792102" y="26317"/>
                    <a:pt x="2782319" y="28575"/>
                  </a:cubicBezTo>
                  <a:cubicBezTo>
                    <a:pt x="2750769" y="35856"/>
                    <a:pt x="2719306" y="44603"/>
                    <a:pt x="2687069" y="47625"/>
                  </a:cubicBezTo>
                  <a:cubicBezTo>
                    <a:pt x="2585469" y="57150"/>
                    <a:pt x="2483526" y="63543"/>
                    <a:pt x="2382269" y="76200"/>
                  </a:cubicBezTo>
                  <a:cubicBezTo>
                    <a:pt x="2356869" y="79375"/>
                    <a:pt x="2331369" y="81833"/>
                    <a:pt x="2306069" y="85725"/>
                  </a:cubicBezTo>
                  <a:cubicBezTo>
                    <a:pt x="2290068" y="88187"/>
                    <a:pt x="2274592" y="94097"/>
                    <a:pt x="2258444" y="95250"/>
                  </a:cubicBezTo>
                  <a:cubicBezTo>
                    <a:pt x="2185536" y="100458"/>
                    <a:pt x="2112394" y="101600"/>
                    <a:pt x="2039369" y="104775"/>
                  </a:cubicBezTo>
                  <a:cubicBezTo>
                    <a:pt x="2004059" y="140085"/>
                    <a:pt x="2009206" y="104775"/>
                    <a:pt x="2001269" y="114300"/>
                  </a:cubicBezTo>
                  <a:close/>
                </a:path>
              </a:pathLst>
            </a:custGeom>
            <a:solidFill>
              <a:srgbClr val="EDDD32"/>
            </a:solidFill>
            <a:ln w="9525" cap="flat" cmpd="sng" algn="ctr">
              <a:solidFill>
                <a:srgbClr val="4866A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97" tIns="46649" rIns="93297" bIns="4664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8383">
                <a:buClr>
                  <a:srgbClr val="000000"/>
                </a:buClr>
                <a:buSzPct val="100000"/>
              </a:pPr>
              <a:endParaRPr lang="pt-BR" sz="102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59" name="Freeform 24"/>
            <p:cNvSpPr/>
            <p:nvPr/>
          </p:nvSpPr>
          <p:spPr bwMode="auto">
            <a:xfrm>
              <a:off x="11814279" y="4257224"/>
              <a:ext cx="1162476" cy="768495"/>
            </a:xfrm>
            <a:custGeom>
              <a:avLst/>
              <a:gdLst>
                <a:gd name="connsiteX0" fmla="*/ 829577 w 3925202"/>
                <a:gd name="connsiteY0" fmla="*/ 552450 h 2552700"/>
                <a:gd name="connsiteX1" fmla="*/ 877202 w 3925202"/>
                <a:gd name="connsiteY1" fmla="*/ 533400 h 2552700"/>
                <a:gd name="connsiteX2" fmla="*/ 905777 w 3925202"/>
                <a:gd name="connsiteY2" fmla="*/ 523875 h 2552700"/>
                <a:gd name="connsiteX3" fmla="*/ 934352 w 3925202"/>
                <a:gd name="connsiteY3" fmla="*/ 504825 h 2552700"/>
                <a:gd name="connsiteX4" fmla="*/ 1010552 w 3925202"/>
                <a:gd name="connsiteY4" fmla="*/ 514350 h 2552700"/>
                <a:gd name="connsiteX5" fmla="*/ 1048652 w 3925202"/>
                <a:gd name="connsiteY5" fmla="*/ 571500 h 2552700"/>
                <a:gd name="connsiteX6" fmla="*/ 1105802 w 3925202"/>
                <a:gd name="connsiteY6" fmla="*/ 628650 h 2552700"/>
                <a:gd name="connsiteX7" fmla="*/ 1124852 w 3925202"/>
                <a:gd name="connsiteY7" fmla="*/ 657225 h 2552700"/>
                <a:gd name="connsiteX8" fmla="*/ 1153427 w 3925202"/>
                <a:gd name="connsiteY8" fmla="*/ 666750 h 2552700"/>
                <a:gd name="connsiteX9" fmla="*/ 1182002 w 3925202"/>
                <a:gd name="connsiteY9" fmla="*/ 695325 h 2552700"/>
                <a:gd name="connsiteX10" fmla="*/ 1210577 w 3925202"/>
                <a:gd name="connsiteY10" fmla="*/ 704850 h 2552700"/>
                <a:gd name="connsiteX11" fmla="*/ 1296302 w 3925202"/>
                <a:gd name="connsiteY11" fmla="*/ 714375 h 2552700"/>
                <a:gd name="connsiteX12" fmla="*/ 1343927 w 3925202"/>
                <a:gd name="connsiteY12" fmla="*/ 723900 h 2552700"/>
                <a:gd name="connsiteX13" fmla="*/ 1429652 w 3925202"/>
                <a:gd name="connsiteY13" fmla="*/ 781050 h 2552700"/>
                <a:gd name="connsiteX14" fmla="*/ 1458227 w 3925202"/>
                <a:gd name="connsiteY14" fmla="*/ 809625 h 2552700"/>
                <a:gd name="connsiteX15" fmla="*/ 1505852 w 3925202"/>
                <a:gd name="connsiteY15" fmla="*/ 819150 h 2552700"/>
                <a:gd name="connsiteX16" fmla="*/ 1601102 w 3925202"/>
                <a:gd name="connsiteY16" fmla="*/ 828675 h 2552700"/>
                <a:gd name="connsiteX17" fmla="*/ 1791602 w 3925202"/>
                <a:gd name="connsiteY17" fmla="*/ 828675 h 2552700"/>
                <a:gd name="connsiteX18" fmla="*/ 1886852 w 3925202"/>
                <a:gd name="connsiteY18" fmla="*/ 838200 h 2552700"/>
                <a:gd name="connsiteX19" fmla="*/ 1915427 w 3925202"/>
                <a:gd name="connsiteY19" fmla="*/ 847725 h 2552700"/>
                <a:gd name="connsiteX20" fmla="*/ 1953527 w 3925202"/>
                <a:gd name="connsiteY20" fmla="*/ 857250 h 2552700"/>
                <a:gd name="connsiteX21" fmla="*/ 1982102 w 3925202"/>
                <a:gd name="connsiteY21" fmla="*/ 876300 h 2552700"/>
                <a:gd name="connsiteX22" fmla="*/ 2039252 w 3925202"/>
                <a:gd name="connsiteY22" fmla="*/ 838200 h 2552700"/>
                <a:gd name="connsiteX23" fmla="*/ 2067827 w 3925202"/>
                <a:gd name="connsiteY23" fmla="*/ 828675 h 2552700"/>
                <a:gd name="connsiteX24" fmla="*/ 2115452 w 3925202"/>
                <a:gd name="connsiteY24" fmla="*/ 838200 h 2552700"/>
                <a:gd name="connsiteX25" fmla="*/ 2144027 w 3925202"/>
                <a:gd name="connsiteY25" fmla="*/ 847725 h 2552700"/>
                <a:gd name="connsiteX26" fmla="*/ 2182127 w 3925202"/>
                <a:gd name="connsiteY26" fmla="*/ 857250 h 2552700"/>
                <a:gd name="connsiteX27" fmla="*/ 2210702 w 3925202"/>
                <a:gd name="connsiteY27" fmla="*/ 866775 h 2552700"/>
                <a:gd name="connsiteX28" fmla="*/ 2353577 w 3925202"/>
                <a:gd name="connsiteY28" fmla="*/ 895350 h 2552700"/>
                <a:gd name="connsiteX29" fmla="*/ 2401202 w 3925202"/>
                <a:gd name="connsiteY29" fmla="*/ 857250 h 2552700"/>
                <a:gd name="connsiteX30" fmla="*/ 2439302 w 3925202"/>
                <a:gd name="connsiteY30" fmla="*/ 771525 h 2552700"/>
                <a:gd name="connsiteX31" fmla="*/ 2458352 w 3925202"/>
                <a:gd name="connsiteY31" fmla="*/ 742950 h 2552700"/>
                <a:gd name="connsiteX32" fmla="*/ 2467877 w 3925202"/>
                <a:gd name="connsiteY32" fmla="*/ 714375 h 2552700"/>
                <a:gd name="connsiteX33" fmla="*/ 2525027 w 3925202"/>
                <a:gd name="connsiteY33" fmla="*/ 657225 h 2552700"/>
                <a:gd name="connsiteX34" fmla="*/ 2496452 w 3925202"/>
                <a:gd name="connsiteY34" fmla="*/ 590550 h 2552700"/>
                <a:gd name="connsiteX35" fmla="*/ 2505977 w 3925202"/>
                <a:gd name="connsiteY35" fmla="*/ 542925 h 2552700"/>
                <a:gd name="connsiteX36" fmla="*/ 2553602 w 3925202"/>
                <a:gd name="connsiteY36" fmla="*/ 600075 h 2552700"/>
                <a:gd name="connsiteX37" fmla="*/ 2582177 w 3925202"/>
                <a:gd name="connsiteY37" fmla="*/ 628650 h 2552700"/>
                <a:gd name="connsiteX38" fmla="*/ 2601227 w 3925202"/>
                <a:gd name="connsiteY38" fmla="*/ 657225 h 2552700"/>
                <a:gd name="connsiteX39" fmla="*/ 2658377 w 3925202"/>
                <a:gd name="connsiteY39" fmla="*/ 714375 h 2552700"/>
                <a:gd name="connsiteX40" fmla="*/ 2734577 w 3925202"/>
                <a:gd name="connsiteY40" fmla="*/ 704850 h 2552700"/>
                <a:gd name="connsiteX41" fmla="*/ 2744102 w 3925202"/>
                <a:gd name="connsiteY41" fmla="*/ 676275 h 2552700"/>
                <a:gd name="connsiteX42" fmla="*/ 2715527 w 3925202"/>
                <a:gd name="connsiteY42" fmla="*/ 590550 h 2552700"/>
                <a:gd name="connsiteX43" fmla="*/ 2734577 w 3925202"/>
                <a:gd name="connsiteY43" fmla="*/ 495300 h 2552700"/>
                <a:gd name="connsiteX44" fmla="*/ 2744102 w 3925202"/>
                <a:gd name="connsiteY44" fmla="*/ 457200 h 2552700"/>
                <a:gd name="connsiteX45" fmla="*/ 2763152 w 3925202"/>
                <a:gd name="connsiteY45" fmla="*/ 428625 h 2552700"/>
                <a:gd name="connsiteX46" fmla="*/ 2772677 w 3925202"/>
                <a:gd name="connsiteY46" fmla="*/ 381000 h 2552700"/>
                <a:gd name="connsiteX47" fmla="*/ 2829827 w 3925202"/>
                <a:gd name="connsiteY47" fmla="*/ 333375 h 2552700"/>
                <a:gd name="connsiteX48" fmla="*/ 2886977 w 3925202"/>
                <a:gd name="connsiteY48" fmla="*/ 285750 h 2552700"/>
                <a:gd name="connsiteX49" fmla="*/ 2896502 w 3925202"/>
                <a:gd name="connsiteY49" fmla="*/ 238125 h 2552700"/>
                <a:gd name="connsiteX50" fmla="*/ 2915552 w 3925202"/>
                <a:gd name="connsiteY50" fmla="*/ 209550 h 2552700"/>
                <a:gd name="connsiteX51" fmla="*/ 2925077 w 3925202"/>
                <a:gd name="connsiteY51" fmla="*/ 180975 h 2552700"/>
                <a:gd name="connsiteX52" fmla="*/ 2953652 w 3925202"/>
                <a:gd name="connsiteY52" fmla="*/ 200025 h 2552700"/>
                <a:gd name="connsiteX53" fmla="*/ 2982227 w 3925202"/>
                <a:gd name="connsiteY53" fmla="*/ 238125 h 2552700"/>
                <a:gd name="connsiteX54" fmla="*/ 3010802 w 3925202"/>
                <a:gd name="connsiteY54" fmla="*/ 266700 h 2552700"/>
                <a:gd name="connsiteX55" fmla="*/ 3029852 w 3925202"/>
                <a:gd name="connsiteY55" fmla="*/ 180975 h 2552700"/>
                <a:gd name="connsiteX56" fmla="*/ 3048902 w 3925202"/>
                <a:gd name="connsiteY56" fmla="*/ 142875 h 2552700"/>
                <a:gd name="connsiteX57" fmla="*/ 3058427 w 3925202"/>
                <a:gd name="connsiteY57" fmla="*/ 114300 h 2552700"/>
                <a:gd name="connsiteX58" fmla="*/ 3087002 w 3925202"/>
                <a:gd name="connsiteY58" fmla="*/ 95250 h 2552700"/>
                <a:gd name="connsiteX59" fmla="*/ 3153677 w 3925202"/>
                <a:gd name="connsiteY59" fmla="*/ 9525 h 2552700"/>
                <a:gd name="connsiteX60" fmla="*/ 3191777 w 3925202"/>
                <a:gd name="connsiteY60" fmla="*/ 0 h 2552700"/>
                <a:gd name="connsiteX61" fmla="*/ 3220352 w 3925202"/>
                <a:gd name="connsiteY61" fmla="*/ 9525 h 2552700"/>
                <a:gd name="connsiteX62" fmla="*/ 3239402 w 3925202"/>
                <a:gd name="connsiteY62" fmla="*/ 38100 h 2552700"/>
                <a:gd name="connsiteX63" fmla="*/ 3325127 w 3925202"/>
                <a:gd name="connsiteY63" fmla="*/ 104775 h 2552700"/>
                <a:gd name="connsiteX64" fmla="*/ 3410852 w 3925202"/>
                <a:gd name="connsiteY64" fmla="*/ 180975 h 2552700"/>
                <a:gd name="connsiteX65" fmla="*/ 3439427 w 3925202"/>
                <a:gd name="connsiteY65" fmla="*/ 200025 h 2552700"/>
                <a:gd name="connsiteX66" fmla="*/ 3468002 w 3925202"/>
                <a:gd name="connsiteY66" fmla="*/ 228600 h 2552700"/>
                <a:gd name="connsiteX67" fmla="*/ 3477527 w 3925202"/>
                <a:gd name="connsiteY67" fmla="*/ 257175 h 2552700"/>
                <a:gd name="connsiteX68" fmla="*/ 3458477 w 3925202"/>
                <a:gd name="connsiteY68" fmla="*/ 285750 h 2552700"/>
                <a:gd name="connsiteX69" fmla="*/ 3448952 w 3925202"/>
                <a:gd name="connsiteY69" fmla="*/ 323850 h 2552700"/>
                <a:gd name="connsiteX70" fmla="*/ 3458477 w 3925202"/>
                <a:gd name="connsiteY70" fmla="*/ 371475 h 2552700"/>
                <a:gd name="connsiteX71" fmla="*/ 3487052 w 3925202"/>
                <a:gd name="connsiteY71" fmla="*/ 400050 h 2552700"/>
                <a:gd name="connsiteX72" fmla="*/ 3525152 w 3925202"/>
                <a:gd name="connsiteY72" fmla="*/ 466725 h 2552700"/>
                <a:gd name="connsiteX73" fmla="*/ 3534677 w 3925202"/>
                <a:gd name="connsiteY73" fmla="*/ 495300 h 2552700"/>
                <a:gd name="connsiteX74" fmla="*/ 3439427 w 3925202"/>
                <a:gd name="connsiteY74" fmla="*/ 523875 h 2552700"/>
                <a:gd name="connsiteX75" fmla="*/ 3382277 w 3925202"/>
                <a:gd name="connsiteY75" fmla="*/ 542925 h 2552700"/>
                <a:gd name="connsiteX76" fmla="*/ 3315602 w 3925202"/>
                <a:gd name="connsiteY76" fmla="*/ 600075 h 2552700"/>
                <a:gd name="connsiteX77" fmla="*/ 3258452 w 3925202"/>
                <a:gd name="connsiteY77" fmla="*/ 638175 h 2552700"/>
                <a:gd name="connsiteX78" fmla="*/ 3220352 w 3925202"/>
                <a:gd name="connsiteY78" fmla="*/ 695325 h 2552700"/>
                <a:gd name="connsiteX79" fmla="*/ 3210827 w 3925202"/>
                <a:gd name="connsiteY79" fmla="*/ 733425 h 2552700"/>
                <a:gd name="connsiteX80" fmla="*/ 3191777 w 3925202"/>
                <a:gd name="connsiteY80" fmla="*/ 762000 h 2552700"/>
                <a:gd name="connsiteX81" fmla="*/ 3287027 w 3925202"/>
                <a:gd name="connsiteY81" fmla="*/ 800100 h 2552700"/>
                <a:gd name="connsiteX82" fmla="*/ 3296552 w 3925202"/>
                <a:gd name="connsiteY82" fmla="*/ 828675 h 2552700"/>
                <a:gd name="connsiteX83" fmla="*/ 3325127 w 3925202"/>
                <a:gd name="connsiteY83" fmla="*/ 838200 h 2552700"/>
                <a:gd name="connsiteX84" fmla="*/ 3553727 w 3925202"/>
                <a:gd name="connsiteY84" fmla="*/ 847725 h 2552700"/>
                <a:gd name="connsiteX85" fmla="*/ 3668027 w 3925202"/>
                <a:gd name="connsiteY85" fmla="*/ 866775 h 2552700"/>
                <a:gd name="connsiteX86" fmla="*/ 3725177 w 3925202"/>
                <a:gd name="connsiteY86" fmla="*/ 904875 h 2552700"/>
                <a:gd name="connsiteX87" fmla="*/ 3772802 w 3925202"/>
                <a:gd name="connsiteY87" fmla="*/ 971550 h 2552700"/>
                <a:gd name="connsiteX88" fmla="*/ 3801377 w 3925202"/>
                <a:gd name="connsiteY88" fmla="*/ 990600 h 2552700"/>
                <a:gd name="connsiteX89" fmla="*/ 3858527 w 3925202"/>
                <a:gd name="connsiteY89" fmla="*/ 1009650 h 2552700"/>
                <a:gd name="connsiteX90" fmla="*/ 3887102 w 3925202"/>
                <a:gd name="connsiteY90" fmla="*/ 1038225 h 2552700"/>
                <a:gd name="connsiteX91" fmla="*/ 3925202 w 3925202"/>
                <a:gd name="connsiteY91" fmla="*/ 1095375 h 2552700"/>
                <a:gd name="connsiteX92" fmla="*/ 3887102 w 3925202"/>
                <a:gd name="connsiteY92" fmla="*/ 1152525 h 2552700"/>
                <a:gd name="connsiteX93" fmla="*/ 3839477 w 3925202"/>
                <a:gd name="connsiteY93" fmla="*/ 1200150 h 2552700"/>
                <a:gd name="connsiteX94" fmla="*/ 3801377 w 3925202"/>
                <a:gd name="connsiteY94" fmla="*/ 1209675 h 2552700"/>
                <a:gd name="connsiteX95" fmla="*/ 3772802 w 3925202"/>
                <a:gd name="connsiteY95" fmla="*/ 1219200 h 2552700"/>
                <a:gd name="connsiteX96" fmla="*/ 3753752 w 3925202"/>
                <a:gd name="connsiteY96" fmla="*/ 1390650 h 2552700"/>
                <a:gd name="connsiteX97" fmla="*/ 3791852 w 3925202"/>
                <a:gd name="connsiteY97" fmla="*/ 1447800 h 2552700"/>
                <a:gd name="connsiteX98" fmla="*/ 3810902 w 3925202"/>
                <a:gd name="connsiteY98" fmla="*/ 1476375 h 2552700"/>
                <a:gd name="connsiteX99" fmla="*/ 3782327 w 3925202"/>
                <a:gd name="connsiteY99" fmla="*/ 1495425 h 2552700"/>
                <a:gd name="connsiteX100" fmla="*/ 3725177 w 3925202"/>
                <a:gd name="connsiteY100" fmla="*/ 1524000 h 2552700"/>
                <a:gd name="connsiteX101" fmla="*/ 3668027 w 3925202"/>
                <a:gd name="connsiteY101" fmla="*/ 1581150 h 2552700"/>
                <a:gd name="connsiteX102" fmla="*/ 3677552 w 3925202"/>
                <a:gd name="connsiteY102" fmla="*/ 1609725 h 2552700"/>
                <a:gd name="connsiteX103" fmla="*/ 3734702 w 3925202"/>
                <a:gd name="connsiteY103" fmla="*/ 1628775 h 2552700"/>
                <a:gd name="connsiteX104" fmla="*/ 3725177 w 3925202"/>
                <a:gd name="connsiteY104" fmla="*/ 1666875 h 2552700"/>
                <a:gd name="connsiteX105" fmla="*/ 3629927 w 3925202"/>
                <a:gd name="connsiteY105" fmla="*/ 1714500 h 2552700"/>
                <a:gd name="connsiteX106" fmla="*/ 3601352 w 3925202"/>
                <a:gd name="connsiteY106" fmla="*/ 1724025 h 2552700"/>
                <a:gd name="connsiteX107" fmla="*/ 3572777 w 3925202"/>
                <a:gd name="connsiteY107" fmla="*/ 1781175 h 2552700"/>
                <a:gd name="connsiteX108" fmla="*/ 3582302 w 3925202"/>
                <a:gd name="connsiteY108" fmla="*/ 1885950 h 2552700"/>
                <a:gd name="connsiteX109" fmla="*/ 3601352 w 3925202"/>
                <a:gd name="connsiteY109" fmla="*/ 1914525 h 2552700"/>
                <a:gd name="connsiteX110" fmla="*/ 3629927 w 3925202"/>
                <a:gd name="connsiteY110" fmla="*/ 1971675 h 2552700"/>
                <a:gd name="connsiteX111" fmla="*/ 3620402 w 3925202"/>
                <a:gd name="connsiteY111" fmla="*/ 2047875 h 2552700"/>
                <a:gd name="connsiteX112" fmla="*/ 3563252 w 3925202"/>
                <a:gd name="connsiteY112" fmla="*/ 2038350 h 2552700"/>
                <a:gd name="connsiteX113" fmla="*/ 3534677 w 3925202"/>
                <a:gd name="connsiteY113" fmla="*/ 1981200 h 2552700"/>
                <a:gd name="connsiteX114" fmla="*/ 3477527 w 3925202"/>
                <a:gd name="connsiteY114" fmla="*/ 1990725 h 2552700"/>
                <a:gd name="connsiteX115" fmla="*/ 3420377 w 3925202"/>
                <a:gd name="connsiteY115" fmla="*/ 2047875 h 2552700"/>
                <a:gd name="connsiteX116" fmla="*/ 3382277 w 3925202"/>
                <a:gd name="connsiteY116" fmla="*/ 2076450 h 2552700"/>
                <a:gd name="connsiteX117" fmla="*/ 3325127 w 3925202"/>
                <a:gd name="connsiteY117" fmla="*/ 2124075 h 2552700"/>
                <a:gd name="connsiteX118" fmla="*/ 3315602 w 3925202"/>
                <a:gd name="connsiteY118" fmla="*/ 2162175 h 2552700"/>
                <a:gd name="connsiteX119" fmla="*/ 3306077 w 3925202"/>
                <a:gd name="connsiteY119" fmla="*/ 2238375 h 2552700"/>
                <a:gd name="connsiteX120" fmla="*/ 3287027 w 3925202"/>
                <a:gd name="connsiteY120" fmla="*/ 2266950 h 2552700"/>
                <a:gd name="connsiteX121" fmla="*/ 3267977 w 3925202"/>
                <a:gd name="connsiteY121" fmla="*/ 2305050 h 2552700"/>
                <a:gd name="connsiteX122" fmla="*/ 3258452 w 3925202"/>
                <a:gd name="connsiteY122" fmla="*/ 2333625 h 2552700"/>
                <a:gd name="connsiteX123" fmla="*/ 3248927 w 3925202"/>
                <a:gd name="connsiteY123" fmla="*/ 2390775 h 2552700"/>
                <a:gd name="connsiteX124" fmla="*/ 3191777 w 3925202"/>
                <a:gd name="connsiteY124" fmla="*/ 2428875 h 2552700"/>
                <a:gd name="connsiteX125" fmla="*/ 3134627 w 3925202"/>
                <a:gd name="connsiteY125" fmla="*/ 2447925 h 2552700"/>
                <a:gd name="connsiteX126" fmla="*/ 3106052 w 3925202"/>
                <a:gd name="connsiteY126" fmla="*/ 2476500 h 2552700"/>
                <a:gd name="connsiteX127" fmla="*/ 3029852 w 3925202"/>
                <a:gd name="connsiteY127" fmla="*/ 2495550 h 2552700"/>
                <a:gd name="connsiteX128" fmla="*/ 3001277 w 3925202"/>
                <a:gd name="connsiteY128" fmla="*/ 2505075 h 2552700"/>
                <a:gd name="connsiteX129" fmla="*/ 2906027 w 3925202"/>
                <a:gd name="connsiteY129" fmla="*/ 2533650 h 2552700"/>
                <a:gd name="connsiteX130" fmla="*/ 2858402 w 3925202"/>
                <a:gd name="connsiteY130" fmla="*/ 2543175 h 2552700"/>
                <a:gd name="connsiteX131" fmla="*/ 2820302 w 3925202"/>
                <a:gd name="connsiteY131" fmla="*/ 2552700 h 2552700"/>
                <a:gd name="connsiteX132" fmla="*/ 2734577 w 3925202"/>
                <a:gd name="connsiteY132" fmla="*/ 2495550 h 2552700"/>
                <a:gd name="connsiteX133" fmla="*/ 2706002 w 3925202"/>
                <a:gd name="connsiteY133" fmla="*/ 2486025 h 2552700"/>
                <a:gd name="connsiteX134" fmla="*/ 2667902 w 3925202"/>
                <a:gd name="connsiteY134" fmla="*/ 2419350 h 2552700"/>
                <a:gd name="connsiteX135" fmla="*/ 2648852 w 3925202"/>
                <a:gd name="connsiteY135" fmla="*/ 2390775 h 2552700"/>
                <a:gd name="connsiteX136" fmla="*/ 2639327 w 3925202"/>
                <a:gd name="connsiteY136" fmla="*/ 2362200 h 2552700"/>
                <a:gd name="connsiteX137" fmla="*/ 2610752 w 3925202"/>
                <a:gd name="connsiteY137" fmla="*/ 2333625 h 2552700"/>
                <a:gd name="connsiteX138" fmla="*/ 2601227 w 3925202"/>
                <a:gd name="connsiteY138" fmla="*/ 2305050 h 2552700"/>
                <a:gd name="connsiteX139" fmla="*/ 2553602 w 3925202"/>
                <a:gd name="connsiteY139" fmla="*/ 2247900 h 2552700"/>
                <a:gd name="connsiteX140" fmla="*/ 2544077 w 3925202"/>
                <a:gd name="connsiteY140" fmla="*/ 2219325 h 2552700"/>
                <a:gd name="connsiteX141" fmla="*/ 2515502 w 3925202"/>
                <a:gd name="connsiteY141" fmla="*/ 2190750 h 2552700"/>
                <a:gd name="connsiteX142" fmla="*/ 2458352 w 3925202"/>
                <a:gd name="connsiteY142" fmla="*/ 2133600 h 2552700"/>
                <a:gd name="connsiteX143" fmla="*/ 2401202 w 3925202"/>
                <a:gd name="connsiteY143" fmla="*/ 2095500 h 2552700"/>
                <a:gd name="connsiteX144" fmla="*/ 2372627 w 3925202"/>
                <a:gd name="connsiteY144" fmla="*/ 2076450 h 2552700"/>
                <a:gd name="connsiteX145" fmla="*/ 2325002 w 3925202"/>
                <a:gd name="connsiteY145" fmla="*/ 2085975 h 2552700"/>
                <a:gd name="connsiteX146" fmla="*/ 2305952 w 3925202"/>
                <a:gd name="connsiteY146" fmla="*/ 2114550 h 2552700"/>
                <a:gd name="connsiteX147" fmla="*/ 2248802 w 3925202"/>
                <a:gd name="connsiteY147" fmla="*/ 2152650 h 2552700"/>
                <a:gd name="connsiteX148" fmla="*/ 2153552 w 3925202"/>
                <a:gd name="connsiteY148" fmla="*/ 2200275 h 2552700"/>
                <a:gd name="connsiteX149" fmla="*/ 2105927 w 3925202"/>
                <a:gd name="connsiteY149" fmla="*/ 2238375 h 2552700"/>
                <a:gd name="connsiteX150" fmla="*/ 2077352 w 3925202"/>
                <a:gd name="connsiteY150" fmla="*/ 2266950 h 2552700"/>
                <a:gd name="connsiteX151" fmla="*/ 2048777 w 3925202"/>
                <a:gd name="connsiteY151" fmla="*/ 2286000 h 2552700"/>
                <a:gd name="connsiteX152" fmla="*/ 1991627 w 3925202"/>
                <a:gd name="connsiteY152" fmla="*/ 2333625 h 2552700"/>
                <a:gd name="connsiteX153" fmla="*/ 1972577 w 3925202"/>
                <a:gd name="connsiteY153" fmla="*/ 2362200 h 2552700"/>
                <a:gd name="connsiteX154" fmla="*/ 1944002 w 3925202"/>
                <a:gd name="connsiteY154" fmla="*/ 2381250 h 2552700"/>
                <a:gd name="connsiteX155" fmla="*/ 1934477 w 3925202"/>
                <a:gd name="connsiteY155" fmla="*/ 2409825 h 2552700"/>
                <a:gd name="connsiteX156" fmla="*/ 1924952 w 3925202"/>
                <a:gd name="connsiteY156" fmla="*/ 2314575 h 2552700"/>
                <a:gd name="connsiteX157" fmla="*/ 1896377 w 3925202"/>
                <a:gd name="connsiteY157" fmla="*/ 2305050 h 2552700"/>
                <a:gd name="connsiteX158" fmla="*/ 1791602 w 3925202"/>
                <a:gd name="connsiteY158" fmla="*/ 2295525 h 2552700"/>
                <a:gd name="connsiteX159" fmla="*/ 1763027 w 3925202"/>
                <a:gd name="connsiteY159" fmla="*/ 2286000 h 2552700"/>
                <a:gd name="connsiteX160" fmla="*/ 1705877 w 3925202"/>
                <a:gd name="connsiteY160" fmla="*/ 2238375 h 2552700"/>
                <a:gd name="connsiteX161" fmla="*/ 1696352 w 3925202"/>
                <a:gd name="connsiteY161" fmla="*/ 2209800 h 2552700"/>
                <a:gd name="connsiteX162" fmla="*/ 1601102 w 3925202"/>
                <a:gd name="connsiteY162" fmla="*/ 2171700 h 2552700"/>
                <a:gd name="connsiteX163" fmla="*/ 1543952 w 3925202"/>
                <a:gd name="connsiteY163" fmla="*/ 2181225 h 2552700"/>
                <a:gd name="connsiteX164" fmla="*/ 1515377 w 3925202"/>
                <a:gd name="connsiteY164" fmla="*/ 2190750 h 2552700"/>
                <a:gd name="connsiteX165" fmla="*/ 1467752 w 3925202"/>
                <a:gd name="connsiteY165" fmla="*/ 2200275 h 2552700"/>
                <a:gd name="connsiteX166" fmla="*/ 1420127 w 3925202"/>
                <a:gd name="connsiteY166" fmla="*/ 2219325 h 2552700"/>
                <a:gd name="connsiteX167" fmla="*/ 1362977 w 3925202"/>
                <a:gd name="connsiteY167" fmla="*/ 2238375 h 2552700"/>
                <a:gd name="connsiteX168" fmla="*/ 1334402 w 3925202"/>
                <a:gd name="connsiteY168" fmla="*/ 2247900 h 2552700"/>
                <a:gd name="connsiteX169" fmla="*/ 1305827 w 3925202"/>
                <a:gd name="connsiteY169" fmla="*/ 2276475 h 2552700"/>
                <a:gd name="connsiteX170" fmla="*/ 1267727 w 3925202"/>
                <a:gd name="connsiteY170" fmla="*/ 2209800 h 2552700"/>
                <a:gd name="connsiteX171" fmla="*/ 1229627 w 3925202"/>
                <a:gd name="connsiteY171" fmla="*/ 2124075 h 2552700"/>
                <a:gd name="connsiteX172" fmla="*/ 1201052 w 3925202"/>
                <a:gd name="connsiteY172" fmla="*/ 2114550 h 2552700"/>
                <a:gd name="connsiteX173" fmla="*/ 1134377 w 3925202"/>
                <a:gd name="connsiteY173" fmla="*/ 2124075 h 2552700"/>
                <a:gd name="connsiteX174" fmla="*/ 1048652 w 3925202"/>
                <a:gd name="connsiteY174" fmla="*/ 2133600 h 2552700"/>
                <a:gd name="connsiteX175" fmla="*/ 981977 w 3925202"/>
                <a:gd name="connsiteY175" fmla="*/ 2171700 h 2552700"/>
                <a:gd name="connsiteX176" fmla="*/ 810527 w 3925202"/>
                <a:gd name="connsiteY176" fmla="*/ 2162175 h 2552700"/>
                <a:gd name="connsiteX177" fmla="*/ 801002 w 3925202"/>
                <a:gd name="connsiteY177" fmla="*/ 2133600 h 2552700"/>
                <a:gd name="connsiteX178" fmla="*/ 781952 w 3925202"/>
                <a:gd name="connsiteY178" fmla="*/ 2105025 h 2552700"/>
                <a:gd name="connsiteX179" fmla="*/ 772427 w 3925202"/>
                <a:gd name="connsiteY179" fmla="*/ 2076450 h 2552700"/>
                <a:gd name="connsiteX180" fmla="*/ 715277 w 3925202"/>
                <a:gd name="connsiteY180" fmla="*/ 2038350 h 2552700"/>
                <a:gd name="connsiteX181" fmla="*/ 686702 w 3925202"/>
                <a:gd name="connsiteY181" fmla="*/ 2019300 h 2552700"/>
                <a:gd name="connsiteX182" fmla="*/ 658127 w 3925202"/>
                <a:gd name="connsiteY182" fmla="*/ 1962150 h 2552700"/>
                <a:gd name="connsiteX183" fmla="*/ 648602 w 3925202"/>
                <a:gd name="connsiteY183" fmla="*/ 1876425 h 2552700"/>
                <a:gd name="connsiteX184" fmla="*/ 515252 w 3925202"/>
                <a:gd name="connsiteY184" fmla="*/ 1885950 h 2552700"/>
                <a:gd name="connsiteX185" fmla="*/ 458102 w 3925202"/>
                <a:gd name="connsiteY185" fmla="*/ 1905000 h 2552700"/>
                <a:gd name="connsiteX186" fmla="*/ 429527 w 3925202"/>
                <a:gd name="connsiteY186" fmla="*/ 1914525 h 2552700"/>
                <a:gd name="connsiteX187" fmla="*/ 448577 w 3925202"/>
                <a:gd name="connsiteY187" fmla="*/ 1943100 h 2552700"/>
                <a:gd name="connsiteX188" fmla="*/ 448577 w 3925202"/>
                <a:gd name="connsiteY188" fmla="*/ 2028825 h 2552700"/>
                <a:gd name="connsiteX189" fmla="*/ 420002 w 3925202"/>
                <a:gd name="connsiteY189" fmla="*/ 2057400 h 2552700"/>
                <a:gd name="connsiteX190" fmla="*/ 381902 w 3925202"/>
                <a:gd name="connsiteY190" fmla="*/ 2114550 h 2552700"/>
                <a:gd name="connsiteX191" fmla="*/ 372377 w 3925202"/>
                <a:gd name="connsiteY191" fmla="*/ 2143125 h 2552700"/>
                <a:gd name="connsiteX192" fmla="*/ 343802 w 3925202"/>
                <a:gd name="connsiteY192" fmla="*/ 2152650 h 2552700"/>
                <a:gd name="connsiteX193" fmla="*/ 305702 w 3925202"/>
                <a:gd name="connsiteY193" fmla="*/ 2143125 h 2552700"/>
                <a:gd name="connsiteX194" fmla="*/ 277127 w 3925202"/>
                <a:gd name="connsiteY194" fmla="*/ 2057400 h 2552700"/>
                <a:gd name="connsiteX195" fmla="*/ 267602 w 3925202"/>
                <a:gd name="connsiteY195" fmla="*/ 1905000 h 2552700"/>
                <a:gd name="connsiteX196" fmla="*/ 248552 w 3925202"/>
                <a:gd name="connsiteY196" fmla="*/ 1876425 h 2552700"/>
                <a:gd name="connsiteX197" fmla="*/ 305702 w 3925202"/>
                <a:gd name="connsiteY197" fmla="*/ 1828800 h 2552700"/>
                <a:gd name="connsiteX198" fmla="*/ 286652 w 3925202"/>
                <a:gd name="connsiteY198" fmla="*/ 1800225 h 2552700"/>
                <a:gd name="connsiteX199" fmla="*/ 277127 w 3925202"/>
                <a:gd name="connsiteY199" fmla="*/ 1771650 h 2552700"/>
                <a:gd name="connsiteX200" fmla="*/ 210452 w 3925202"/>
                <a:gd name="connsiteY200" fmla="*/ 1714500 h 2552700"/>
                <a:gd name="connsiteX201" fmla="*/ 181877 w 3925202"/>
                <a:gd name="connsiteY201" fmla="*/ 1685925 h 2552700"/>
                <a:gd name="connsiteX202" fmla="*/ 172352 w 3925202"/>
                <a:gd name="connsiteY202" fmla="*/ 1647825 h 2552700"/>
                <a:gd name="connsiteX203" fmla="*/ 115202 w 3925202"/>
                <a:gd name="connsiteY203" fmla="*/ 1609725 h 2552700"/>
                <a:gd name="connsiteX204" fmla="*/ 86627 w 3925202"/>
                <a:gd name="connsiteY204" fmla="*/ 1590675 h 2552700"/>
                <a:gd name="connsiteX205" fmla="*/ 29477 w 3925202"/>
                <a:gd name="connsiteY205" fmla="*/ 1571625 h 2552700"/>
                <a:gd name="connsiteX206" fmla="*/ 902 w 3925202"/>
                <a:gd name="connsiteY206" fmla="*/ 1543050 h 2552700"/>
                <a:gd name="connsiteX207" fmla="*/ 10427 w 3925202"/>
                <a:gd name="connsiteY207" fmla="*/ 1504950 h 2552700"/>
                <a:gd name="connsiteX208" fmla="*/ 58052 w 3925202"/>
                <a:gd name="connsiteY208" fmla="*/ 1457325 h 2552700"/>
                <a:gd name="connsiteX209" fmla="*/ 96152 w 3925202"/>
                <a:gd name="connsiteY209" fmla="*/ 1466850 h 2552700"/>
                <a:gd name="connsiteX210" fmla="*/ 124727 w 3925202"/>
                <a:gd name="connsiteY210" fmla="*/ 1495425 h 2552700"/>
                <a:gd name="connsiteX211" fmla="*/ 181877 w 3925202"/>
                <a:gd name="connsiteY211" fmla="*/ 1524000 h 2552700"/>
                <a:gd name="connsiteX212" fmla="*/ 229502 w 3925202"/>
                <a:gd name="connsiteY212" fmla="*/ 1457325 h 2552700"/>
                <a:gd name="connsiteX213" fmla="*/ 324752 w 3925202"/>
                <a:gd name="connsiteY213" fmla="*/ 1428750 h 2552700"/>
                <a:gd name="connsiteX214" fmla="*/ 353327 w 3925202"/>
                <a:gd name="connsiteY214" fmla="*/ 1371600 h 2552700"/>
                <a:gd name="connsiteX215" fmla="*/ 372377 w 3925202"/>
                <a:gd name="connsiteY215" fmla="*/ 1343025 h 2552700"/>
                <a:gd name="connsiteX216" fmla="*/ 362852 w 3925202"/>
                <a:gd name="connsiteY216" fmla="*/ 1304925 h 2552700"/>
                <a:gd name="connsiteX217" fmla="*/ 353327 w 3925202"/>
                <a:gd name="connsiteY217" fmla="*/ 1257300 h 2552700"/>
                <a:gd name="connsiteX218" fmla="*/ 400952 w 3925202"/>
                <a:gd name="connsiteY218" fmla="*/ 1266825 h 2552700"/>
                <a:gd name="connsiteX219" fmla="*/ 439052 w 3925202"/>
                <a:gd name="connsiteY219" fmla="*/ 1276350 h 2552700"/>
                <a:gd name="connsiteX220" fmla="*/ 524777 w 3925202"/>
                <a:gd name="connsiteY220" fmla="*/ 1266825 h 2552700"/>
                <a:gd name="connsiteX221" fmla="*/ 591452 w 3925202"/>
                <a:gd name="connsiteY221" fmla="*/ 1238250 h 2552700"/>
                <a:gd name="connsiteX222" fmla="*/ 600977 w 3925202"/>
                <a:gd name="connsiteY222" fmla="*/ 1209675 h 2552700"/>
                <a:gd name="connsiteX223" fmla="*/ 610502 w 3925202"/>
                <a:gd name="connsiteY223" fmla="*/ 1171575 h 2552700"/>
                <a:gd name="connsiteX224" fmla="*/ 667652 w 3925202"/>
                <a:gd name="connsiteY224" fmla="*/ 1162050 h 2552700"/>
                <a:gd name="connsiteX225" fmla="*/ 639077 w 3925202"/>
                <a:gd name="connsiteY225" fmla="*/ 1104900 h 2552700"/>
                <a:gd name="connsiteX226" fmla="*/ 629552 w 3925202"/>
                <a:gd name="connsiteY226" fmla="*/ 1076325 h 2552700"/>
                <a:gd name="connsiteX227" fmla="*/ 562877 w 3925202"/>
                <a:gd name="connsiteY227" fmla="*/ 1047750 h 2552700"/>
                <a:gd name="connsiteX228" fmla="*/ 572402 w 3925202"/>
                <a:gd name="connsiteY228" fmla="*/ 933450 h 2552700"/>
                <a:gd name="connsiteX229" fmla="*/ 610502 w 3925202"/>
                <a:gd name="connsiteY229" fmla="*/ 923925 h 2552700"/>
                <a:gd name="connsiteX230" fmla="*/ 667652 w 3925202"/>
                <a:gd name="connsiteY230" fmla="*/ 904875 h 2552700"/>
                <a:gd name="connsiteX231" fmla="*/ 658127 w 3925202"/>
                <a:gd name="connsiteY231" fmla="*/ 876300 h 2552700"/>
                <a:gd name="connsiteX232" fmla="*/ 648602 w 3925202"/>
                <a:gd name="connsiteY232" fmla="*/ 819150 h 2552700"/>
                <a:gd name="connsiteX233" fmla="*/ 677177 w 3925202"/>
                <a:gd name="connsiteY233" fmla="*/ 809625 h 2552700"/>
                <a:gd name="connsiteX234" fmla="*/ 705752 w 3925202"/>
                <a:gd name="connsiteY234" fmla="*/ 790575 h 2552700"/>
                <a:gd name="connsiteX235" fmla="*/ 743852 w 3925202"/>
                <a:gd name="connsiteY235" fmla="*/ 771525 h 2552700"/>
                <a:gd name="connsiteX236" fmla="*/ 753377 w 3925202"/>
                <a:gd name="connsiteY236" fmla="*/ 742950 h 2552700"/>
                <a:gd name="connsiteX237" fmla="*/ 743852 w 3925202"/>
                <a:gd name="connsiteY237" fmla="*/ 704850 h 2552700"/>
                <a:gd name="connsiteX238" fmla="*/ 781952 w 3925202"/>
                <a:gd name="connsiteY238" fmla="*/ 647700 h 2552700"/>
                <a:gd name="connsiteX239" fmla="*/ 791477 w 3925202"/>
                <a:gd name="connsiteY239" fmla="*/ 533400 h 2552700"/>
                <a:gd name="connsiteX240" fmla="*/ 829577 w 3925202"/>
                <a:gd name="connsiteY240" fmla="*/ 552450 h 255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</a:cxnLst>
              <a:rect l="l" t="t" r="r" b="b"/>
              <a:pathLst>
                <a:path w="3925202" h="2552700">
                  <a:moveTo>
                    <a:pt x="829577" y="552450"/>
                  </a:moveTo>
                  <a:cubicBezTo>
                    <a:pt x="843864" y="552450"/>
                    <a:pt x="861193" y="539403"/>
                    <a:pt x="877202" y="533400"/>
                  </a:cubicBezTo>
                  <a:cubicBezTo>
                    <a:pt x="886603" y="529875"/>
                    <a:pt x="896797" y="528365"/>
                    <a:pt x="905777" y="523875"/>
                  </a:cubicBezTo>
                  <a:cubicBezTo>
                    <a:pt x="916016" y="518755"/>
                    <a:pt x="924827" y="511175"/>
                    <a:pt x="934352" y="504825"/>
                  </a:cubicBezTo>
                  <a:cubicBezTo>
                    <a:pt x="959752" y="508000"/>
                    <a:pt x="988441" y="501452"/>
                    <a:pt x="1010552" y="514350"/>
                  </a:cubicBezTo>
                  <a:cubicBezTo>
                    <a:pt x="1030328" y="525886"/>
                    <a:pt x="1035952" y="552450"/>
                    <a:pt x="1048652" y="571500"/>
                  </a:cubicBezTo>
                  <a:cubicBezTo>
                    <a:pt x="1063596" y="593916"/>
                    <a:pt x="1090858" y="606234"/>
                    <a:pt x="1105802" y="628650"/>
                  </a:cubicBezTo>
                  <a:cubicBezTo>
                    <a:pt x="1112152" y="638175"/>
                    <a:pt x="1115913" y="650074"/>
                    <a:pt x="1124852" y="657225"/>
                  </a:cubicBezTo>
                  <a:cubicBezTo>
                    <a:pt x="1132692" y="663497"/>
                    <a:pt x="1143902" y="663575"/>
                    <a:pt x="1153427" y="666750"/>
                  </a:cubicBezTo>
                  <a:cubicBezTo>
                    <a:pt x="1162952" y="676275"/>
                    <a:pt x="1170794" y="687853"/>
                    <a:pt x="1182002" y="695325"/>
                  </a:cubicBezTo>
                  <a:cubicBezTo>
                    <a:pt x="1190356" y="700894"/>
                    <a:pt x="1200673" y="703199"/>
                    <a:pt x="1210577" y="704850"/>
                  </a:cubicBezTo>
                  <a:cubicBezTo>
                    <a:pt x="1238937" y="709577"/>
                    <a:pt x="1267840" y="710309"/>
                    <a:pt x="1296302" y="714375"/>
                  </a:cubicBezTo>
                  <a:cubicBezTo>
                    <a:pt x="1312329" y="716665"/>
                    <a:pt x="1328052" y="720725"/>
                    <a:pt x="1343927" y="723900"/>
                  </a:cubicBezTo>
                  <a:lnTo>
                    <a:pt x="1429652" y="781050"/>
                  </a:lnTo>
                  <a:cubicBezTo>
                    <a:pt x="1440860" y="788522"/>
                    <a:pt x="1446179" y="803601"/>
                    <a:pt x="1458227" y="809625"/>
                  </a:cubicBezTo>
                  <a:cubicBezTo>
                    <a:pt x="1472707" y="816865"/>
                    <a:pt x="1489805" y="817010"/>
                    <a:pt x="1505852" y="819150"/>
                  </a:cubicBezTo>
                  <a:cubicBezTo>
                    <a:pt x="1537480" y="823367"/>
                    <a:pt x="1569352" y="825500"/>
                    <a:pt x="1601102" y="828675"/>
                  </a:cubicBezTo>
                  <a:cubicBezTo>
                    <a:pt x="1686605" y="857176"/>
                    <a:pt x="1589310" y="828675"/>
                    <a:pt x="1791602" y="828675"/>
                  </a:cubicBezTo>
                  <a:cubicBezTo>
                    <a:pt x="1823510" y="828675"/>
                    <a:pt x="1855102" y="835025"/>
                    <a:pt x="1886852" y="838200"/>
                  </a:cubicBezTo>
                  <a:cubicBezTo>
                    <a:pt x="1896377" y="841375"/>
                    <a:pt x="1905773" y="844967"/>
                    <a:pt x="1915427" y="847725"/>
                  </a:cubicBezTo>
                  <a:cubicBezTo>
                    <a:pt x="1928014" y="851321"/>
                    <a:pt x="1941495" y="852093"/>
                    <a:pt x="1953527" y="857250"/>
                  </a:cubicBezTo>
                  <a:cubicBezTo>
                    <a:pt x="1964049" y="861759"/>
                    <a:pt x="1972577" y="869950"/>
                    <a:pt x="1982102" y="876300"/>
                  </a:cubicBezTo>
                  <a:cubicBezTo>
                    <a:pt x="2050046" y="853652"/>
                    <a:pt x="1967903" y="885766"/>
                    <a:pt x="2039252" y="838200"/>
                  </a:cubicBezTo>
                  <a:cubicBezTo>
                    <a:pt x="2047606" y="832631"/>
                    <a:pt x="2058302" y="831850"/>
                    <a:pt x="2067827" y="828675"/>
                  </a:cubicBezTo>
                  <a:cubicBezTo>
                    <a:pt x="2083702" y="831850"/>
                    <a:pt x="2099746" y="834273"/>
                    <a:pt x="2115452" y="838200"/>
                  </a:cubicBezTo>
                  <a:cubicBezTo>
                    <a:pt x="2125192" y="840635"/>
                    <a:pt x="2134373" y="844967"/>
                    <a:pt x="2144027" y="847725"/>
                  </a:cubicBezTo>
                  <a:cubicBezTo>
                    <a:pt x="2156614" y="851321"/>
                    <a:pt x="2169540" y="853654"/>
                    <a:pt x="2182127" y="857250"/>
                  </a:cubicBezTo>
                  <a:cubicBezTo>
                    <a:pt x="2191781" y="860008"/>
                    <a:pt x="2200901" y="864597"/>
                    <a:pt x="2210702" y="866775"/>
                  </a:cubicBezTo>
                  <a:cubicBezTo>
                    <a:pt x="2258114" y="877311"/>
                    <a:pt x="2353577" y="895350"/>
                    <a:pt x="2353577" y="895350"/>
                  </a:cubicBezTo>
                  <a:cubicBezTo>
                    <a:pt x="2378977" y="886883"/>
                    <a:pt x="2392585" y="888845"/>
                    <a:pt x="2401202" y="857250"/>
                  </a:cubicBezTo>
                  <a:cubicBezTo>
                    <a:pt x="2425974" y="766420"/>
                    <a:pt x="2380951" y="790975"/>
                    <a:pt x="2439302" y="771525"/>
                  </a:cubicBezTo>
                  <a:cubicBezTo>
                    <a:pt x="2445652" y="762000"/>
                    <a:pt x="2453232" y="753189"/>
                    <a:pt x="2458352" y="742950"/>
                  </a:cubicBezTo>
                  <a:cubicBezTo>
                    <a:pt x="2462842" y="733970"/>
                    <a:pt x="2461713" y="722300"/>
                    <a:pt x="2467877" y="714375"/>
                  </a:cubicBezTo>
                  <a:cubicBezTo>
                    <a:pt x="2484417" y="693109"/>
                    <a:pt x="2525027" y="657225"/>
                    <a:pt x="2525027" y="657225"/>
                  </a:cubicBezTo>
                  <a:cubicBezTo>
                    <a:pt x="2521307" y="649786"/>
                    <a:pt x="2496452" y="604565"/>
                    <a:pt x="2496452" y="590550"/>
                  </a:cubicBezTo>
                  <a:cubicBezTo>
                    <a:pt x="2496452" y="574361"/>
                    <a:pt x="2502802" y="558800"/>
                    <a:pt x="2505977" y="542925"/>
                  </a:cubicBezTo>
                  <a:cubicBezTo>
                    <a:pt x="2589459" y="626407"/>
                    <a:pt x="2487297" y="520509"/>
                    <a:pt x="2553602" y="600075"/>
                  </a:cubicBezTo>
                  <a:cubicBezTo>
                    <a:pt x="2562226" y="610423"/>
                    <a:pt x="2573553" y="618302"/>
                    <a:pt x="2582177" y="628650"/>
                  </a:cubicBezTo>
                  <a:cubicBezTo>
                    <a:pt x="2589506" y="637444"/>
                    <a:pt x="2593622" y="648669"/>
                    <a:pt x="2601227" y="657225"/>
                  </a:cubicBezTo>
                  <a:cubicBezTo>
                    <a:pt x="2619125" y="677361"/>
                    <a:pt x="2658377" y="714375"/>
                    <a:pt x="2658377" y="714375"/>
                  </a:cubicBezTo>
                  <a:cubicBezTo>
                    <a:pt x="2683777" y="711200"/>
                    <a:pt x="2711186" y="715246"/>
                    <a:pt x="2734577" y="704850"/>
                  </a:cubicBezTo>
                  <a:cubicBezTo>
                    <a:pt x="2743752" y="700772"/>
                    <a:pt x="2744102" y="686315"/>
                    <a:pt x="2744102" y="676275"/>
                  </a:cubicBezTo>
                  <a:cubicBezTo>
                    <a:pt x="2744102" y="624944"/>
                    <a:pt x="2738528" y="625052"/>
                    <a:pt x="2715527" y="590550"/>
                  </a:cubicBezTo>
                  <a:cubicBezTo>
                    <a:pt x="2731782" y="476762"/>
                    <a:pt x="2715578" y="561798"/>
                    <a:pt x="2734577" y="495300"/>
                  </a:cubicBezTo>
                  <a:cubicBezTo>
                    <a:pt x="2738173" y="482713"/>
                    <a:pt x="2738945" y="469232"/>
                    <a:pt x="2744102" y="457200"/>
                  </a:cubicBezTo>
                  <a:cubicBezTo>
                    <a:pt x="2748611" y="446678"/>
                    <a:pt x="2756802" y="438150"/>
                    <a:pt x="2763152" y="428625"/>
                  </a:cubicBezTo>
                  <a:cubicBezTo>
                    <a:pt x="2766327" y="412750"/>
                    <a:pt x="2765437" y="395480"/>
                    <a:pt x="2772677" y="381000"/>
                  </a:cubicBezTo>
                  <a:cubicBezTo>
                    <a:pt x="2784603" y="357148"/>
                    <a:pt x="2811072" y="349004"/>
                    <a:pt x="2829827" y="333375"/>
                  </a:cubicBezTo>
                  <a:cubicBezTo>
                    <a:pt x="2903166" y="272259"/>
                    <a:pt x="2816031" y="333048"/>
                    <a:pt x="2886977" y="285750"/>
                  </a:cubicBezTo>
                  <a:cubicBezTo>
                    <a:pt x="2890152" y="269875"/>
                    <a:pt x="2890818" y="253284"/>
                    <a:pt x="2896502" y="238125"/>
                  </a:cubicBezTo>
                  <a:cubicBezTo>
                    <a:pt x="2900522" y="227406"/>
                    <a:pt x="2910432" y="219789"/>
                    <a:pt x="2915552" y="209550"/>
                  </a:cubicBezTo>
                  <a:cubicBezTo>
                    <a:pt x="2920042" y="200570"/>
                    <a:pt x="2921902" y="190500"/>
                    <a:pt x="2925077" y="180975"/>
                  </a:cubicBezTo>
                  <a:cubicBezTo>
                    <a:pt x="2934602" y="187325"/>
                    <a:pt x="2945557" y="191930"/>
                    <a:pt x="2953652" y="200025"/>
                  </a:cubicBezTo>
                  <a:cubicBezTo>
                    <a:pt x="2964877" y="211250"/>
                    <a:pt x="2971896" y="226072"/>
                    <a:pt x="2982227" y="238125"/>
                  </a:cubicBezTo>
                  <a:cubicBezTo>
                    <a:pt x="2990993" y="248352"/>
                    <a:pt x="3001277" y="257175"/>
                    <a:pt x="3010802" y="266700"/>
                  </a:cubicBezTo>
                  <a:cubicBezTo>
                    <a:pt x="3013388" y="253768"/>
                    <a:pt x="3024087" y="196348"/>
                    <a:pt x="3029852" y="180975"/>
                  </a:cubicBezTo>
                  <a:cubicBezTo>
                    <a:pt x="3034838" y="167680"/>
                    <a:pt x="3043309" y="155926"/>
                    <a:pt x="3048902" y="142875"/>
                  </a:cubicBezTo>
                  <a:cubicBezTo>
                    <a:pt x="3052857" y="133647"/>
                    <a:pt x="3052155" y="122140"/>
                    <a:pt x="3058427" y="114300"/>
                  </a:cubicBezTo>
                  <a:cubicBezTo>
                    <a:pt x="3065578" y="105361"/>
                    <a:pt x="3077477" y="101600"/>
                    <a:pt x="3087002" y="95250"/>
                  </a:cubicBezTo>
                  <a:cubicBezTo>
                    <a:pt x="3097458" y="79566"/>
                    <a:pt x="3129573" y="23299"/>
                    <a:pt x="3153677" y="9525"/>
                  </a:cubicBezTo>
                  <a:cubicBezTo>
                    <a:pt x="3165043" y="3030"/>
                    <a:pt x="3179077" y="3175"/>
                    <a:pt x="3191777" y="0"/>
                  </a:cubicBezTo>
                  <a:cubicBezTo>
                    <a:pt x="3201302" y="3175"/>
                    <a:pt x="3212512" y="3253"/>
                    <a:pt x="3220352" y="9525"/>
                  </a:cubicBezTo>
                  <a:cubicBezTo>
                    <a:pt x="3229291" y="16676"/>
                    <a:pt x="3231797" y="29544"/>
                    <a:pt x="3239402" y="38100"/>
                  </a:cubicBezTo>
                  <a:cubicBezTo>
                    <a:pt x="3293507" y="98968"/>
                    <a:pt x="3274774" y="87991"/>
                    <a:pt x="3325127" y="104775"/>
                  </a:cubicBezTo>
                  <a:cubicBezTo>
                    <a:pt x="3456509" y="192363"/>
                    <a:pt x="3326228" y="96351"/>
                    <a:pt x="3410852" y="180975"/>
                  </a:cubicBezTo>
                  <a:cubicBezTo>
                    <a:pt x="3418947" y="189070"/>
                    <a:pt x="3430633" y="192696"/>
                    <a:pt x="3439427" y="200025"/>
                  </a:cubicBezTo>
                  <a:cubicBezTo>
                    <a:pt x="3449775" y="208649"/>
                    <a:pt x="3458477" y="219075"/>
                    <a:pt x="3468002" y="228600"/>
                  </a:cubicBezTo>
                  <a:cubicBezTo>
                    <a:pt x="3471177" y="238125"/>
                    <a:pt x="3479178" y="247271"/>
                    <a:pt x="3477527" y="257175"/>
                  </a:cubicBezTo>
                  <a:cubicBezTo>
                    <a:pt x="3475645" y="268467"/>
                    <a:pt x="3462986" y="275228"/>
                    <a:pt x="3458477" y="285750"/>
                  </a:cubicBezTo>
                  <a:cubicBezTo>
                    <a:pt x="3453320" y="297782"/>
                    <a:pt x="3452127" y="311150"/>
                    <a:pt x="3448952" y="323850"/>
                  </a:cubicBezTo>
                  <a:cubicBezTo>
                    <a:pt x="3452127" y="339725"/>
                    <a:pt x="3451237" y="356995"/>
                    <a:pt x="3458477" y="371475"/>
                  </a:cubicBezTo>
                  <a:cubicBezTo>
                    <a:pt x="3464501" y="383523"/>
                    <a:pt x="3478428" y="389702"/>
                    <a:pt x="3487052" y="400050"/>
                  </a:cubicBezTo>
                  <a:cubicBezTo>
                    <a:pt x="3501119" y="416931"/>
                    <a:pt x="3516932" y="447544"/>
                    <a:pt x="3525152" y="466725"/>
                  </a:cubicBezTo>
                  <a:cubicBezTo>
                    <a:pt x="3529107" y="475953"/>
                    <a:pt x="3531502" y="485775"/>
                    <a:pt x="3534677" y="495300"/>
                  </a:cubicBezTo>
                  <a:cubicBezTo>
                    <a:pt x="3479400" y="532151"/>
                    <a:pt x="3533167" y="502243"/>
                    <a:pt x="3439427" y="523875"/>
                  </a:cubicBezTo>
                  <a:cubicBezTo>
                    <a:pt x="3419861" y="528390"/>
                    <a:pt x="3382277" y="542925"/>
                    <a:pt x="3382277" y="542925"/>
                  </a:cubicBezTo>
                  <a:cubicBezTo>
                    <a:pt x="3349389" y="575813"/>
                    <a:pt x="3356332" y="571564"/>
                    <a:pt x="3315602" y="600075"/>
                  </a:cubicBezTo>
                  <a:cubicBezTo>
                    <a:pt x="3296845" y="613205"/>
                    <a:pt x="3258452" y="638175"/>
                    <a:pt x="3258452" y="638175"/>
                  </a:cubicBezTo>
                  <a:lnTo>
                    <a:pt x="3220352" y="695325"/>
                  </a:lnTo>
                  <a:cubicBezTo>
                    <a:pt x="3213090" y="706217"/>
                    <a:pt x="3215984" y="721393"/>
                    <a:pt x="3210827" y="733425"/>
                  </a:cubicBezTo>
                  <a:cubicBezTo>
                    <a:pt x="3206318" y="743947"/>
                    <a:pt x="3198127" y="752475"/>
                    <a:pt x="3191777" y="762000"/>
                  </a:cubicBezTo>
                  <a:cubicBezTo>
                    <a:pt x="3214107" y="828991"/>
                    <a:pt x="3180689" y="757565"/>
                    <a:pt x="3287027" y="800100"/>
                  </a:cubicBezTo>
                  <a:cubicBezTo>
                    <a:pt x="3296349" y="803829"/>
                    <a:pt x="3289452" y="821575"/>
                    <a:pt x="3296552" y="828675"/>
                  </a:cubicBezTo>
                  <a:cubicBezTo>
                    <a:pt x="3303652" y="835775"/>
                    <a:pt x="3315114" y="837458"/>
                    <a:pt x="3325127" y="838200"/>
                  </a:cubicBezTo>
                  <a:cubicBezTo>
                    <a:pt x="3401185" y="843834"/>
                    <a:pt x="3477527" y="844550"/>
                    <a:pt x="3553727" y="847725"/>
                  </a:cubicBezTo>
                  <a:cubicBezTo>
                    <a:pt x="3569465" y="849474"/>
                    <a:pt x="3640102" y="851261"/>
                    <a:pt x="3668027" y="866775"/>
                  </a:cubicBezTo>
                  <a:cubicBezTo>
                    <a:pt x="3688041" y="877894"/>
                    <a:pt x="3725177" y="904875"/>
                    <a:pt x="3725177" y="904875"/>
                  </a:cubicBezTo>
                  <a:cubicBezTo>
                    <a:pt x="3747402" y="971550"/>
                    <a:pt x="3725177" y="955675"/>
                    <a:pt x="3772802" y="971550"/>
                  </a:cubicBezTo>
                  <a:cubicBezTo>
                    <a:pt x="3782327" y="977900"/>
                    <a:pt x="3790916" y="985951"/>
                    <a:pt x="3801377" y="990600"/>
                  </a:cubicBezTo>
                  <a:cubicBezTo>
                    <a:pt x="3819727" y="998755"/>
                    <a:pt x="3858527" y="1009650"/>
                    <a:pt x="3858527" y="1009650"/>
                  </a:cubicBezTo>
                  <a:cubicBezTo>
                    <a:pt x="3868052" y="1019175"/>
                    <a:pt x="3878832" y="1027592"/>
                    <a:pt x="3887102" y="1038225"/>
                  </a:cubicBezTo>
                  <a:cubicBezTo>
                    <a:pt x="3901158" y="1056297"/>
                    <a:pt x="3925202" y="1095375"/>
                    <a:pt x="3925202" y="1095375"/>
                  </a:cubicBezTo>
                  <a:cubicBezTo>
                    <a:pt x="3908463" y="1145593"/>
                    <a:pt x="3926740" y="1104959"/>
                    <a:pt x="3887102" y="1152525"/>
                  </a:cubicBezTo>
                  <a:cubicBezTo>
                    <a:pt x="3863583" y="1180747"/>
                    <a:pt x="3875696" y="1184628"/>
                    <a:pt x="3839477" y="1200150"/>
                  </a:cubicBezTo>
                  <a:cubicBezTo>
                    <a:pt x="3827445" y="1205307"/>
                    <a:pt x="3813964" y="1206079"/>
                    <a:pt x="3801377" y="1209675"/>
                  </a:cubicBezTo>
                  <a:cubicBezTo>
                    <a:pt x="3791723" y="1212433"/>
                    <a:pt x="3782327" y="1216025"/>
                    <a:pt x="3772802" y="1219200"/>
                  </a:cubicBezTo>
                  <a:cubicBezTo>
                    <a:pt x="3707149" y="1262969"/>
                    <a:pt x="3720071" y="1242453"/>
                    <a:pt x="3753752" y="1390650"/>
                  </a:cubicBezTo>
                  <a:cubicBezTo>
                    <a:pt x="3758826" y="1412976"/>
                    <a:pt x="3779152" y="1428750"/>
                    <a:pt x="3791852" y="1447800"/>
                  </a:cubicBezTo>
                  <a:lnTo>
                    <a:pt x="3810902" y="1476375"/>
                  </a:lnTo>
                  <a:cubicBezTo>
                    <a:pt x="3801377" y="1482725"/>
                    <a:pt x="3792566" y="1490305"/>
                    <a:pt x="3782327" y="1495425"/>
                  </a:cubicBezTo>
                  <a:cubicBezTo>
                    <a:pt x="3744499" y="1514339"/>
                    <a:pt x="3760274" y="1492803"/>
                    <a:pt x="3725177" y="1524000"/>
                  </a:cubicBezTo>
                  <a:cubicBezTo>
                    <a:pt x="3705041" y="1541898"/>
                    <a:pt x="3668027" y="1581150"/>
                    <a:pt x="3668027" y="1581150"/>
                  </a:cubicBezTo>
                  <a:cubicBezTo>
                    <a:pt x="3671202" y="1590675"/>
                    <a:pt x="3669382" y="1603889"/>
                    <a:pt x="3677552" y="1609725"/>
                  </a:cubicBezTo>
                  <a:cubicBezTo>
                    <a:pt x="3693892" y="1621397"/>
                    <a:pt x="3734702" y="1628775"/>
                    <a:pt x="3734702" y="1628775"/>
                  </a:cubicBezTo>
                  <a:cubicBezTo>
                    <a:pt x="3731527" y="1641475"/>
                    <a:pt x="3733797" y="1657023"/>
                    <a:pt x="3725177" y="1666875"/>
                  </a:cubicBezTo>
                  <a:cubicBezTo>
                    <a:pt x="3690541" y="1706459"/>
                    <a:pt x="3671138" y="1702725"/>
                    <a:pt x="3629927" y="1714500"/>
                  </a:cubicBezTo>
                  <a:cubicBezTo>
                    <a:pt x="3620273" y="1717258"/>
                    <a:pt x="3610877" y="1720850"/>
                    <a:pt x="3601352" y="1724025"/>
                  </a:cubicBezTo>
                  <a:cubicBezTo>
                    <a:pt x="3591720" y="1738472"/>
                    <a:pt x="3572777" y="1761457"/>
                    <a:pt x="3572777" y="1781175"/>
                  </a:cubicBezTo>
                  <a:cubicBezTo>
                    <a:pt x="3572777" y="1816244"/>
                    <a:pt x="3574954" y="1851659"/>
                    <a:pt x="3582302" y="1885950"/>
                  </a:cubicBezTo>
                  <a:cubicBezTo>
                    <a:pt x="3584701" y="1897144"/>
                    <a:pt x="3596232" y="1904286"/>
                    <a:pt x="3601352" y="1914525"/>
                  </a:cubicBezTo>
                  <a:cubicBezTo>
                    <a:pt x="3640787" y="1993395"/>
                    <a:pt x="3575332" y="1889783"/>
                    <a:pt x="3629927" y="1971675"/>
                  </a:cubicBezTo>
                  <a:cubicBezTo>
                    <a:pt x="3626752" y="1997075"/>
                    <a:pt x="3638502" y="2029775"/>
                    <a:pt x="3620402" y="2047875"/>
                  </a:cubicBezTo>
                  <a:cubicBezTo>
                    <a:pt x="3606746" y="2061531"/>
                    <a:pt x="3580526" y="2046987"/>
                    <a:pt x="3563252" y="2038350"/>
                  </a:cubicBezTo>
                  <a:cubicBezTo>
                    <a:pt x="3548480" y="2030964"/>
                    <a:pt x="3539185" y="1994724"/>
                    <a:pt x="3534677" y="1981200"/>
                  </a:cubicBezTo>
                  <a:cubicBezTo>
                    <a:pt x="3515627" y="1984375"/>
                    <a:pt x="3494209" y="1980994"/>
                    <a:pt x="3477527" y="1990725"/>
                  </a:cubicBezTo>
                  <a:cubicBezTo>
                    <a:pt x="3454256" y="2004300"/>
                    <a:pt x="3441930" y="2031711"/>
                    <a:pt x="3420377" y="2047875"/>
                  </a:cubicBezTo>
                  <a:cubicBezTo>
                    <a:pt x="3407677" y="2057400"/>
                    <a:pt x="3394330" y="2066119"/>
                    <a:pt x="3382277" y="2076450"/>
                  </a:cubicBezTo>
                  <a:cubicBezTo>
                    <a:pt x="3318105" y="2131455"/>
                    <a:pt x="3388282" y="2081971"/>
                    <a:pt x="3325127" y="2124075"/>
                  </a:cubicBezTo>
                  <a:cubicBezTo>
                    <a:pt x="3321952" y="2136775"/>
                    <a:pt x="3317754" y="2149262"/>
                    <a:pt x="3315602" y="2162175"/>
                  </a:cubicBezTo>
                  <a:cubicBezTo>
                    <a:pt x="3311394" y="2187424"/>
                    <a:pt x="3312812" y="2213679"/>
                    <a:pt x="3306077" y="2238375"/>
                  </a:cubicBezTo>
                  <a:cubicBezTo>
                    <a:pt x="3303065" y="2249419"/>
                    <a:pt x="3292707" y="2257011"/>
                    <a:pt x="3287027" y="2266950"/>
                  </a:cubicBezTo>
                  <a:cubicBezTo>
                    <a:pt x="3279982" y="2279278"/>
                    <a:pt x="3273570" y="2291999"/>
                    <a:pt x="3267977" y="2305050"/>
                  </a:cubicBezTo>
                  <a:cubicBezTo>
                    <a:pt x="3264022" y="2314278"/>
                    <a:pt x="3260630" y="2323824"/>
                    <a:pt x="3258452" y="2333625"/>
                  </a:cubicBezTo>
                  <a:cubicBezTo>
                    <a:pt x="3254262" y="2352478"/>
                    <a:pt x="3260002" y="2374953"/>
                    <a:pt x="3248927" y="2390775"/>
                  </a:cubicBezTo>
                  <a:cubicBezTo>
                    <a:pt x="3235797" y="2409532"/>
                    <a:pt x="3210827" y="2416175"/>
                    <a:pt x="3191777" y="2428875"/>
                  </a:cubicBezTo>
                  <a:cubicBezTo>
                    <a:pt x="3175069" y="2440014"/>
                    <a:pt x="3134627" y="2447925"/>
                    <a:pt x="3134627" y="2447925"/>
                  </a:cubicBezTo>
                  <a:cubicBezTo>
                    <a:pt x="3125102" y="2457450"/>
                    <a:pt x="3117260" y="2469028"/>
                    <a:pt x="3106052" y="2476500"/>
                  </a:cubicBezTo>
                  <a:cubicBezTo>
                    <a:pt x="3092988" y="2485209"/>
                    <a:pt x="3037546" y="2493626"/>
                    <a:pt x="3029852" y="2495550"/>
                  </a:cubicBezTo>
                  <a:cubicBezTo>
                    <a:pt x="3020112" y="2497985"/>
                    <a:pt x="3010931" y="2502317"/>
                    <a:pt x="3001277" y="2505075"/>
                  </a:cubicBezTo>
                  <a:cubicBezTo>
                    <a:pt x="2900510" y="2533865"/>
                    <a:pt x="3041840" y="2488379"/>
                    <a:pt x="2906027" y="2533650"/>
                  </a:cubicBezTo>
                  <a:cubicBezTo>
                    <a:pt x="2890668" y="2538770"/>
                    <a:pt x="2874206" y="2539663"/>
                    <a:pt x="2858402" y="2543175"/>
                  </a:cubicBezTo>
                  <a:cubicBezTo>
                    <a:pt x="2845623" y="2546015"/>
                    <a:pt x="2833002" y="2549525"/>
                    <a:pt x="2820302" y="2552700"/>
                  </a:cubicBezTo>
                  <a:lnTo>
                    <a:pt x="2734577" y="2495550"/>
                  </a:lnTo>
                  <a:cubicBezTo>
                    <a:pt x="2726223" y="2489981"/>
                    <a:pt x="2715527" y="2489200"/>
                    <a:pt x="2706002" y="2486025"/>
                  </a:cubicBezTo>
                  <a:cubicBezTo>
                    <a:pt x="2659590" y="2416407"/>
                    <a:pt x="2716241" y="2503943"/>
                    <a:pt x="2667902" y="2419350"/>
                  </a:cubicBezTo>
                  <a:cubicBezTo>
                    <a:pt x="2662222" y="2409411"/>
                    <a:pt x="2653972" y="2401014"/>
                    <a:pt x="2648852" y="2390775"/>
                  </a:cubicBezTo>
                  <a:cubicBezTo>
                    <a:pt x="2644362" y="2381795"/>
                    <a:pt x="2644896" y="2370554"/>
                    <a:pt x="2639327" y="2362200"/>
                  </a:cubicBezTo>
                  <a:cubicBezTo>
                    <a:pt x="2631855" y="2350992"/>
                    <a:pt x="2620277" y="2343150"/>
                    <a:pt x="2610752" y="2333625"/>
                  </a:cubicBezTo>
                  <a:cubicBezTo>
                    <a:pt x="2607577" y="2324100"/>
                    <a:pt x="2606796" y="2313404"/>
                    <a:pt x="2601227" y="2305050"/>
                  </a:cubicBezTo>
                  <a:cubicBezTo>
                    <a:pt x="2559096" y="2241853"/>
                    <a:pt x="2584765" y="2310226"/>
                    <a:pt x="2553602" y="2247900"/>
                  </a:cubicBezTo>
                  <a:cubicBezTo>
                    <a:pt x="2549112" y="2238920"/>
                    <a:pt x="2549646" y="2227679"/>
                    <a:pt x="2544077" y="2219325"/>
                  </a:cubicBezTo>
                  <a:cubicBezTo>
                    <a:pt x="2536605" y="2208117"/>
                    <a:pt x="2524126" y="2201098"/>
                    <a:pt x="2515502" y="2190750"/>
                  </a:cubicBezTo>
                  <a:cubicBezTo>
                    <a:pt x="2474340" y="2141356"/>
                    <a:pt x="2524062" y="2179597"/>
                    <a:pt x="2458352" y="2133600"/>
                  </a:cubicBezTo>
                  <a:cubicBezTo>
                    <a:pt x="2439595" y="2120470"/>
                    <a:pt x="2420252" y="2108200"/>
                    <a:pt x="2401202" y="2095500"/>
                  </a:cubicBezTo>
                  <a:lnTo>
                    <a:pt x="2372627" y="2076450"/>
                  </a:lnTo>
                  <a:cubicBezTo>
                    <a:pt x="2356752" y="2079625"/>
                    <a:pt x="2339058" y="2077943"/>
                    <a:pt x="2325002" y="2085975"/>
                  </a:cubicBezTo>
                  <a:cubicBezTo>
                    <a:pt x="2315063" y="2091655"/>
                    <a:pt x="2313281" y="2105756"/>
                    <a:pt x="2305952" y="2114550"/>
                  </a:cubicBezTo>
                  <a:cubicBezTo>
                    <a:pt x="2278510" y="2147480"/>
                    <a:pt x="2284020" y="2140911"/>
                    <a:pt x="2248802" y="2152650"/>
                  </a:cubicBezTo>
                  <a:cubicBezTo>
                    <a:pt x="2180760" y="2198012"/>
                    <a:pt x="2213864" y="2185197"/>
                    <a:pt x="2153552" y="2200275"/>
                  </a:cubicBezTo>
                  <a:cubicBezTo>
                    <a:pt x="2110947" y="2264182"/>
                    <a:pt x="2161136" y="2201569"/>
                    <a:pt x="2105927" y="2238375"/>
                  </a:cubicBezTo>
                  <a:cubicBezTo>
                    <a:pt x="2094719" y="2245847"/>
                    <a:pt x="2087700" y="2258326"/>
                    <a:pt x="2077352" y="2266950"/>
                  </a:cubicBezTo>
                  <a:cubicBezTo>
                    <a:pt x="2068558" y="2274279"/>
                    <a:pt x="2057571" y="2278671"/>
                    <a:pt x="2048777" y="2286000"/>
                  </a:cubicBezTo>
                  <a:cubicBezTo>
                    <a:pt x="1975438" y="2347116"/>
                    <a:pt x="2062573" y="2286327"/>
                    <a:pt x="1991627" y="2333625"/>
                  </a:cubicBezTo>
                  <a:cubicBezTo>
                    <a:pt x="1985277" y="2343150"/>
                    <a:pt x="1980672" y="2354105"/>
                    <a:pt x="1972577" y="2362200"/>
                  </a:cubicBezTo>
                  <a:cubicBezTo>
                    <a:pt x="1964482" y="2370295"/>
                    <a:pt x="1951153" y="2372311"/>
                    <a:pt x="1944002" y="2381250"/>
                  </a:cubicBezTo>
                  <a:cubicBezTo>
                    <a:pt x="1937730" y="2389090"/>
                    <a:pt x="1937652" y="2400300"/>
                    <a:pt x="1934477" y="2409825"/>
                  </a:cubicBezTo>
                  <a:cubicBezTo>
                    <a:pt x="1931302" y="2378075"/>
                    <a:pt x="1935856" y="2344562"/>
                    <a:pt x="1924952" y="2314575"/>
                  </a:cubicBezTo>
                  <a:cubicBezTo>
                    <a:pt x="1921521" y="2305139"/>
                    <a:pt x="1906316" y="2306470"/>
                    <a:pt x="1896377" y="2305050"/>
                  </a:cubicBezTo>
                  <a:cubicBezTo>
                    <a:pt x="1861660" y="2300090"/>
                    <a:pt x="1826527" y="2298700"/>
                    <a:pt x="1791602" y="2295525"/>
                  </a:cubicBezTo>
                  <a:cubicBezTo>
                    <a:pt x="1782077" y="2292350"/>
                    <a:pt x="1772007" y="2290490"/>
                    <a:pt x="1763027" y="2286000"/>
                  </a:cubicBezTo>
                  <a:cubicBezTo>
                    <a:pt x="1736505" y="2272739"/>
                    <a:pt x="1726943" y="2259441"/>
                    <a:pt x="1705877" y="2238375"/>
                  </a:cubicBezTo>
                  <a:cubicBezTo>
                    <a:pt x="1702702" y="2228850"/>
                    <a:pt x="1702624" y="2217640"/>
                    <a:pt x="1696352" y="2209800"/>
                  </a:cubicBezTo>
                  <a:cubicBezTo>
                    <a:pt x="1677465" y="2186191"/>
                    <a:pt x="1620390" y="2177211"/>
                    <a:pt x="1601102" y="2171700"/>
                  </a:cubicBezTo>
                  <a:cubicBezTo>
                    <a:pt x="1582052" y="2174875"/>
                    <a:pt x="1562805" y="2177035"/>
                    <a:pt x="1543952" y="2181225"/>
                  </a:cubicBezTo>
                  <a:cubicBezTo>
                    <a:pt x="1534151" y="2183403"/>
                    <a:pt x="1525117" y="2188315"/>
                    <a:pt x="1515377" y="2190750"/>
                  </a:cubicBezTo>
                  <a:cubicBezTo>
                    <a:pt x="1499671" y="2194677"/>
                    <a:pt x="1483259" y="2195623"/>
                    <a:pt x="1467752" y="2200275"/>
                  </a:cubicBezTo>
                  <a:cubicBezTo>
                    <a:pt x="1451375" y="2205188"/>
                    <a:pt x="1436195" y="2213482"/>
                    <a:pt x="1420127" y="2219325"/>
                  </a:cubicBezTo>
                  <a:cubicBezTo>
                    <a:pt x="1401256" y="2226187"/>
                    <a:pt x="1382027" y="2232025"/>
                    <a:pt x="1362977" y="2238375"/>
                  </a:cubicBezTo>
                  <a:lnTo>
                    <a:pt x="1334402" y="2247900"/>
                  </a:lnTo>
                  <a:cubicBezTo>
                    <a:pt x="1324877" y="2257425"/>
                    <a:pt x="1319114" y="2274260"/>
                    <a:pt x="1305827" y="2276475"/>
                  </a:cubicBezTo>
                  <a:cubicBezTo>
                    <a:pt x="1270027" y="2282442"/>
                    <a:pt x="1270665" y="2220571"/>
                    <a:pt x="1267727" y="2209800"/>
                  </a:cubicBezTo>
                  <a:cubicBezTo>
                    <a:pt x="1263260" y="2193420"/>
                    <a:pt x="1249438" y="2139924"/>
                    <a:pt x="1229627" y="2124075"/>
                  </a:cubicBezTo>
                  <a:cubicBezTo>
                    <a:pt x="1221787" y="2117803"/>
                    <a:pt x="1210577" y="2117725"/>
                    <a:pt x="1201052" y="2114550"/>
                  </a:cubicBezTo>
                  <a:lnTo>
                    <a:pt x="1134377" y="2124075"/>
                  </a:lnTo>
                  <a:cubicBezTo>
                    <a:pt x="1105848" y="2127641"/>
                    <a:pt x="1076667" y="2127135"/>
                    <a:pt x="1048652" y="2133600"/>
                  </a:cubicBezTo>
                  <a:cubicBezTo>
                    <a:pt x="1030169" y="2137865"/>
                    <a:pt x="998295" y="2160821"/>
                    <a:pt x="981977" y="2171700"/>
                  </a:cubicBezTo>
                  <a:cubicBezTo>
                    <a:pt x="924827" y="2168525"/>
                    <a:pt x="866537" y="2173967"/>
                    <a:pt x="810527" y="2162175"/>
                  </a:cubicBezTo>
                  <a:cubicBezTo>
                    <a:pt x="800702" y="2160107"/>
                    <a:pt x="805492" y="2142580"/>
                    <a:pt x="801002" y="2133600"/>
                  </a:cubicBezTo>
                  <a:cubicBezTo>
                    <a:pt x="795882" y="2123361"/>
                    <a:pt x="787072" y="2115264"/>
                    <a:pt x="781952" y="2105025"/>
                  </a:cubicBezTo>
                  <a:cubicBezTo>
                    <a:pt x="777462" y="2096045"/>
                    <a:pt x="777996" y="2084804"/>
                    <a:pt x="772427" y="2076450"/>
                  </a:cubicBezTo>
                  <a:cubicBezTo>
                    <a:pt x="752042" y="2045872"/>
                    <a:pt x="745235" y="2048336"/>
                    <a:pt x="715277" y="2038350"/>
                  </a:cubicBezTo>
                  <a:cubicBezTo>
                    <a:pt x="705752" y="2032000"/>
                    <a:pt x="694797" y="2027395"/>
                    <a:pt x="686702" y="2019300"/>
                  </a:cubicBezTo>
                  <a:cubicBezTo>
                    <a:pt x="668238" y="2000836"/>
                    <a:pt x="665874" y="1985391"/>
                    <a:pt x="658127" y="1962150"/>
                  </a:cubicBezTo>
                  <a:cubicBezTo>
                    <a:pt x="654952" y="1933575"/>
                    <a:pt x="673970" y="1889955"/>
                    <a:pt x="648602" y="1876425"/>
                  </a:cubicBezTo>
                  <a:cubicBezTo>
                    <a:pt x="609281" y="1855454"/>
                    <a:pt x="559322" y="1879339"/>
                    <a:pt x="515252" y="1885950"/>
                  </a:cubicBezTo>
                  <a:cubicBezTo>
                    <a:pt x="495394" y="1888929"/>
                    <a:pt x="477152" y="1898650"/>
                    <a:pt x="458102" y="1905000"/>
                  </a:cubicBezTo>
                  <a:lnTo>
                    <a:pt x="429527" y="1914525"/>
                  </a:lnTo>
                  <a:cubicBezTo>
                    <a:pt x="435877" y="1924050"/>
                    <a:pt x="443457" y="1932861"/>
                    <a:pt x="448577" y="1943100"/>
                  </a:cubicBezTo>
                  <a:cubicBezTo>
                    <a:pt x="462761" y="1971468"/>
                    <a:pt x="462538" y="1997412"/>
                    <a:pt x="448577" y="2028825"/>
                  </a:cubicBezTo>
                  <a:cubicBezTo>
                    <a:pt x="443106" y="2041134"/>
                    <a:pt x="428272" y="2046767"/>
                    <a:pt x="420002" y="2057400"/>
                  </a:cubicBezTo>
                  <a:cubicBezTo>
                    <a:pt x="405946" y="2075472"/>
                    <a:pt x="394602" y="2095500"/>
                    <a:pt x="381902" y="2114550"/>
                  </a:cubicBezTo>
                  <a:cubicBezTo>
                    <a:pt x="376333" y="2122904"/>
                    <a:pt x="379477" y="2136025"/>
                    <a:pt x="372377" y="2143125"/>
                  </a:cubicBezTo>
                  <a:cubicBezTo>
                    <a:pt x="365277" y="2150225"/>
                    <a:pt x="353327" y="2149475"/>
                    <a:pt x="343802" y="2152650"/>
                  </a:cubicBezTo>
                  <a:cubicBezTo>
                    <a:pt x="331102" y="2149475"/>
                    <a:pt x="314959" y="2152382"/>
                    <a:pt x="305702" y="2143125"/>
                  </a:cubicBezTo>
                  <a:cubicBezTo>
                    <a:pt x="293746" y="2131169"/>
                    <a:pt x="281645" y="2075472"/>
                    <a:pt x="277127" y="2057400"/>
                  </a:cubicBezTo>
                  <a:cubicBezTo>
                    <a:pt x="273952" y="2006600"/>
                    <a:pt x="275540" y="1955276"/>
                    <a:pt x="267602" y="1905000"/>
                  </a:cubicBezTo>
                  <a:cubicBezTo>
                    <a:pt x="265817" y="1893692"/>
                    <a:pt x="246933" y="1887758"/>
                    <a:pt x="248552" y="1876425"/>
                  </a:cubicBezTo>
                  <a:cubicBezTo>
                    <a:pt x="253742" y="1840096"/>
                    <a:pt x="280667" y="1837145"/>
                    <a:pt x="305702" y="1828800"/>
                  </a:cubicBezTo>
                  <a:cubicBezTo>
                    <a:pt x="299352" y="1819275"/>
                    <a:pt x="291772" y="1810464"/>
                    <a:pt x="286652" y="1800225"/>
                  </a:cubicBezTo>
                  <a:cubicBezTo>
                    <a:pt x="282162" y="1791245"/>
                    <a:pt x="282963" y="1779820"/>
                    <a:pt x="277127" y="1771650"/>
                  </a:cubicBezTo>
                  <a:cubicBezTo>
                    <a:pt x="243458" y="1724514"/>
                    <a:pt x="245987" y="1744113"/>
                    <a:pt x="210452" y="1714500"/>
                  </a:cubicBezTo>
                  <a:cubicBezTo>
                    <a:pt x="200104" y="1705876"/>
                    <a:pt x="191402" y="1695450"/>
                    <a:pt x="181877" y="1685925"/>
                  </a:cubicBezTo>
                  <a:cubicBezTo>
                    <a:pt x="178702" y="1673225"/>
                    <a:pt x="180972" y="1657677"/>
                    <a:pt x="172352" y="1647825"/>
                  </a:cubicBezTo>
                  <a:cubicBezTo>
                    <a:pt x="157275" y="1630595"/>
                    <a:pt x="134252" y="1622425"/>
                    <a:pt x="115202" y="1609725"/>
                  </a:cubicBezTo>
                  <a:lnTo>
                    <a:pt x="86627" y="1590675"/>
                  </a:lnTo>
                  <a:cubicBezTo>
                    <a:pt x="69919" y="1579536"/>
                    <a:pt x="29477" y="1571625"/>
                    <a:pt x="29477" y="1571625"/>
                  </a:cubicBezTo>
                  <a:cubicBezTo>
                    <a:pt x="19952" y="1562100"/>
                    <a:pt x="4603" y="1556002"/>
                    <a:pt x="902" y="1543050"/>
                  </a:cubicBezTo>
                  <a:cubicBezTo>
                    <a:pt x="-2694" y="1530463"/>
                    <a:pt x="5270" y="1516982"/>
                    <a:pt x="10427" y="1504950"/>
                  </a:cubicBezTo>
                  <a:cubicBezTo>
                    <a:pt x="23127" y="1475317"/>
                    <a:pt x="32652" y="1474258"/>
                    <a:pt x="58052" y="1457325"/>
                  </a:cubicBezTo>
                  <a:cubicBezTo>
                    <a:pt x="70752" y="1460500"/>
                    <a:pt x="84786" y="1460355"/>
                    <a:pt x="96152" y="1466850"/>
                  </a:cubicBezTo>
                  <a:cubicBezTo>
                    <a:pt x="107848" y="1473533"/>
                    <a:pt x="114379" y="1486801"/>
                    <a:pt x="124727" y="1495425"/>
                  </a:cubicBezTo>
                  <a:cubicBezTo>
                    <a:pt x="149346" y="1515941"/>
                    <a:pt x="153238" y="1514454"/>
                    <a:pt x="181877" y="1524000"/>
                  </a:cubicBezTo>
                  <a:cubicBezTo>
                    <a:pt x="262528" y="1483675"/>
                    <a:pt x="185187" y="1534876"/>
                    <a:pt x="229502" y="1457325"/>
                  </a:cubicBezTo>
                  <a:cubicBezTo>
                    <a:pt x="244904" y="1430372"/>
                    <a:pt x="309214" y="1430970"/>
                    <a:pt x="324752" y="1428750"/>
                  </a:cubicBezTo>
                  <a:cubicBezTo>
                    <a:pt x="379347" y="1346858"/>
                    <a:pt x="313892" y="1450470"/>
                    <a:pt x="353327" y="1371600"/>
                  </a:cubicBezTo>
                  <a:cubicBezTo>
                    <a:pt x="358447" y="1361361"/>
                    <a:pt x="366027" y="1352550"/>
                    <a:pt x="372377" y="1343025"/>
                  </a:cubicBezTo>
                  <a:cubicBezTo>
                    <a:pt x="369202" y="1330325"/>
                    <a:pt x="370114" y="1315817"/>
                    <a:pt x="362852" y="1304925"/>
                  </a:cubicBezTo>
                  <a:cubicBezTo>
                    <a:pt x="335335" y="1263650"/>
                    <a:pt x="317344" y="1311275"/>
                    <a:pt x="353327" y="1257300"/>
                  </a:cubicBezTo>
                  <a:cubicBezTo>
                    <a:pt x="369202" y="1260475"/>
                    <a:pt x="385148" y="1263313"/>
                    <a:pt x="400952" y="1266825"/>
                  </a:cubicBezTo>
                  <a:cubicBezTo>
                    <a:pt x="413731" y="1269665"/>
                    <a:pt x="425961" y="1276350"/>
                    <a:pt x="439052" y="1276350"/>
                  </a:cubicBezTo>
                  <a:cubicBezTo>
                    <a:pt x="467803" y="1276350"/>
                    <a:pt x="496202" y="1270000"/>
                    <a:pt x="524777" y="1266825"/>
                  </a:cubicBezTo>
                  <a:cubicBezTo>
                    <a:pt x="547656" y="1261105"/>
                    <a:pt x="575007" y="1258806"/>
                    <a:pt x="591452" y="1238250"/>
                  </a:cubicBezTo>
                  <a:cubicBezTo>
                    <a:pt x="597724" y="1230410"/>
                    <a:pt x="598219" y="1219329"/>
                    <a:pt x="600977" y="1209675"/>
                  </a:cubicBezTo>
                  <a:cubicBezTo>
                    <a:pt x="604573" y="1197088"/>
                    <a:pt x="599850" y="1179184"/>
                    <a:pt x="610502" y="1171575"/>
                  </a:cubicBezTo>
                  <a:cubicBezTo>
                    <a:pt x="626217" y="1160350"/>
                    <a:pt x="648602" y="1165225"/>
                    <a:pt x="667652" y="1162050"/>
                  </a:cubicBezTo>
                  <a:cubicBezTo>
                    <a:pt x="643711" y="1090226"/>
                    <a:pt x="676006" y="1178758"/>
                    <a:pt x="639077" y="1104900"/>
                  </a:cubicBezTo>
                  <a:cubicBezTo>
                    <a:pt x="634587" y="1095920"/>
                    <a:pt x="635824" y="1084165"/>
                    <a:pt x="629552" y="1076325"/>
                  </a:cubicBezTo>
                  <a:cubicBezTo>
                    <a:pt x="613107" y="1055769"/>
                    <a:pt x="585756" y="1053470"/>
                    <a:pt x="562877" y="1047750"/>
                  </a:cubicBezTo>
                  <a:cubicBezTo>
                    <a:pt x="566052" y="1009650"/>
                    <a:pt x="558677" y="969134"/>
                    <a:pt x="572402" y="933450"/>
                  </a:cubicBezTo>
                  <a:cubicBezTo>
                    <a:pt x="577101" y="921232"/>
                    <a:pt x="597963" y="927687"/>
                    <a:pt x="610502" y="923925"/>
                  </a:cubicBezTo>
                  <a:cubicBezTo>
                    <a:pt x="629736" y="918155"/>
                    <a:pt x="667652" y="904875"/>
                    <a:pt x="667652" y="904875"/>
                  </a:cubicBezTo>
                  <a:cubicBezTo>
                    <a:pt x="664477" y="895350"/>
                    <a:pt x="662617" y="885280"/>
                    <a:pt x="658127" y="876300"/>
                  </a:cubicBezTo>
                  <a:cubicBezTo>
                    <a:pt x="647603" y="855251"/>
                    <a:pt x="623095" y="844657"/>
                    <a:pt x="648602" y="819150"/>
                  </a:cubicBezTo>
                  <a:cubicBezTo>
                    <a:pt x="655702" y="812050"/>
                    <a:pt x="667652" y="812800"/>
                    <a:pt x="677177" y="809625"/>
                  </a:cubicBezTo>
                  <a:cubicBezTo>
                    <a:pt x="686702" y="803275"/>
                    <a:pt x="695813" y="796255"/>
                    <a:pt x="705752" y="790575"/>
                  </a:cubicBezTo>
                  <a:cubicBezTo>
                    <a:pt x="718080" y="783530"/>
                    <a:pt x="733812" y="781565"/>
                    <a:pt x="743852" y="771525"/>
                  </a:cubicBezTo>
                  <a:cubicBezTo>
                    <a:pt x="750952" y="764425"/>
                    <a:pt x="750202" y="752475"/>
                    <a:pt x="753377" y="742950"/>
                  </a:cubicBezTo>
                  <a:cubicBezTo>
                    <a:pt x="750202" y="730250"/>
                    <a:pt x="740090" y="717389"/>
                    <a:pt x="743852" y="704850"/>
                  </a:cubicBezTo>
                  <a:cubicBezTo>
                    <a:pt x="750431" y="682920"/>
                    <a:pt x="781952" y="647700"/>
                    <a:pt x="781952" y="647700"/>
                  </a:cubicBezTo>
                  <a:cubicBezTo>
                    <a:pt x="785127" y="609600"/>
                    <a:pt x="767267" y="562990"/>
                    <a:pt x="791477" y="533400"/>
                  </a:cubicBezTo>
                  <a:cubicBezTo>
                    <a:pt x="873978" y="432565"/>
                    <a:pt x="815290" y="552450"/>
                    <a:pt x="829577" y="552450"/>
                  </a:cubicBezTo>
                  <a:close/>
                </a:path>
              </a:pathLst>
            </a:custGeom>
            <a:solidFill>
              <a:srgbClr val="EDDD32"/>
            </a:solidFill>
            <a:ln w="9525" cap="flat" cmpd="sng" algn="ctr">
              <a:solidFill>
                <a:srgbClr val="4866A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8383">
                <a:buClr>
                  <a:srgbClr val="000000"/>
                </a:buClr>
                <a:buSzPct val="100000"/>
              </a:pPr>
              <a:endParaRPr lang="pt-BR" sz="102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60" name="Freeform 25"/>
            <p:cNvSpPr/>
            <p:nvPr/>
          </p:nvSpPr>
          <p:spPr bwMode="auto">
            <a:xfrm>
              <a:off x="11063870" y="4401174"/>
              <a:ext cx="1582840" cy="1714201"/>
            </a:xfrm>
            <a:custGeom>
              <a:avLst/>
              <a:gdLst>
                <a:gd name="connsiteX0" fmla="*/ 3334823 w 5344598"/>
                <a:gd name="connsiteY0" fmla="*/ 64767 h 5694042"/>
                <a:gd name="connsiteX1" fmla="*/ 3353873 w 5344598"/>
                <a:gd name="connsiteY1" fmla="*/ 112392 h 5694042"/>
                <a:gd name="connsiteX2" fmla="*/ 3334823 w 5344598"/>
                <a:gd name="connsiteY2" fmla="*/ 207642 h 5694042"/>
                <a:gd name="connsiteX3" fmla="*/ 3296723 w 5344598"/>
                <a:gd name="connsiteY3" fmla="*/ 264792 h 5694042"/>
                <a:gd name="connsiteX4" fmla="*/ 3287198 w 5344598"/>
                <a:gd name="connsiteY4" fmla="*/ 312417 h 5694042"/>
                <a:gd name="connsiteX5" fmla="*/ 3277673 w 5344598"/>
                <a:gd name="connsiteY5" fmla="*/ 350517 h 5694042"/>
                <a:gd name="connsiteX6" fmla="*/ 3249098 w 5344598"/>
                <a:gd name="connsiteY6" fmla="*/ 360042 h 5694042"/>
                <a:gd name="connsiteX7" fmla="*/ 3210998 w 5344598"/>
                <a:gd name="connsiteY7" fmla="*/ 369567 h 5694042"/>
                <a:gd name="connsiteX8" fmla="*/ 3182423 w 5344598"/>
                <a:gd name="connsiteY8" fmla="*/ 388617 h 5694042"/>
                <a:gd name="connsiteX9" fmla="*/ 3153848 w 5344598"/>
                <a:gd name="connsiteY9" fmla="*/ 474342 h 5694042"/>
                <a:gd name="connsiteX10" fmla="*/ 3144323 w 5344598"/>
                <a:gd name="connsiteY10" fmla="*/ 502917 h 5694042"/>
                <a:gd name="connsiteX11" fmla="*/ 3134798 w 5344598"/>
                <a:gd name="connsiteY11" fmla="*/ 531492 h 5694042"/>
                <a:gd name="connsiteX12" fmla="*/ 3144323 w 5344598"/>
                <a:gd name="connsiteY12" fmla="*/ 588642 h 5694042"/>
                <a:gd name="connsiteX13" fmla="*/ 3201473 w 5344598"/>
                <a:gd name="connsiteY13" fmla="*/ 645792 h 5694042"/>
                <a:gd name="connsiteX14" fmla="*/ 3201473 w 5344598"/>
                <a:gd name="connsiteY14" fmla="*/ 712467 h 5694042"/>
                <a:gd name="connsiteX15" fmla="*/ 3163373 w 5344598"/>
                <a:gd name="connsiteY15" fmla="*/ 741042 h 5694042"/>
                <a:gd name="connsiteX16" fmla="*/ 3134798 w 5344598"/>
                <a:gd name="connsiteY16" fmla="*/ 779142 h 5694042"/>
                <a:gd name="connsiteX17" fmla="*/ 3077648 w 5344598"/>
                <a:gd name="connsiteY17" fmla="*/ 807717 h 5694042"/>
                <a:gd name="connsiteX18" fmla="*/ 3020498 w 5344598"/>
                <a:gd name="connsiteY18" fmla="*/ 836292 h 5694042"/>
                <a:gd name="connsiteX19" fmla="*/ 2991923 w 5344598"/>
                <a:gd name="connsiteY19" fmla="*/ 826767 h 5694042"/>
                <a:gd name="connsiteX20" fmla="*/ 2925248 w 5344598"/>
                <a:gd name="connsiteY20" fmla="*/ 836292 h 5694042"/>
                <a:gd name="connsiteX21" fmla="*/ 2906198 w 5344598"/>
                <a:gd name="connsiteY21" fmla="*/ 893442 h 5694042"/>
                <a:gd name="connsiteX22" fmla="*/ 2887148 w 5344598"/>
                <a:gd name="connsiteY22" fmla="*/ 922017 h 5694042"/>
                <a:gd name="connsiteX23" fmla="*/ 2829998 w 5344598"/>
                <a:gd name="connsiteY23" fmla="*/ 979167 h 5694042"/>
                <a:gd name="connsiteX24" fmla="*/ 2772848 w 5344598"/>
                <a:gd name="connsiteY24" fmla="*/ 1017267 h 5694042"/>
                <a:gd name="connsiteX25" fmla="*/ 2753798 w 5344598"/>
                <a:gd name="connsiteY25" fmla="*/ 1045842 h 5694042"/>
                <a:gd name="connsiteX26" fmla="*/ 2696648 w 5344598"/>
                <a:gd name="connsiteY26" fmla="*/ 1074417 h 5694042"/>
                <a:gd name="connsiteX27" fmla="*/ 2668073 w 5344598"/>
                <a:gd name="connsiteY27" fmla="*/ 1055367 h 5694042"/>
                <a:gd name="connsiteX28" fmla="*/ 2658548 w 5344598"/>
                <a:gd name="connsiteY28" fmla="*/ 1026792 h 5694042"/>
                <a:gd name="connsiteX29" fmla="*/ 2601398 w 5344598"/>
                <a:gd name="connsiteY29" fmla="*/ 1007742 h 5694042"/>
                <a:gd name="connsiteX30" fmla="*/ 2572823 w 5344598"/>
                <a:gd name="connsiteY30" fmla="*/ 1026792 h 5694042"/>
                <a:gd name="connsiteX31" fmla="*/ 2591873 w 5344598"/>
                <a:gd name="connsiteY31" fmla="*/ 1055367 h 5694042"/>
                <a:gd name="connsiteX32" fmla="*/ 2677598 w 5344598"/>
                <a:gd name="connsiteY32" fmla="*/ 1093467 h 5694042"/>
                <a:gd name="connsiteX33" fmla="*/ 2715698 w 5344598"/>
                <a:gd name="connsiteY33" fmla="*/ 1150617 h 5694042"/>
                <a:gd name="connsiteX34" fmla="*/ 2734748 w 5344598"/>
                <a:gd name="connsiteY34" fmla="*/ 1179192 h 5694042"/>
                <a:gd name="connsiteX35" fmla="*/ 2744273 w 5344598"/>
                <a:gd name="connsiteY35" fmla="*/ 1207767 h 5694042"/>
                <a:gd name="connsiteX36" fmla="*/ 2801423 w 5344598"/>
                <a:gd name="connsiteY36" fmla="*/ 1264917 h 5694042"/>
                <a:gd name="connsiteX37" fmla="*/ 2829998 w 5344598"/>
                <a:gd name="connsiteY37" fmla="*/ 1293492 h 5694042"/>
                <a:gd name="connsiteX38" fmla="*/ 2839523 w 5344598"/>
                <a:gd name="connsiteY38" fmla="*/ 1407792 h 5694042"/>
                <a:gd name="connsiteX39" fmla="*/ 2820473 w 5344598"/>
                <a:gd name="connsiteY39" fmla="*/ 1436367 h 5694042"/>
                <a:gd name="connsiteX40" fmla="*/ 2829998 w 5344598"/>
                <a:gd name="connsiteY40" fmla="*/ 1503042 h 5694042"/>
                <a:gd name="connsiteX41" fmla="*/ 2839523 w 5344598"/>
                <a:gd name="connsiteY41" fmla="*/ 1531617 h 5694042"/>
                <a:gd name="connsiteX42" fmla="*/ 2858573 w 5344598"/>
                <a:gd name="connsiteY42" fmla="*/ 1636392 h 5694042"/>
                <a:gd name="connsiteX43" fmla="*/ 2887148 w 5344598"/>
                <a:gd name="connsiteY43" fmla="*/ 1664967 h 5694042"/>
                <a:gd name="connsiteX44" fmla="*/ 2906198 w 5344598"/>
                <a:gd name="connsiteY44" fmla="*/ 1636392 h 5694042"/>
                <a:gd name="connsiteX45" fmla="*/ 2934773 w 5344598"/>
                <a:gd name="connsiteY45" fmla="*/ 1607817 h 5694042"/>
                <a:gd name="connsiteX46" fmla="*/ 2953823 w 5344598"/>
                <a:gd name="connsiteY46" fmla="*/ 1550667 h 5694042"/>
                <a:gd name="connsiteX47" fmla="*/ 2963348 w 5344598"/>
                <a:gd name="connsiteY47" fmla="*/ 1445892 h 5694042"/>
                <a:gd name="connsiteX48" fmla="*/ 2991923 w 5344598"/>
                <a:gd name="connsiteY48" fmla="*/ 1436367 h 5694042"/>
                <a:gd name="connsiteX49" fmla="*/ 3058598 w 5344598"/>
                <a:gd name="connsiteY49" fmla="*/ 1388742 h 5694042"/>
                <a:gd name="connsiteX50" fmla="*/ 3087173 w 5344598"/>
                <a:gd name="connsiteY50" fmla="*/ 1379217 h 5694042"/>
                <a:gd name="connsiteX51" fmla="*/ 3201473 w 5344598"/>
                <a:gd name="connsiteY51" fmla="*/ 1407792 h 5694042"/>
                <a:gd name="connsiteX52" fmla="*/ 3220523 w 5344598"/>
                <a:gd name="connsiteY52" fmla="*/ 1436367 h 5694042"/>
                <a:gd name="connsiteX53" fmla="*/ 3230048 w 5344598"/>
                <a:gd name="connsiteY53" fmla="*/ 1503042 h 5694042"/>
                <a:gd name="connsiteX54" fmla="*/ 3258623 w 5344598"/>
                <a:gd name="connsiteY54" fmla="*/ 1522092 h 5694042"/>
                <a:gd name="connsiteX55" fmla="*/ 3287198 w 5344598"/>
                <a:gd name="connsiteY55" fmla="*/ 1550667 h 5694042"/>
                <a:gd name="connsiteX56" fmla="*/ 3306248 w 5344598"/>
                <a:gd name="connsiteY56" fmla="*/ 1626867 h 5694042"/>
                <a:gd name="connsiteX57" fmla="*/ 3353873 w 5344598"/>
                <a:gd name="connsiteY57" fmla="*/ 1655442 h 5694042"/>
                <a:gd name="connsiteX58" fmla="*/ 3411023 w 5344598"/>
                <a:gd name="connsiteY58" fmla="*/ 1684017 h 5694042"/>
                <a:gd name="connsiteX59" fmla="*/ 3458648 w 5344598"/>
                <a:gd name="connsiteY59" fmla="*/ 1674492 h 5694042"/>
                <a:gd name="connsiteX60" fmla="*/ 3487223 w 5344598"/>
                <a:gd name="connsiteY60" fmla="*/ 1664967 h 5694042"/>
                <a:gd name="connsiteX61" fmla="*/ 3525323 w 5344598"/>
                <a:gd name="connsiteY61" fmla="*/ 1655442 h 5694042"/>
                <a:gd name="connsiteX62" fmla="*/ 3553898 w 5344598"/>
                <a:gd name="connsiteY62" fmla="*/ 1636392 h 5694042"/>
                <a:gd name="connsiteX63" fmla="*/ 3792023 w 5344598"/>
                <a:gd name="connsiteY63" fmla="*/ 1636392 h 5694042"/>
                <a:gd name="connsiteX64" fmla="*/ 3839648 w 5344598"/>
                <a:gd name="connsiteY64" fmla="*/ 1722117 h 5694042"/>
                <a:gd name="connsiteX65" fmla="*/ 3858698 w 5344598"/>
                <a:gd name="connsiteY65" fmla="*/ 1779267 h 5694042"/>
                <a:gd name="connsiteX66" fmla="*/ 3887273 w 5344598"/>
                <a:gd name="connsiteY66" fmla="*/ 1769742 h 5694042"/>
                <a:gd name="connsiteX67" fmla="*/ 3963473 w 5344598"/>
                <a:gd name="connsiteY67" fmla="*/ 1731642 h 5694042"/>
                <a:gd name="connsiteX68" fmla="*/ 4020623 w 5344598"/>
                <a:gd name="connsiteY68" fmla="*/ 1712592 h 5694042"/>
                <a:gd name="connsiteX69" fmla="*/ 4049198 w 5344598"/>
                <a:gd name="connsiteY69" fmla="*/ 1703067 h 5694042"/>
                <a:gd name="connsiteX70" fmla="*/ 4258748 w 5344598"/>
                <a:gd name="connsiteY70" fmla="*/ 1712592 h 5694042"/>
                <a:gd name="connsiteX71" fmla="*/ 4344473 w 5344598"/>
                <a:gd name="connsiteY71" fmla="*/ 1779267 h 5694042"/>
                <a:gd name="connsiteX72" fmla="*/ 4373048 w 5344598"/>
                <a:gd name="connsiteY72" fmla="*/ 1788792 h 5694042"/>
                <a:gd name="connsiteX73" fmla="*/ 4458773 w 5344598"/>
                <a:gd name="connsiteY73" fmla="*/ 1836417 h 5694042"/>
                <a:gd name="connsiteX74" fmla="*/ 4515923 w 5344598"/>
                <a:gd name="connsiteY74" fmla="*/ 1845942 h 5694042"/>
                <a:gd name="connsiteX75" fmla="*/ 4573073 w 5344598"/>
                <a:gd name="connsiteY75" fmla="*/ 1817367 h 5694042"/>
                <a:gd name="connsiteX76" fmla="*/ 4601648 w 5344598"/>
                <a:gd name="connsiteY76" fmla="*/ 1798317 h 5694042"/>
                <a:gd name="connsiteX77" fmla="*/ 4649273 w 5344598"/>
                <a:gd name="connsiteY77" fmla="*/ 1750692 h 5694042"/>
                <a:gd name="connsiteX78" fmla="*/ 4668323 w 5344598"/>
                <a:gd name="connsiteY78" fmla="*/ 1722117 h 5694042"/>
                <a:gd name="connsiteX79" fmla="*/ 4725473 w 5344598"/>
                <a:gd name="connsiteY79" fmla="*/ 1703067 h 5694042"/>
                <a:gd name="connsiteX80" fmla="*/ 4754048 w 5344598"/>
                <a:gd name="connsiteY80" fmla="*/ 1684017 h 5694042"/>
                <a:gd name="connsiteX81" fmla="*/ 4792148 w 5344598"/>
                <a:gd name="connsiteY81" fmla="*/ 1674492 h 5694042"/>
                <a:gd name="connsiteX82" fmla="*/ 4820723 w 5344598"/>
                <a:gd name="connsiteY82" fmla="*/ 1664967 h 5694042"/>
                <a:gd name="connsiteX83" fmla="*/ 4839773 w 5344598"/>
                <a:gd name="connsiteY83" fmla="*/ 1636392 h 5694042"/>
                <a:gd name="connsiteX84" fmla="*/ 4896923 w 5344598"/>
                <a:gd name="connsiteY84" fmla="*/ 1607817 h 5694042"/>
                <a:gd name="connsiteX85" fmla="*/ 4954073 w 5344598"/>
                <a:gd name="connsiteY85" fmla="*/ 1617342 h 5694042"/>
                <a:gd name="connsiteX86" fmla="*/ 4973123 w 5344598"/>
                <a:gd name="connsiteY86" fmla="*/ 1645917 h 5694042"/>
                <a:gd name="connsiteX87" fmla="*/ 5020748 w 5344598"/>
                <a:gd name="connsiteY87" fmla="*/ 1664967 h 5694042"/>
                <a:gd name="connsiteX88" fmla="*/ 5058848 w 5344598"/>
                <a:gd name="connsiteY88" fmla="*/ 1731642 h 5694042"/>
                <a:gd name="connsiteX89" fmla="*/ 5087423 w 5344598"/>
                <a:gd name="connsiteY89" fmla="*/ 1760217 h 5694042"/>
                <a:gd name="connsiteX90" fmla="*/ 5154098 w 5344598"/>
                <a:gd name="connsiteY90" fmla="*/ 1798317 h 5694042"/>
                <a:gd name="connsiteX91" fmla="*/ 5211248 w 5344598"/>
                <a:gd name="connsiteY91" fmla="*/ 1836417 h 5694042"/>
                <a:gd name="connsiteX92" fmla="*/ 5258873 w 5344598"/>
                <a:gd name="connsiteY92" fmla="*/ 1893567 h 5694042"/>
                <a:gd name="connsiteX93" fmla="*/ 5277923 w 5344598"/>
                <a:gd name="connsiteY93" fmla="*/ 1922142 h 5694042"/>
                <a:gd name="connsiteX94" fmla="*/ 5316023 w 5344598"/>
                <a:gd name="connsiteY94" fmla="*/ 1988817 h 5694042"/>
                <a:gd name="connsiteX95" fmla="*/ 5325548 w 5344598"/>
                <a:gd name="connsiteY95" fmla="*/ 2017392 h 5694042"/>
                <a:gd name="connsiteX96" fmla="*/ 5344598 w 5344598"/>
                <a:gd name="connsiteY96" fmla="*/ 2093592 h 5694042"/>
                <a:gd name="connsiteX97" fmla="*/ 5249348 w 5344598"/>
                <a:gd name="connsiteY97" fmla="*/ 2122167 h 5694042"/>
                <a:gd name="connsiteX98" fmla="*/ 5192198 w 5344598"/>
                <a:gd name="connsiteY98" fmla="*/ 2141217 h 5694042"/>
                <a:gd name="connsiteX99" fmla="*/ 5163623 w 5344598"/>
                <a:gd name="connsiteY99" fmla="*/ 2150742 h 5694042"/>
                <a:gd name="connsiteX100" fmla="*/ 5154098 w 5344598"/>
                <a:gd name="connsiteY100" fmla="*/ 2179317 h 5694042"/>
                <a:gd name="connsiteX101" fmla="*/ 5173148 w 5344598"/>
                <a:gd name="connsiteY101" fmla="*/ 2455542 h 5694042"/>
                <a:gd name="connsiteX102" fmla="*/ 5163623 w 5344598"/>
                <a:gd name="connsiteY102" fmla="*/ 2541267 h 5694042"/>
                <a:gd name="connsiteX103" fmla="*/ 5135048 w 5344598"/>
                <a:gd name="connsiteY103" fmla="*/ 2607942 h 5694042"/>
                <a:gd name="connsiteX104" fmla="*/ 5096948 w 5344598"/>
                <a:gd name="connsiteY104" fmla="*/ 2665092 h 5694042"/>
                <a:gd name="connsiteX105" fmla="*/ 5058848 w 5344598"/>
                <a:gd name="connsiteY105" fmla="*/ 2722242 h 5694042"/>
                <a:gd name="connsiteX106" fmla="*/ 5039798 w 5344598"/>
                <a:gd name="connsiteY106" fmla="*/ 2779392 h 5694042"/>
                <a:gd name="connsiteX107" fmla="*/ 4954073 w 5344598"/>
                <a:gd name="connsiteY107" fmla="*/ 2846067 h 5694042"/>
                <a:gd name="connsiteX108" fmla="*/ 4925498 w 5344598"/>
                <a:gd name="connsiteY108" fmla="*/ 2865117 h 5694042"/>
                <a:gd name="connsiteX109" fmla="*/ 4915973 w 5344598"/>
                <a:gd name="connsiteY109" fmla="*/ 2969892 h 5694042"/>
                <a:gd name="connsiteX110" fmla="*/ 4944548 w 5344598"/>
                <a:gd name="connsiteY110" fmla="*/ 2998467 h 5694042"/>
                <a:gd name="connsiteX111" fmla="*/ 4973123 w 5344598"/>
                <a:gd name="connsiteY111" fmla="*/ 3036567 h 5694042"/>
                <a:gd name="connsiteX112" fmla="*/ 4992173 w 5344598"/>
                <a:gd name="connsiteY112" fmla="*/ 3074667 h 5694042"/>
                <a:gd name="connsiteX113" fmla="*/ 5001698 w 5344598"/>
                <a:gd name="connsiteY113" fmla="*/ 3103242 h 5694042"/>
                <a:gd name="connsiteX114" fmla="*/ 5068373 w 5344598"/>
                <a:gd name="connsiteY114" fmla="*/ 3179442 h 5694042"/>
                <a:gd name="connsiteX115" fmla="*/ 5106473 w 5344598"/>
                <a:gd name="connsiteY115" fmla="*/ 3188967 h 5694042"/>
                <a:gd name="connsiteX116" fmla="*/ 5163623 w 5344598"/>
                <a:gd name="connsiteY116" fmla="*/ 3198492 h 5694042"/>
                <a:gd name="connsiteX117" fmla="*/ 5182673 w 5344598"/>
                <a:gd name="connsiteY117" fmla="*/ 3227067 h 5694042"/>
                <a:gd name="connsiteX118" fmla="*/ 5182673 w 5344598"/>
                <a:gd name="connsiteY118" fmla="*/ 3560442 h 5694042"/>
                <a:gd name="connsiteX119" fmla="*/ 5135048 w 5344598"/>
                <a:gd name="connsiteY119" fmla="*/ 3655692 h 5694042"/>
                <a:gd name="connsiteX120" fmla="*/ 5115998 w 5344598"/>
                <a:gd name="connsiteY120" fmla="*/ 3684267 h 5694042"/>
                <a:gd name="connsiteX121" fmla="*/ 5125523 w 5344598"/>
                <a:gd name="connsiteY121" fmla="*/ 3722367 h 5694042"/>
                <a:gd name="connsiteX122" fmla="*/ 5106473 w 5344598"/>
                <a:gd name="connsiteY122" fmla="*/ 3836667 h 5694042"/>
                <a:gd name="connsiteX123" fmla="*/ 5087423 w 5344598"/>
                <a:gd name="connsiteY123" fmla="*/ 3865242 h 5694042"/>
                <a:gd name="connsiteX124" fmla="*/ 5058848 w 5344598"/>
                <a:gd name="connsiteY124" fmla="*/ 3893817 h 5694042"/>
                <a:gd name="connsiteX125" fmla="*/ 5030273 w 5344598"/>
                <a:gd name="connsiteY125" fmla="*/ 3931917 h 5694042"/>
                <a:gd name="connsiteX126" fmla="*/ 4982648 w 5344598"/>
                <a:gd name="connsiteY126" fmla="*/ 3941442 h 5694042"/>
                <a:gd name="connsiteX127" fmla="*/ 4954073 w 5344598"/>
                <a:gd name="connsiteY127" fmla="*/ 3960492 h 5694042"/>
                <a:gd name="connsiteX128" fmla="*/ 4877873 w 5344598"/>
                <a:gd name="connsiteY128" fmla="*/ 4046217 h 5694042"/>
                <a:gd name="connsiteX129" fmla="*/ 4858823 w 5344598"/>
                <a:gd name="connsiteY129" fmla="*/ 4179567 h 5694042"/>
                <a:gd name="connsiteX130" fmla="*/ 4820723 w 5344598"/>
                <a:gd name="connsiteY130" fmla="*/ 4246242 h 5694042"/>
                <a:gd name="connsiteX131" fmla="*/ 4801673 w 5344598"/>
                <a:gd name="connsiteY131" fmla="*/ 4303392 h 5694042"/>
                <a:gd name="connsiteX132" fmla="*/ 4782623 w 5344598"/>
                <a:gd name="connsiteY132" fmla="*/ 4389117 h 5694042"/>
                <a:gd name="connsiteX133" fmla="*/ 4763573 w 5344598"/>
                <a:gd name="connsiteY133" fmla="*/ 4417692 h 5694042"/>
                <a:gd name="connsiteX134" fmla="*/ 4734998 w 5344598"/>
                <a:gd name="connsiteY134" fmla="*/ 4427217 h 5694042"/>
                <a:gd name="connsiteX135" fmla="*/ 4649273 w 5344598"/>
                <a:gd name="connsiteY135" fmla="*/ 4493892 h 5694042"/>
                <a:gd name="connsiteX136" fmla="*/ 4620698 w 5344598"/>
                <a:gd name="connsiteY136" fmla="*/ 4512942 h 5694042"/>
                <a:gd name="connsiteX137" fmla="*/ 4554023 w 5344598"/>
                <a:gd name="connsiteY137" fmla="*/ 4551042 h 5694042"/>
                <a:gd name="connsiteX138" fmla="*/ 4420673 w 5344598"/>
                <a:gd name="connsiteY138" fmla="*/ 4570092 h 5694042"/>
                <a:gd name="connsiteX139" fmla="*/ 4401623 w 5344598"/>
                <a:gd name="connsiteY139" fmla="*/ 4598667 h 5694042"/>
                <a:gd name="connsiteX140" fmla="*/ 4373048 w 5344598"/>
                <a:gd name="connsiteY140" fmla="*/ 4627242 h 5694042"/>
                <a:gd name="connsiteX141" fmla="*/ 4363523 w 5344598"/>
                <a:gd name="connsiteY141" fmla="*/ 4703442 h 5694042"/>
                <a:gd name="connsiteX142" fmla="*/ 4344473 w 5344598"/>
                <a:gd name="connsiteY142" fmla="*/ 4732017 h 5694042"/>
                <a:gd name="connsiteX143" fmla="*/ 4325423 w 5344598"/>
                <a:gd name="connsiteY143" fmla="*/ 4770117 h 5694042"/>
                <a:gd name="connsiteX144" fmla="*/ 4258748 w 5344598"/>
                <a:gd name="connsiteY144" fmla="*/ 4817742 h 5694042"/>
                <a:gd name="connsiteX145" fmla="*/ 4220648 w 5344598"/>
                <a:gd name="connsiteY145" fmla="*/ 4874892 h 5694042"/>
                <a:gd name="connsiteX146" fmla="*/ 4163498 w 5344598"/>
                <a:gd name="connsiteY146" fmla="*/ 4941567 h 5694042"/>
                <a:gd name="connsiteX147" fmla="*/ 4144448 w 5344598"/>
                <a:gd name="connsiteY147" fmla="*/ 5008242 h 5694042"/>
                <a:gd name="connsiteX148" fmla="*/ 4134923 w 5344598"/>
                <a:gd name="connsiteY148" fmla="*/ 5036817 h 5694042"/>
                <a:gd name="connsiteX149" fmla="*/ 4096823 w 5344598"/>
                <a:gd name="connsiteY149" fmla="*/ 5093967 h 5694042"/>
                <a:gd name="connsiteX150" fmla="*/ 4058723 w 5344598"/>
                <a:gd name="connsiteY150" fmla="*/ 5141592 h 5694042"/>
                <a:gd name="connsiteX151" fmla="*/ 4030148 w 5344598"/>
                <a:gd name="connsiteY151" fmla="*/ 5208267 h 5694042"/>
                <a:gd name="connsiteX152" fmla="*/ 3992048 w 5344598"/>
                <a:gd name="connsiteY152" fmla="*/ 5274942 h 5694042"/>
                <a:gd name="connsiteX153" fmla="*/ 3982523 w 5344598"/>
                <a:gd name="connsiteY153" fmla="*/ 5322567 h 5694042"/>
                <a:gd name="connsiteX154" fmla="*/ 3972998 w 5344598"/>
                <a:gd name="connsiteY154" fmla="*/ 5351142 h 5694042"/>
                <a:gd name="connsiteX155" fmla="*/ 3944423 w 5344598"/>
                <a:gd name="connsiteY155" fmla="*/ 5484492 h 5694042"/>
                <a:gd name="connsiteX156" fmla="*/ 3934898 w 5344598"/>
                <a:gd name="connsiteY156" fmla="*/ 5513067 h 5694042"/>
                <a:gd name="connsiteX157" fmla="*/ 3906323 w 5344598"/>
                <a:gd name="connsiteY157" fmla="*/ 5551167 h 5694042"/>
                <a:gd name="connsiteX158" fmla="*/ 3896798 w 5344598"/>
                <a:gd name="connsiteY158" fmla="*/ 5579742 h 5694042"/>
                <a:gd name="connsiteX159" fmla="*/ 3887273 w 5344598"/>
                <a:gd name="connsiteY159" fmla="*/ 5646417 h 5694042"/>
                <a:gd name="connsiteX160" fmla="*/ 3858698 w 5344598"/>
                <a:gd name="connsiteY160" fmla="*/ 5665467 h 5694042"/>
                <a:gd name="connsiteX161" fmla="*/ 3830123 w 5344598"/>
                <a:gd name="connsiteY161" fmla="*/ 5694042 h 5694042"/>
                <a:gd name="connsiteX162" fmla="*/ 3649148 w 5344598"/>
                <a:gd name="connsiteY162" fmla="*/ 5665467 h 5694042"/>
                <a:gd name="connsiteX163" fmla="*/ 3153848 w 5344598"/>
                <a:gd name="connsiteY163" fmla="*/ 5655942 h 5694042"/>
                <a:gd name="connsiteX164" fmla="*/ 3087173 w 5344598"/>
                <a:gd name="connsiteY164" fmla="*/ 5646417 h 5694042"/>
                <a:gd name="connsiteX165" fmla="*/ 3058598 w 5344598"/>
                <a:gd name="connsiteY165" fmla="*/ 5636892 h 5694042"/>
                <a:gd name="connsiteX166" fmla="*/ 2877623 w 5344598"/>
                <a:gd name="connsiteY166" fmla="*/ 5617842 h 5694042"/>
                <a:gd name="connsiteX167" fmla="*/ 2782373 w 5344598"/>
                <a:gd name="connsiteY167" fmla="*/ 5589267 h 5694042"/>
                <a:gd name="connsiteX168" fmla="*/ 2734748 w 5344598"/>
                <a:gd name="connsiteY168" fmla="*/ 5579742 h 5694042"/>
                <a:gd name="connsiteX169" fmla="*/ 2496623 w 5344598"/>
                <a:gd name="connsiteY169" fmla="*/ 5560692 h 5694042"/>
                <a:gd name="connsiteX170" fmla="*/ 1972748 w 5344598"/>
                <a:gd name="connsiteY170" fmla="*/ 5532117 h 5694042"/>
                <a:gd name="connsiteX171" fmla="*/ 1820348 w 5344598"/>
                <a:gd name="connsiteY171" fmla="*/ 5513067 h 5694042"/>
                <a:gd name="connsiteX172" fmla="*/ 1648898 w 5344598"/>
                <a:gd name="connsiteY172" fmla="*/ 5494017 h 5694042"/>
                <a:gd name="connsiteX173" fmla="*/ 1601273 w 5344598"/>
                <a:gd name="connsiteY173" fmla="*/ 5484492 h 5694042"/>
                <a:gd name="connsiteX174" fmla="*/ 1010723 w 5344598"/>
                <a:gd name="connsiteY174" fmla="*/ 5465442 h 5694042"/>
                <a:gd name="connsiteX175" fmla="*/ 839273 w 5344598"/>
                <a:gd name="connsiteY175" fmla="*/ 5446392 h 5694042"/>
                <a:gd name="connsiteX176" fmla="*/ 763073 w 5344598"/>
                <a:gd name="connsiteY176" fmla="*/ 5436867 h 5694042"/>
                <a:gd name="connsiteX177" fmla="*/ 677348 w 5344598"/>
                <a:gd name="connsiteY177" fmla="*/ 5427342 h 5694042"/>
                <a:gd name="connsiteX178" fmla="*/ 591623 w 5344598"/>
                <a:gd name="connsiteY178" fmla="*/ 5408292 h 5694042"/>
                <a:gd name="connsiteX179" fmla="*/ 429698 w 5344598"/>
                <a:gd name="connsiteY179" fmla="*/ 5389242 h 5694042"/>
                <a:gd name="connsiteX180" fmla="*/ 372548 w 5344598"/>
                <a:gd name="connsiteY180" fmla="*/ 5379717 h 5694042"/>
                <a:gd name="connsiteX181" fmla="*/ 382073 w 5344598"/>
                <a:gd name="connsiteY181" fmla="*/ 5351142 h 5694042"/>
                <a:gd name="connsiteX182" fmla="*/ 439223 w 5344598"/>
                <a:gd name="connsiteY182" fmla="*/ 5332092 h 5694042"/>
                <a:gd name="connsiteX183" fmla="*/ 448748 w 5344598"/>
                <a:gd name="connsiteY183" fmla="*/ 5198742 h 5694042"/>
                <a:gd name="connsiteX184" fmla="*/ 572573 w 5344598"/>
                <a:gd name="connsiteY184" fmla="*/ 5189217 h 5694042"/>
                <a:gd name="connsiteX185" fmla="*/ 601148 w 5344598"/>
                <a:gd name="connsiteY185" fmla="*/ 5170167 h 5694042"/>
                <a:gd name="connsiteX186" fmla="*/ 620198 w 5344598"/>
                <a:gd name="connsiteY186" fmla="*/ 5113017 h 5694042"/>
                <a:gd name="connsiteX187" fmla="*/ 639248 w 5344598"/>
                <a:gd name="connsiteY187" fmla="*/ 5074917 h 5694042"/>
                <a:gd name="connsiteX188" fmla="*/ 610673 w 5344598"/>
                <a:gd name="connsiteY188" fmla="*/ 5017767 h 5694042"/>
                <a:gd name="connsiteX189" fmla="*/ 591623 w 5344598"/>
                <a:gd name="connsiteY189" fmla="*/ 4989192 h 5694042"/>
                <a:gd name="connsiteX190" fmla="*/ 601148 w 5344598"/>
                <a:gd name="connsiteY190" fmla="*/ 4912992 h 5694042"/>
                <a:gd name="connsiteX191" fmla="*/ 591623 w 5344598"/>
                <a:gd name="connsiteY191" fmla="*/ 4884417 h 5694042"/>
                <a:gd name="connsiteX192" fmla="*/ 524948 w 5344598"/>
                <a:gd name="connsiteY192" fmla="*/ 4808217 h 5694042"/>
                <a:gd name="connsiteX193" fmla="*/ 496373 w 5344598"/>
                <a:gd name="connsiteY193" fmla="*/ 4770117 h 5694042"/>
                <a:gd name="connsiteX194" fmla="*/ 524948 w 5344598"/>
                <a:gd name="connsiteY194" fmla="*/ 4703442 h 5694042"/>
                <a:gd name="connsiteX195" fmla="*/ 563048 w 5344598"/>
                <a:gd name="connsiteY195" fmla="*/ 4693917 h 5694042"/>
                <a:gd name="connsiteX196" fmla="*/ 505898 w 5344598"/>
                <a:gd name="connsiteY196" fmla="*/ 4589142 h 5694042"/>
                <a:gd name="connsiteX197" fmla="*/ 534473 w 5344598"/>
                <a:gd name="connsiteY197" fmla="*/ 4484367 h 5694042"/>
                <a:gd name="connsiteX198" fmla="*/ 563048 w 5344598"/>
                <a:gd name="connsiteY198" fmla="*/ 4465317 h 5694042"/>
                <a:gd name="connsiteX199" fmla="*/ 572573 w 5344598"/>
                <a:gd name="connsiteY199" fmla="*/ 4436742 h 5694042"/>
                <a:gd name="connsiteX200" fmla="*/ 601148 w 5344598"/>
                <a:gd name="connsiteY200" fmla="*/ 4417692 h 5694042"/>
                <a:gd name="connsiteX201" fmla="*/ 582098 w 5344598"/>
                <a:gd name="connsiteY201" fmla="*/ 4389117 h 5694042"/>
                <a:gd name="connsiteX202" fmla="*/ 553523 w 5344598"/>
                <a:gd name="connsiteY202" fmla="*/ 4351017 h 5694042"/>
                <a:gd name="connsiteX203" fmla="*/ 543998 w 5344598"/>
                <a:gd name="connsiteY203" fmla="*/ 4312917 h 5694042"/>
                <a:gd name="connsiteX204" fmla="*/ 572573 w 5344598"/>
                <a:gd name="connsiteY204" fmla="*/ 4293867 h 5694042"/>
                <a:gd name="connsiteX205" fmla="*/ 658298 w 5344598"/>
                <a:gd name="connsiteY205" fmla="*/ 4284342 h 5694042"/>
                <a:gd name="connsiteX206" fmla="*/ 715448 w 5344598"/>
                <a:gd name="connsiteY206" fmla="*/ 4217667 h 5694042"/>
                <a:gd name="connsiteX207" fmla="*/ 705923 w 5344598"/>
                <a:gd name="connsiteY207" fmla="*/ 4103367 h 5694042"/>
                <a:gd name="connsiteX208" fmla="*/ 686873 w 5344598"/>
                <a:gd name="connsiteY208" fmla="*/ 4074792 h 5694042"/>
                <a:gd name="connsiteX209" fmla="*/ 667823 w 5344598"/>
                <a:gd name="connsiteY209" fmla="*/ 4017642 h 5694042"/>
                <a:gd name="connsiteX210" fmla="*/ 677348 w 5344598"/>
                <a:gd name="connsiteY210" fmla="*/ 3922392 h 5694042"/>
                <a:gd name="connsiteX211" fmla="*/ 639248 w 5344598"/>
                <a:gd name="connsiteY211" fmla="*/ 3865242 h 5694042"/>
                <a:gd name="connsiteX212" fmla="*/ 591623 w 5344598"/>
                <a:gd name="connsiteY212" fmla="*/ 3808092 h 5694042"/>
                <a:gd name="connsiteX213" fmla="*/ 572573 w 5344598"/>
                <a:gd name="connsiteY213" fmla="*/ 3779517 h 5694042"/>
                <a:gd name="connsiteX214" fmla="*/ 610673 w 5344598"/>
                <a:gd name="connsiteY214" fmla="*/ 3731892 h 5694042"/>
                <a:gd name="connsiteX215" fmla="*/ 629723 w 5344598"/>
                <a:gd name="connsiteY215" fmla="*/ 3703317 h 5694042"/>
                <a:gd name="connsiteX216" fmla="*/ 686873 w 5344598"/>
                <a:gd name="connsiteY216" fmla="*/ 3655692 h 5694042"/>
                <a:gd name="connsiteX217" fmla="*/ 639248 w 5344598"/>
                <a:gd name="connsiteY217" fmla="*/ 3560442 h 5694042"/>
                <a:gd name="connsiteX218" fmla="*/ 620198 w 5344598"/>
                <a:gd name="connsiteY218" fmla="*/ 3531867 h 5694042"/>
                <a:gd name="connsiteX219" fmla="*/ 610673 w 5344598"/>
                <a:gd name="connsiteY219" fmla="*/ 3398517 h 5694042"/>
                <a:gd name="connsiteX220" fmla="*/ 582098 w 5344598"/>
                <a:gd name="connsiteY220" fmla="*/ 3379467 h 5694042"/>
                <a:gd name="connsiteX221" fmla="*/ 553523 w 5344598"/>
                <a:gd name="connsiteY221" fmla="*/ 3350892 h 5694042"/>
                <a:gd name="connsiteX222" fmla="*/ 496373 w 5344598"/>
                <a:gd name="connsiteY222" fmla="*/ 3331842 h 5694042"/>
                <a:gd name="connsiteX223" fmla="*/ 524948 w 5344598"/>
                <a:gd name="connsiteY223" fmla="*/ 3255642 h 5694042"/>
                <a:gd name="connsiteX224" fmla="*/ 553523 w 5344598"/>
                <a:gd name="connsiteY224" fmla="*/ 3236592 h 5694042"/>
                <a:gd name="connsiteX225" fmla="*/ 563048 w 5344598"/>
                <a:gd name="connsiteY225" fmla="*/ 3208017 h 5694042"/>
                <a:gd name="connsiteX226" fmla="*/ 543998 w 5344598"/>
                <a:gd name="connsiteY226" fmla="*/ 3141342 h 5694042"/>
                <a:gd name="connsiteX227" fmla="*/ 534473 w 5344598"/>
                <a:gd name="connsiteY227" fmla="*/ 3103242 h 5694042"/>
                <a:gd name="connsiteX228" fmla="*/ 524948 w 5344598"/>
                <a:gd name="connsiteY228" fmla="*/ 3046092 h 5694042"/>
                <a:gd name="connsiteX229" fmla="*/ 496373 w 5344598"/>
                <a:gd name="connsiteY229" fmla="*/ 3036567 h 5694042"/>
                <a:gd name="connsiteX230" fmla="*/ 458273 w 5344598"/>
                <a:gd name="connsiteY230" fmla="*/ 3017517 h 5694042"/>
                <a:gd name="connsiteX231" fmla="*/ 439223 w 5344598"/>
                <a:gd name="connsiteY231" fmla="*/ 2979417 h 5694042"/>
                <a:gd name="connsiteX232" fmla="*/ 429698 w 5344598"/>
                <a:gd name="connsiteY232" fmla="*/ 2931792 h 5694042"/>
                <a:gd name="connsiteX233" fmla="*/ 401123 w 5344598"/>
                <a:gd name="connsiteY233" fmla="*/ 2912742 h 5694042"/>
                <a:gd name="connsiteX234" fmla="*/ 382073 w 5344598"/>
                <a:gd name="connsiteY234" fmla="*/ 2884167 h 5694042"/>
                <a:gd name="connsiteX235" fmla="*/ 439223 w 5344598"/>
                <a:gd name="connsiteY235" fmla="*/ 2846067 h 5694042"/>
                <a:gd name="connsiteX236" fmla="*/ 439223 w 5344598"/>
                <a:gd name="connsiteY236" fmla="*/ 2769867 h 5694042"/>
                <a:gd name="connsiteX237" fmla="*/ 401123 w 5344598"/>
                <a:gd name="connsiteY237" fmla="*/ 2693667 h 5694042"/>
                <a:gd name="connsiteX238" fmla="*/ 324923 w 5344598"/>
                <a:gd name="connsiteY238" fmla="*/ 2665092 h 5694042"/>
                <a:gd name="connsiteX239" fmla="*/ 296348 w 5344598"/>
                <a:gd name="connsiteY239" fmla="*/ 2655567 h 5694042"/>
                <a:gd name="connsiteX240" fmla="*/ 277298 w 5344598"/>
                <a:gd name="connsiteY240" fmla="*/ 2617467 h 5694042"/>
                <a:gd name="connsiteX241" fmla="*/ 258248 w 5344598"/>
                <a:gd name="connsiteY241" fmla="*/ 2588892 h 5694042"/>
                <a:gd name="connsiteX242" fmla="*/ 277298 w 5344598"/>
                <a:gd name="connsiteY242" fmla="*/ 2503167 h 5694042"/>
                <a:gd name="connsiteX243" fmla="*/ 258248 w 5344598"/>
                <a:gd name="connsiteY243" fmla="*/ 2407917 h 5694042"/>
                <a:gd name="connsiteX244" fmla="*/ 267773 w 5344598"/>
                <a:gd name="connsiteY244" fmla="*/ 2379342 h 5694042"/>
                <a:gd name="connsiteX245" fmla="*/ 258248 w 5344598"/>
                <a:gd name="connsiteY245" fmla="*/ 2350767 h 5694042"/>
                <a:gd name="connsiteX246" fmla="*/ 229673 w 5344598"/>
                <a:gd name="connsiteY246" fmla="*/ 2265042 h 5694042"/>
                <a:gd name="connsiteX247" fmla="*/ 239198 w 5344598"/>
                <a:gd name="connsiteY247" fmla="*/ 2179317 h 5694042"/>
                <a:gd name="connsiteX248" fmla="*/ 267773 w 5344598"/>
                <a:gd name="connsiteY248" fmla="*/ 2150742 h 5694042"/>
                <a:gd name="connsiteX249" fmla="*/ 277298 w 5344598"/>
                <a:gd name="connsiteY249" fmla="*/ 2122167 h 5694042"/>
                <a:gd name="connsiteX250" fmla="*/ 258248 w 5344598"/>
                <a:gd name="connsiteY250" fmla="*/ 2093592 h 5694042"/>
                <a:gd name="connsiteX251" fmla="*/ 229673 w 5344598"/>
                <a:gd name="connsiteY251" fmla="*/ 2084067 h 5694042"/>
                <a:gd name="connsiteX252" fmla="*/ 201098 w 5344598"/>
                <a:gd name="connsiteY252" fmla="*/ 2055492 h 5694042"/>
                <a:gd name="connsiteX253" fmla="*/ 239198 w 5344598"/>
                <a:gd name="connsiteY253" fmla="*/ 2017392 h 5694042"/>
                <a:gd name="connsiteX254" fmla="*/ 286823 w 5344598"/>
                <a:gd name="connsiteY254" fmla="*/ 1979292 h 5694042"/>
                <a:gd name="connsiteX255" fmla="*/ 248723 w 5344598"/>
                <a:gd name="connsiteY255" fmla="*/ 1922142 h 5694042"/>
                <a:gd name="connsiteX256" fmla="*/ 239198 w 5344598"/>
                <a:gd name="connsiteY256" fmla="*/ 1893567 h 5694042"/>
                <a:gd name="connsiteX257" fmla="*/ 191573 w 5344598"/>
                <a:gd name="connsiteY257" fmla="*/ 1884042 h 5694042"/>
                <a:gd name="connsiteX258" fmla="*/ 162998 w 5344598"/>
                <a:gd name="connsiteY258" fmla="*/ 1874517 h 5694042"/>
                <a:gd name="connsiteX259" fmla="*/ 124898 w 5344598"/>
                <a:gd name="connsiteY259" fmla="*/ 1864992 h 5694042"/>
                <a:gd name="connsiteX260" fmla="*/ 67748 w 5344598"/>
                <a:gd name="connsiteY260" fmla="*/ 1845942 h 5694042"/>
                <a:gd name="connsiteX261" fmla="*/ 48698 w 5344598"/>
                <a:gd name="connsiteY261" fmla="*/ 1788792 h 5694042"/>
                <a:gd name="connsiteX262" fmla="*/ 39173 w 5344598"/>
                <a:gd name="connsiteY262" fmla="*/ 1760217 h 5694042"/>
                <a:gd name="connsiteX263" fmla="*/ 10598 w 5344598"/>
                <a:gd name="connsiteY263" fmla="*/ 1741167 h 5694042"/>
                <a:gd name="connsiteX264" fmla="*/ 1073 w 5344598"/>
                <a:gd name="connsiteY264" fmla="*/ 1712592 h 5694042"/>
                <a:gd name="connsiteX265" fmla="*/ 67748 w 5344598"/>
                <a:gd name="connsiteY265" fmla="*/ 1674492 h 5694042"/>
                <a:gd name="connsiteX266" fmla="*/ 182048 w 5344598"/>
                <a:gd name="connsiteY266" fmla="*/ 1674492 h 5694042"/>
                <a:gd name="connsiteX267" fmla="*/ 220148 w 5344598"/>
                <a:gd name="connsiteY267" fmla="*/ 1598292 h 5694042"/>
                <a:gd name="connsiteX268" fmla="*/ 229673 w 5344598"/>
                <a:gd name="connsiteY268" fmla="*/ 1560192 h 5694042"/>
                <a:gd name="connsiteX269" fmla="*/ 258248 w 5344598"/>
                <a:gd name="connsiteY269" fmla="*/ 1541142 h 5694042"/>
                <a:gd name="connsiteX270" fmla="*/ 267773 w 5344598"/>
                <a:gd name="connsiteY270" fmla="*/ 1579242 h 5694042"/>
                <a:gd name="connsiteX271" fmla="*/ 353498 w 5344598"/>
                <a:gd name="connsiteY271" fmla="*/ 1588767 h 5694042"/>
                <a:gd name="connsiteX272" fmla="*/ 401123 w 5344598"/>
                <a:gd name="connsiteY272" fmla="*/ 1579242 h 5694042"/>
                <a:gd name="connsiteX273" fmla="*/ 372548 w 5344598"/>
                <a:gd name="connsiteY273" fmla="*/ 1503042 h 5694042"/>
                <a:gd name="connsiteX274" fmla="*/ 343973 w 5344598"/>
                <a:gd name="connsiteY274" fmla="*/ 1474467 h 5694042"/>
                <a:gd name="connsiteX275" fmla="*/ 315398 w 5344598"/>
                <a:gd name="connsiteY275" fmla="*/ 1350642 h 5694042"/>
                <a:gd name="connsiteX276" fmla="*/ 286823 w 5344598"/>
                <a:gd name="connsiteY276" fmla="*/ 1341117 h 5694042"/>
                <a:gd name="connsiteX277" fmla="*/ 258248 w 5344598"/>
                <a:gd name="connsiteY277" fmla="*/ 1322067 h 5694042"/>
                <a:gd name="connsiteX278" fmla="*/ 248723 w 5344598"/>
                <a:gd name="connsiteY278" fmla="*/ 1293492 h 5694042"/>
                <a:gd name="connsiteX279" fmla="*/ 239198 w 5344598"/>
                <a:gd name="connsiteY279" fmla="*/ 1245867 h 5694042"/>
                <a:gd name="connsiteX280" fmla="*/ 229673 w 5344598"/>
                <a:gd name="connsiteY280" fmla="*/ 1188717 h 5694042"/>
                <a:gd name="connsiteX281" fmla="*/ 201098 w 5344598"/>
                <a:gd name="connsiteY281" fmla="*/ 1179192 h 5694042"/>
                <a:gd name="connsiteX282" fmla="*/ 162998 w 5344598"/>
                <a:gd name="connsiteY282" fmla="*/ 1169667 h 5694042"/>
                <a:gd name="connsiteX283" fmla="*/ 96323 w 5344598"/>
                <a:gd name="connsiteY283" fmla="*/ 1093467 h 5694042"/>
                <a:gd name="connsiteX284" fmla="*/ 77273 w 5344598"/>
                <a:gd name="connsiteY284" fmla="*/ 1064892 h 5694042"/>
                <a:gd name="connsiteX285" fmla="*/ 105848 w 5344598"/>
                <a:gd name="connsiteY285" fmla="*/ 1055367 h 5694042"/>
                <a:gd name="connsiteX286" fmla="*/ 162998 w 5344598"/>
                <a:gd name="connsiteY286" fmla="*/ 1045842 h 5694042"/>
                <a:gd name="connsiteX287" fmla="*/ 191573 w 5344598"/>
                <a:gd name="connsiteY287" fmla="*/ 1036317 h 5694042"/>
                <a:gd name="connsiteX288" fmla="*/ 220148 w 5344598"/>
                <a:gd name="connsiteY288" fmla="*/ 1017267 h 5694042"/>
                <a:gd name="connsiteX289" fmla="*/ 277298 w 5344598"/>
                <a:gd name="connsiteY289" fmla="*/ 998217 h 5694042"/>
                <a:gd name="connsiteX290" fmla="*/ 305873 w 5344598"/>
                <a:gd name="connsiteY290" fmla="*/ 988692 h 5694042"/>
                <a:gd name="connsiteX291" fmla="*/ 334448 w 5344598"/>
                <a:gd name="connsiteY291" fmla="*/ 969642 h 5694042"/>
                <a:gd name="connsiteX292" fmla="*/ 363023 w 5344598"/>
                <a:gd name="connsiteY292" fmla="*/ 941067 h 5694042"/>
                <a:gd name="connsiteX293" fmla="*/ 410648 w 5344598"/>
                <a:gd name="connsiteY293" fmla="*/ 922017 h 5694042"/>
                <a:gd name="connsiteX294" fmla="*/ 439223 w 5344598"/>
                <a:gd name="connsiteY294" fmla="*/ 902967 h 5694042"/>
                <a:gd name="connsiteX295" fmla="*/ 553523 w 5344598"/>
                <a:gd name="connsiteY295" fmla="*/ 883917 h 5694042"/>
                <a:gd name="connsiteX296" fmla="*/ 582098 w 5344598"/>
                <a:gd name="connsiteY296" fmla="*/ 826767 h 5694042"/>
                <a:gd name="connsiteX297" fmla="*/ 601148 w 5344598"/>
                <a:gd name="connsiteY297" fmla="*/ 788667 h 5694042"/>
                <a:gd name="connsiteX298" fmla="*/ 620198 w 5344598"/>
                <a:gd name="connsiteY298" fmla="*/ 760092 h 5694042"/>
                <a:gd name="connsiteX299" fmla="*/ 629723 w 5344598"/>
                <a:gd name="connsiteY299" fmla="*/ 731517 h 5694042"/>
                <a:gd name="connsiteX300" fmla="*/ 658298 w 5344598"/>
                <a:gd name="connsiteY300" fmla="*/ 741042 h 5694042"/>
                <a:gd name="connsiteX301" fmla="*/ 686873 w 5344598"/>
                <a:gd name="connsiteY301" fmla="*/ 760092 h 5694042"/>
                <a:gd name="connsiteX302" fmla="*/ 734498 w 5344598"/>
                <a:gd name="connsiteY302" fmla="*/ 693417 h 5694042"/>
                <a:gd name="connsiteX303" fmla="*/ 744023 w 5344598"/>
                <a:gd name="connsiteY303" fmla="*/ 626742 h 5694042"/>
                <a:gd name="connsiteX304" fmla="*/ 801173 w 5344598"/>
                <a:gd name="connsiteY304" fmla="*/ 645792 h 5694042"/>
                <a:gd name="connsiteX305" fmla="*/ 867848 w 5344598"/>
                <a:gd name="connsiteY305" fmla="*/ 683892 h 5694042"/>
                <a:gd name="connsiteX306" fmla="*/ 896423 w 5344598"/>
                <a:gd name="connsiteY306" fmla="*/ 693417 h 5694042"/>
                <a:gd name="connsiteX307" fmla="*/ 953573 w 5344598"/>
                <a:gd name="connsiteY307" fmla="*/ 664842 h 5694042"/>
                <a:gd name="connsiteX308" fmla="*/ 982148 w 5344598"/>
                <a:gd name="connsiteY308" fmla="*/ 655317 h 5694042"/>
                <a:gd name="connsiteX309" fmla="*/ 991673 w 5344598"/>
                <a:gd name="connsiteY309" fmla="*/ 541017 h 5694042"/>
                <a:gd name="connsiteX310" fmla="*/ 1001198 w 5344598"/>
                <a:gd name="connsiteY310" fmla="*/ 388617 h 5694042"/>
                <a:gd name="connsiteX311" fmla="*/ 1020248 w 5344598"/>
                <a:gd name="connsiteY311" fmla="*/ 350517 h 5694042"/>
                <a:gd name="connsiteX312" fmla="*/ 1048823 w 5344598"/>
                <a:gd name="connsiteY312" fmla="*/ 255267 h 5694042"/>
                <a:gd name="connsiteX313" fmla="*/ 1067873 w 5344598"/>
                <a:gd name="connsiteY313" fmla="*/ 226692 h 5694042"/>
                <a:gd name="connsiteX314" fmla="*/ 1077398 w 5344598"/>
                <a:gd name="connsiteY314" fmla="*/ 102867 h 5694042"/>
                <a:gd name="connsiteX315" fmla="*/ 1229798 w 5344598"/>
                <a:gd name="connsiteY315" fmla="*/ 55242 h 5694042"/>
                <a:gd name="connsiteX316" fmla="*/ 1258373 w 5344598"/>
                <a:gd name="connsiteY316" fmla="*/ 45717 h 5694042"/>
                <a:gd name="connsiteX317" fmla="*/ 1305998 w 5344598"/>
                <a:gd name="connsiteY317" fmla="*/ 83817 h 5694042"/>
                <a:gd name="connsiteX318" fmla="*/ 1344098 w 5344598"/>
                <a:gd name="connsiteY318" fmla="*/ 64767 h 5694042"/>
                <a:gd name="connsiteX319" fmla="*/ 1372673 w 5344598"/>
                <a:gd name="connsiteY319" fmla="*/ 45717 h 5694042"/>
                <a:gd name="connsiteX320" fmla="*/ 1448873 w 5344598"/>
                <a:gd name="connsiteY320" fmla="*/ 55242 h 5694042"/>
                <a:gd name="connsiteX321" fmla="*/ 1467923 w 5344598"/>
                <a:gd name="connsiteY321" fmla="*/ 83817 h 5694042"/>
                <a:gd name="connsiteX322" fmla="*/ 1515548 w 5344598"/>
                <a:gd name="connsiteY322" fmla="*/ 121917 h 5694042"/>
                <a:gd name="connsiteX323" fmla="*/ 1525073 w 5344598"/>
                <a:gd name="connsiteY323" fmla="*/ 160017 h 5694042"/>
                <a:gd name="connsiteX324" fmla="*/ 1553648 w 5344598"/>
                <a:gd name="connsiteY324" fmla="*/ 169542 h 5694042"/>
                <a:gd name="connsiteX325" fmla="*/ 1629848 w 5344598"/>
                <a:gd name="connsiteY325" fmla="*/ 188592 h 5694042"/>
                <a:gd name="connsiteX326" fmla="*/ 1686998 w 5344598"/>
                <a:gd name="connsiteY326" fmla="*/ 226692 h 5694042"/>
                <a:gd name="connsiteX327" fmla="*/ 1715573 w 5344598"/>
                <a:gd name="connsiteY327" fmla="*/ 207642 h 5694042"/>
                <a:gd name="connsiteX328" fmla="*/ 1725098 w 5344598"/>
                <a:gd name="connsiteY328" fmla="*/ 160017 h 5694042"/>
                <a:gd name="connsiteX329" fmla="*/ 1734623 w 5344598"/>
                <a:gd name="connsiteY329" fmla="*/ 121917 h 5694042"/>
                <a:gd name="connsiteX330" fmla="*/ 1725098 w 5344598"/>
                <a:gd name="connsiteY330" fmla="*/ 93342 h 5694042"/>
                <a:gd name="connsiteX331" fmla="*/ 1782248 w 5344598"/>
                <a:gd name="connsiteY331" fmla="*/ 45717 h 5694042"/>
                <a:gd name="connsiteX332" fmla="*/ 1839398 w 5344598"/>
                <a:gd name="connsiteY332" fmla="*/ 26667 h 5694042"/>
                <a:gd name="connsiteX333" fmla="*/ 2277548 w 5344598"/>
                <a:gd name="connsiteY333" fmla="*/ 7617 h 5694042"/>
                <a:gd name="connsiteX334" fmla="*/ 3134798 w 5344598"/>
                <a:gd name="connsiteY334" fmla="*/ 17142 h 5694042"/>
                <a:gd name="connsiteX335" fmla="*/ 3163373 w 5344598"/>
                <a:gd name="connsiteY335" fmla="*/ 36192 h 5694042"/>
                <a:gd name="connsiteX336" fmla="*/ 3201473 w 5344598"/>
                <a:gd name="connsiteY336" fmla="*/ 45717 h 5694042"/>
                <a:gd name="connsiteX337" fmla="*/ 3334823 w 5344598"/>
                <a:gd name="connsiteY337" fmla="*/ 64767 h 569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</a:cxnLst>
              <a:rect l="l" t="t" r="r" b="b"/>
              <a:pathLst>
                <a:path w="5344598" h="5694042">
                  <a:moveTo>
                    <a:pt x="3334823" y="64767"/>
                  </a:moveTo>
                  <a:cubicBezTo>
                    <a:pt x="3360223" y="75879"/>
                    <a:pt x="3352453" y="95353"/>
                    <a:pt x="3353873" y="112392"/>
                  </a:cubicBezTo>
                  <a:cubicBezTo>
                    <a:pt x="3354765" y="123092"/>
                    <a:pt x="3346154" y="187246"/>
                    <a:pt x="3334823" y="207642"/>
                  </a:cubicBezTo>
                  <a:cubicBezTo>
                    <a:pt x="3323704" y="227656"/>
                    <a:pt x="3296723" y="264792"/>
                    <a:pt x="3296723" y="264792"/>
                  </a:cubicBezTo>
                  <a:cubicBezTo>
                    <a:pt x="3293548" y="280667"/>
                    <a:pt x="3290710" y="296613"/>
                    <a:pt x="3287198" y="312417"/>
                  </a:cubicBezTo>
                  <a:cubicBezTo>
                    <a:pt x="3284358" y="325196"/>
                    <a:pt x="3285851" y="340295"/>
                    <a:pt x="3277673" y="350517"/>
                  </a:cubicBezTo>
                  <a:cubicBezTo>
                    <a:pt x="3271401" y="358357"/>
                    <a:pt x="3258752" y="357284"/>
                    <a:pt x="3249098" y="360042"/>
                  </a:cubicBezTo>
                  <a:cubicBezTo>
                    <a:pt x="3236511" y="363638"/>
                    <a:pt x="3223698" y="366392"/>
                    <a:pt x="3210998" y="369567"/>
                  </a:cubicBezTo>
                  <a:cubicBezTo>
                    <a:pt x="3201473" y="375917"/>
                    <a:pt x="3188490" y="378909"/>
                    <a:pt x="3182423" y="388617"/>
                  </a:cubicBezTo>
                  <a:lnTo>
                    <a:pt x="3153848" y="474342"/>
                  </a:lnTo>
                  <a:lnTo>
                    <a:pt x="3144323" y="502917"/>
                  </a:lnTo>
                  <a:lnTo>
                    <a:pt x="3134798" y="531492"/>
                  </a:lnTo>
                  <a:cubicBezTo>
                    <a:pt x="3137973" y="550542"/>
                    <a:pt x="3134592" y="571960"/>
                    <a:pt x="3144323" y="588642"/>
                  </a:cubicBezTo>
                  <a:cubicBezTo>
                    <a:pt x="3157898" y="611913"/>
                    <a:pt x="3201473" y="645792"/>
                    <a:pt x="3201473" y="645792"/>
                  </a:cubicBezTo>
                  <a:cubicBezTo>
                    <a:pt x="3209717" y="670525"/>
                    <a:pt x="3220500" y="685829"/>
                    <a:pt x="3201473" y="712467"/>
                  </a:cubicBezTo>
                  <a:cubicBezTo>
                    <a:pt x="3192246" y="725385"/>
                    <a:pt x="3174598" y="729817"/>
                    <a:pt x="3163373" y="741042"/>
                  </a:cubicBezTo>
                  <a:cubicBezTo>
                    <a:pt x="3152148" y="752267"/>
                    <a:pt x="3146023" y="767917"/>
                    <a:pt x="3134798" y="779142"/>
                  </a:cubicBezTo>
                  <a:cubicBezTo>
                    <a:pt x="3116334" y="797606"/>
                    <a:pt x="3100889" y="799970"/>
                    <a:pt x="3077648" y="807717"/>
                  </a:cubicBezTo>
                  <a:cubicBezTo>
                    <a:pt x="3063201" y="817349"/>
                    <a:pt x="3040216" y="836292"/>
                    <a:pt x="3020498" y="836292"/>
                  </a:cubicBezTo>
                  <a:cubicBezTo>
                    <a:pt x="3010458" y="836292"/>
                    <a:pt x="3001448" y="829942"/>
                    <a:pt x="2991923" y="826767"/>
                  </a:cubicBezTo>
                  <a:cubicBezTo>
                    <a:pt x="2969698" y="829942"/>
                    <a:pt x="2942969" y="822509"/>
                    <a:pt x="2925248" y="836292"/>
                  </a:cubicBezTo>
                  <a:cubicBezTo>
                    <a:pt x="2909397" y="848620"/>
                    <a:pt x="2912548" y="874392"/>
                    <a:pt x="2906198" y="893442"/>
                  </a:cubicBezTo>
                  <a:cubicBezTo>
                    <a:pt x="2902578" y="904302"/>
                    <a:pt x="2894753" y="913461"/>
                    <a:pt x="2887148" y="922017"/>
                  </a:cubicBezTo>
                  <a:cubicBezTo>
                    <a:pt x="2869250" y="942153"/>
                    <a:pt x="2852414" y="964223"/>
                    <a:pt x="2829998" y="979167"/>
                  </a:cubicBezTo>
                  <a:lnTo>
                    <a:pt x="2772848" y="1017267"/>
                  </a:lnTo>
                  <a:cubicBezTo>
                    <a:pt x="2766498" y="1026792"/>
                    <a:pt x="2761893" y="1037747"/>
                    <a:pt x="2753798" y="1045842"/>
                  </a:cubicBezTo>
                  <a:cubicBezTo>
                    <a:pt x="2735334" y="1064306"/>
                    <a:pt x="2719889" y="1066670"/>
                    <a:pt x="2696648" y="1074417"/>
                  </a:cubicBezTo>
                  <a:cubicBezTo>
                    <a:pt x="2687123" y="1068067"/>
                    <a:pt x="2675224" y="1064306"/>
                    <a:pt x="2668073" y="1055367"/>
                  </a:cubicBezTo>
                  <a:cubicBezTo>
                    <a:pt x="2661801" y="1047527"/>
                    <a:pt x="2666718" y="1032628"/>
                    <a:pt x="2658548" y="1026792"/>
                  </a:cubicBezTo>
                  <a:cubicBezTo>
                    <a:pt x="2642208" y="1015120"/>
                    <a:pt x="2601398" y="1007742"/>
                    <a:pt x="2601398" y="1007742"/>
                  </a:cubicBezTo>
                  <a:cubicBezTo>
                    <a:pt x="2591873" y="1014092"/>
                    <a:pt x="2575068" y="1015567"/>
                    <a:pt x="2572823" y="1026792"/>
                  </a:cubicBezTo>
                  <a:cubicBezTo>
                    <a:pt x="2570578" y="1038017"/>
                    <a:pt x="2583181" y="1047917"/>
                    <a:pt x="2591873" y="1055367"/>
                  </a:cubicBezTo>
                  <a:cubicBezTo>
                    <a:pt x="2625798" y="1084446"/>
                    <a:pt x="2639162" y="1083858"/>
                    <a:pt x="2677598" y="1093467"/>
                  </a:cubicBezTo>
                  <a:cubicBezTo>
                    <a:pt x="2731767" y="1147636"/>
                    <a:pt x="2688129" y="1095478"/>
                    <a:pt x="2715698" y="1150617"/>
                  </a:cubicBezTo>
                  <a:cubicBezTo>
                    <a:pt x="2720818" y="1160856"/>
                    <a:pt x="2729628" y="1168953"/>
                    <a:pt x="2734748" y="1179192"/>
                  </a:cubicBezTo>
                  <a:cubicBezTo>
                    <a:pt x="2739238" y="1188172"/>
                    <a:pt x="2738109" y="1199842"/>
                    <a:pt x="2744273" y="1207767"/>
                  </a:cubicBezTo>
                  <a:cubicBezTo>
                    <a:pt x="2760813" y="1229033"/>
                    <a:pt x="2782373" y="1245867"/>
                    <a:pt x="2801423" y="1264917"/>
                  </a:cubicBezTo>
                  <a:lnTo>
                    <a:pt x="2829998" y="1293492"/>
                  </a:lnTo>
                  <a:cubicBezTo>
                    <a:pt x="2848487" y="1348960"/>
                    <a:pt x="2858762" y="1350074"/>
                    <a:pt x="2839523" y="1407792"/>
                  </a:cubicBezTo>
                  <a:cubicBezTo>
                    <a:pt x="2835903" y="1418652"/>
                    <a:pt x="2826823" y="1426842"/>
                    <a:pt x="2820473" y="1436367"/>
                  </a:cubicBezTo>
                  <a:cubicBezTo>
                    <a:pt x="2823648" y="1458592"/>
                    <a:pt x="2825595" y="1481027"/>
                    <a:pt x="2829998" y="1503042"/>
                  </a:cubicBezTo>
                  <a:cubicBezTo>
                    <a:pt x="2831967" y="1512887"/>
                    <a:pt x="2837727" y="1521739"/>
                    <a:pt x="2839523" y="1531617"/>
                  </a:cubicBezTo>
                  <a:cubicBezTo>
                    <a:pt x="2840179" y="1535226"/>
                    <a:pt x="2844920" y="1615913"/>
                    <a:pt x="2858573" y="1636392"/>
                  </a:cubicBezTo>
                  <a:cubicBezTo>
                    <a:pt x="2866045" y="1647600"/>
                    <a:pt x="2877623" y="1655442"/>
                    <a:pt x="2887148" y="1664967"/>
                  </a:cubicBezTo>
                  <a:cubicBezTo>
                    <a:pt x="2893498" y="1655442"/>
                    <a:pt x="2898869" y="1645186"/>
                    <a:pt x="2906198" y="1636392"/>
                  </a:cubicBezTo>
                  <a:cubicBezTo>
                    <a:pt x="2914822" y="1626044"/>
                    <a:pt x="2928231" y="1619592"/>
                    <a:pt x="2934773" y="1607817"/>
                  </a:cubicBezTo>
                  <a:cubicBezTo>
                    <a:pt x="2944525" y="1590264"/>
                    <a:pt x="2953823" y="1550667"/>
                    <a:pt x="2953823" y="1550667"/>
                  </a:cubicBezTo>
                  <a:cubicBezTo>
                    <a:pt x="2956998" y="1515742"/>
                    <a:pt x="2952258" y="1479161"/>
                    <a:pt x="2963348" y="1445892"/>
                  </a:cubicBezTo>
                  <a:cubicBezTo>
                    <a:pt x="2966523" y="1436367"/>
                    <a:pt x="2983206" y="1441348"/>
                    <a:pt x="2991923" y="1436367"/>
                  </a:cubicBezTo>
                  <a:cubicBezTo>
                    <a:pt x="3022124" y="1419109"/>
                    <a:pt x="3029114" y="1403484"/>
                    <a:pt x="3058598" y="1388742"/>
                  </a:cubicBezTo>
                  <a:cubicBezTo>
                    <a:pt x="3067578" y="1384252"/>
                    <a:pt x="3077648" y="1382392"/>
                    <a:pt x="3087173" y="1379217"/>
                  </a:cubicBezTo>
                  <a:cubicBezTo>
                    <a:pt x="3125716" y="1384035"/>
                    <a:pt x="3169181" y="1380882"/>
                    <a:pt x="3201473" y="1407792"/>
                  </a:cubicBezTo>
                  <a:cubicBezTo>
                    <a:pt x="3210267" y="1415121"/>
                    <a:pt x="3214173" y="1426842"/>
                    <a:pt x="3220523" y="1436367"/>
                  </a:cubicBezTo>
                  <a:cubicBezTo>
                    <a:pt x="3223698" y="1458592"/>
                    <a:pt x="3220930" y="1482526"/>
                    <a:pt x="3230048" y="1503042"/>
                  </a:cubicBezTo>
                  <a:cubicBezTo>
                    <a:pt x="3234697" y="1513503"/>
                    <a:pt x="3249829" y="1514763"/>
                    <a:pt x="3258623" y="1522092"/>
                  </a:cubicBezTo>
                  <a:cubicBezTo>
                    <a:pt x="3268971" y="1530716"/>
                    <a:pt x="3277673" y="1541142"/>
                    <a:pt x="3287198" y="1550667"/>
                  </a:cubicBezTo>
                  <a:cubicBezTo>
                    <a:pt x="3293548" y="1576067"/>
                    <a:pt x="3292192" y="1604778"/>
                    <a:pt x="3306248" y="1626867"/>
                  </a:cubicBezTo>
                  <a:cubicBezTo>
                    <a:pt x="3316187" y="1642486"/>
                    <a:pt x="3338174" y="1645630"/>
                    <a:pt x="3353873" y="1655442"/>
                  </a:cubicBezTo>
                  <a:cubicBezTo>
                    <a:pt x="3396078" y="1681820"/>
                    <a:pt x="3366961" y="1669330"/>
                    <a:pt x="3411023" y="1684017"/>
                  </a:cubicBezTo>
                  <a:cubicBezTo>
                    <a:pt x="3426898" y="1680842"/>
                    <a:pt x="3442942" y="1678419"/>
                    <a:pt x="3458648" y="1674492"/>
                  </a:cubicBezTo>
                  <a:cubicBezTo>
                    <a:pt x="3468388" y="1672057"/>
                    <a:pt x="3477569" y="1667725"/>
                    <a:pt x="3487223" y="1664967"/>
                  </a:cubicBezTo>
                  <a:cubicBezTo>
                    <a:pt x="3499810" y="1661371"/>
                    <a:pt x="3512623" y="1658617"/>
                    <a:pt x="3525323" y="1655442"/>
                  </a:cubicBezTo>
                  <a:cubicBezTo>
                    <a:pt x="3534848" y="1649092"/>
                    <a:pt x="3543659" y="1641512"/>
                    <a:pt x="3553898" y="1636392"/>
                  </a:cubicBezTo>
                  <a:cubicBezTo>
                    <a:pt x="3619807" y="1603438"/>
                    <a:pt x="3774404" y="1635591"/>
                    <a:pt x="3792023" y="1636392"/>
                  </a:cubicBezTo>
                  <a:cubicBezTo>
                    <a:pt x="3806523" y="1660559"/>
                    <a:pt x="3828716" y="1694788"/>
                    <a:pt x="3839648" y="1722117"/>
                  </a:cubicBezTo>
                  <a:cubicBezTo>
                    <a:pt x="3847106" y="1740761"/>
                    <a:pt x="3858698" y="1779267"/>
                    <a:pt x="3858698" y="1779267"/>
                  </a:cubicBezTo>
                  <a:cubicBezTo>
                    <a:pt x="3868223" y="1776092"/>
                    <a:pt x="3878133" y="1773897"/>
                    <a:pt x="3887273" y="1769742"/>
                  </a:cubicBezTo>
                  <a:cubicBezTo>
                    <a:pt x="3913126" y="1757991"/>
                    <a:pt x="3936532" y="1740622"/>
                    <a:pt x="3963473" y="1731642"/>
                  </a:cubicBezTo>
                  <a:lnTo>
                    <a:pt x="4020623" y="1712592"/>
                  </a:lnTo>
                  <a:lnTo>
                    <a:pt x="4049198" y="1703067"/>
                  </a:lnTo>
                  <a:cubicBezTo>
                    <a:pt x="4119048" y="1706242"/>
                    <a:pt x="4189915" y="1700300"/>
                    <a:pt x="4258748" y="1712592"/>
                  </a:cubicBezTo>
                  <a:cubicBezTo>
                    <a:pt x="4310708" y="1721871"/>
                    <a:pt x="4309356" y="1755856"/>
                    <a:pt x="4344473" y="1779267"/>
                  </a:cubicBezTo>
                  <a:cubicBezTo>
                    <a:pt x="4352827" y="1784836"/>
                    <a:pt x="4363523" y="1785617"/>
                    <a:pt x="4373048" y="1788792"/>
                  </a:cubicBezTo>
                  <a:cubicBezTo>
                    <a:pt x="4409879" y="1813346"/>
                    <a:pt x="4421051" y="1828034"/>
                    <a:pt x="4458773" y="1836417"/>
                  </a:cubicBezTo>
                  <a:cubicBezTo>
                    <a:pt x="4477626" y="1840607"/>
                    <a:pt x="4496873" y="1842767"/>
                    <a:pt x="4515923" y="1845942"/>
                  </a:cubicBezTo>
                  <a:cubicBezTo>
                    <a:pt x="4597815" y="1791347"/>
                    <a:pt x="4494203" y="1856802"/>
                    <a:pt x="4573073" y="1817367"/>
                  </a:cubicBezTo>
                  <a:cubicBezTo>
                    <a:pt x="4583312" y="1812247"/>
                    <a:pt x="4592123" y="1804667"/>
                    <a:pt x="4601648" y="1798317"/>
                  </a:cubicBezTo>
                  <a:cubicBezTo>
                    <a:pt x="4652448" y="1722117"/>
                    <a:pt x="4585773" y="1814192"/>
                    <a:pt x="4649273" y="1750692"/>
                  </a:cubicBezTo>
                  <a:cubicBezTo>
                    <a:pt x="4657368" y="1742597"/>
                    <a:pt x="4658615" y="1728184"/>
                    <a:pt x="4668323" y="1722117"/>
                  </a:cubicBezTo>
                  <a:cubicBezTo>
                    <a:pt x="4685351" y="1711474"/>
                    <a:pt x="4725473" y="1703067"/>
                    <a:pt x="4725473" y="1703067"/>
                  </a:cubicBezTo>
                  <a:cubicBezTo>
                    <a:pt x="4734998" y="1696717"/>
                    <a:pt x="4743526" y="1688526"/>
                    <a:pt x="4754048" y="1684017"/>
                  </a:cubicBezTo>
                  <a:cubicBezTo>
                    <a:pt x="4766080" y="1678860"/>
                    <a:pt x="4779561" y="1678088"/>
                    <a:pt x="4792148" y="1674492"/>
                  </a:cubicBezTo>
                  <a:cubicBezTo>
                    <a:pt x="4801802" y="1671734"/>
                    <a:pt x="4811198" y="1668142"/>
                    <a:pt x="4820723" y="1664967"/>
                  </a:cubicBezTo>
                  <a:cubicBezTo>
                    <a:pt x="4827073" y="1655442"/>
                    <a:pt x="4831678" y="1644487"/>
                    <a:pt x="4839773" y="1636392"/>
                  </a:cubicBezTo>
                  <a:cubicBezTo>
                    <a:pt x="4858237" y="1617928"/>
                    <a:pt x="4873682" y="1615564"/>
                    <a:pt x="4896923" y="1607817"/>
                  </a:cubicBezTo>
                  <a:cubicBezTo>
                    <a:pt x="4915973" y="1610992"/>
                    <a:pt x="4936799" y="1608705"/>
                    <a:pt x="4954073" y="1617342"/>
                  </a:cubicBezTo>
                  <a:cubicBezTo>
                    <a:pt x="4964312" y="1622462"/>
                    <a:pt x="4963808" y="1639263"/>
                    <a:pt x="4973123" y="1645917"/>
                  </a:cubicBezTo>
                  <a:cubicBezTo>
                    <a:pt x="4987036" y="1655855"/>
                    <a:pt x="5004873" y="1658617"/>
                    <a:pt x="5020748" y="1664967"/>
                  </a:cubicBezTo>
                  <a:cubicBezTo>
                    <a:pt x="5098068" y="1742287"/>
                    <a:pt x="5007680" y="1642098"/>
                    <a:pt x="5058848" y="1731642"/>
                  </a:cubicBezTo>
                  <a:cubicBezTo>
                    <a:pt x="5065531" y="1743338"/>
                    <a:pt x="5077196" y="1751451"/>
                    <a:pt x="5087423" y="1760217"/>
                  </a:cubicBezTo>
                  <a:cubicBezTo>
                    <a:pt x="5124119" y="1791671"/>
                    <a:pt x="5116431" y="1785761"/>
                    <a:pt x="5154098" y="1798317"/>
                  </a:cubicBezTo>
                  <a:cubicBezTo>
                    <a:pt x="5173148" y="1811017"/>
                    <a:pt x="5198548" y="1817367"/>
                    <a:pt x="5211248" y="1836417"/>
                  </a:cubicBezTo>
                  <a:cubicBezTo>
                    <a:pt x="5258546" y="1907363"/>
                    <a:pt x="5197757" y="1820228"/>
                    <a:pt x="5258873" y="1893567"/>
                  </a:cubicBezTo>
                  <a:cubicBezTo>
                    <a:pt x="5266202" y="1902361"/>
                    <a:pt x="5271573" y="1912617"/>
                    <a:pt x="5277923" y="1922142"/>
                  </a:cubicBezTo>
                  <a:cubicBezTo>
                    <a:pt x="5298068" y="2002723"/>
                    <a:pt x="5270625" y="1920720"/>
                    <a:pt x="5316023" y="1988817"/>
                  </a:cubicBezTo>
                  <a:cubicBezTo>
                    <a:pt x="5321592" y="1997171"/>
                    <a:pt x="5323113" y="2007652"/>
                    <a:pt x="5325548" y="2017392"/>
                  </a:cubicBezTo>
                  <a:lnTo>
                    <a:pt x="5344598" y="2093592"/>
                  </a:lnTo>
                  <a:cubicBezTo>
                    <a:pt x="5289321" y="2130443"/>
                    <a:pt x="5343088" y="2100535"/>
                    <a:pt x="5249348" y="2122167"/>
                  </a:cubicBezTo>
                  <a:cubicBezTo>
                    <a:pt x="5229782" y="2126682"/>
                    <a:pt x="5211248" y="2134867"/>
                    <a:pt x="5192198" y="2141217"/>
                  </a:cubicBezTo>
                  <a:lnTo>
                    <a:pt x="5163623" y="2150742"/>
                  </a:lnTo>
                  <a:cubicBezTo>
                    <a:pt x="5160448" y="2160267"/>
                    <a:pt x="5154098" y="2169277"/>
                    <a:pt x="5154098" y="2179317"/>
                  </a:cubicBezTo>
                  <a:cubicBezTo>
                    <a:pt x="5154098" y="2318970"/>
                    <a:pt x="5159463" y="2346064"/>
                    <a:pt x="5173148" y="2455542"/>
                  </a:cubicBezTo>
                  <a:cubicBezTo>
                    <a:pt x="5169973" y="2484117"/>
                    <a:pt x="5168350" y="2512907"/>
                    <a:pt x="5163623" y="2541267"/>
                  </a:cubicBezTo>
                  <a:cubicBezTo>
                    <a:pt x="5160591" y="2559459"/>
                    <a:pt x="5143056" y="2594596"/>
                    <a:pt x="5135048" y="2607942"/>
                  </a:cubicBezTo>
                  <a:cubicBezTo>
                    <a:pt x="5123268" y="2627575"/>
                    <a:pt x="5104188" y="2643372"/>
                    <a:pt x="5096948" y="2665092"/>
                  </a:cubicBezTo>
                  <a:cubicBezTo>
                    <a:pt x="5083163" y="2706446"/>
                    <a:pt x="5094523" y="2686567"/>
                    <a:pt x="5058848" y="2722242"/>
                  </a:cubicBezTo>
                  <a:lnTo>
                    <a:pt x="5039798" y="2779392"/>
                  </a:lnTo>
                  <a:cubicBezTo>
                    <a:pt x="5023736" y="2827579"/>
                    <a:pt x="4990248" y="2834009"/>
                    <a:pt x="4954073" y="2846067"/>
                  </a:cubicBezTo>
                  <a:cubicBezTo>
                    <a:pt x="4944548" y="2852417"/>
                    <a:pt x="4932827" y="2856323"/>
                    <a:pt x="4925498" y="2865117"/>
                  </a:cubicBezTo>
                  <a:cubicBezTo>
                    <a:pt x="4898989" y="2896928"/>
                    <a:pt x="4900358" y="2930855"/>
                    <a:pt x="4915973" y="2969892"/>
                  </a:cubicBezTo>
                  <a:cubicBezTo>
                    <a:pt x="4920976" y="2982399"/>
                    <a:pt x="4935782" y="2988240"/>
                    <a:pt x="4944548" y="2998467"/>
                  </a:cubicBezTo>
                  <a:cubicBezTo>
                    <a:pt x="4954879" y="3010520"/>
                    <a:pt x="4964709" y="3023105"/>
                    <a:pt x="4973123" y="3036567"/>
                  </a:cubicBezTo>
                  <a:cubicBezTo>
                    <a:pt x="4980648" y="3048608"/>
                    <a:pt x="4986580" y="3061616"/>
                    <a:pt x="4992173" y="3074667"/>
                  </a:cubicBezTo>
                  <a:cubicBezTo>
                    <a:pt x="4996128" y="3083895"/>
                    <a:pt x="4996822" y="3094465"/>
                    <a:pt x="5001698" y="3103242"/>
                  </a:cubicBezTo>
                  <a:cubicBezTo>
                    <a:pt x="5019888" y="3135984"/>
                    <a:pt x="5033878" y="3164658"/>
                    <a:pt x="5068373" y="3179442"/>
                  </a:cubicBezTo>
                  <a:cubicBezTo>
                    <a:pt x="5080405" y="3184599"/>
                    <a:pt x="5093636" y="3186400"/>
                    <a:pt x="5106473" y="3188967"/>
                  </a:cubicBezTo>
                  <a:cubicBezTo>
                    <a:pt x="5125411" y="3192755"/>
                    <a:pt x="5144573" y="3195317"/>
                    <a:pt x="5163623" y="3198492"/>
                  </a:cubicBezTo>
                  <a:cubicBezTo>
                    <a:pt x="5169973" y="3208017"/>
                    <a:pt x="5181054" y="3215734"/>
                    <a:pt x="5182673" y="3227067"/>
                  </a:cubicBezTo>
                  <a:cubicBezTo>
                    <a:pt x="5198003" y="3334374"/>
                    <a:pt x="5192909" y="3452963"/>
                    <a:pt x="5182673" y="3560442"/>
                  </a:cubicBezTo>
                  <a:cubicBezTo>
                    <a:pt x="5178485" y="3604419"/>
                    <a:pt x="5161364" y="3616218"/>
                    <a:pt x="5135048" y="3655692"/>
                  </a:cubicBezTo>
                  <a:lnTo>
                    <a:pt x="5115998" y="3684267"/>
                  </a:lnTo>
                  <a:cubicBezTo>
                    <a:pt x="5119173" y="3696967"/>
                    <a:pt x="5125523" y="3709276"/>
                    <a:pt x="5125523" y="3722367"/>
                  </a:cubicBezTo>
                  <a:cubicBezTo>
                    <a:pt x="5125523" y="3743493"/>
                    <a:pt x="5121376" y="3806860"/>
                    <a:pt x="5106473" y="3836667"/>
                  </a:cubicBezTo>
                  <a:cubicBezTo>
                    <a:pt x="5101353" y="3846906"/>
                    <a:pt x="5094752" y="3856448"/>
                    <a:pt x="5087423" y="3865242"/>
                  </a:cubicBezTo>
                  <a:cubicBezTo>
                    <a:pt x="5078799" y="3875590"/>
                    <a:pt x="5067614" y="3883590"/>
                    <a:pt x="5058848" y="3893817"/>
                  </a:cubicBezTo>
                  <a:cubicBezTo>
                    <a:pt x="5048517" y="3905870"/>
                    <a:pt x="5043735" y="3923503"/>
                    <a:pt x="5030273" y="3931917"/>
                  </a:cubicBezTo>
                  <a:cubicBezTo>
                    <a:pt x="5016544" y="3940497"/>
                    <a:pt x="4998523" y="3938267"/>
                    <a:pt x="4982648" y="3941442"/>
                  </a:cubicBezTo>
                  <a:cubicBezTo>
                    <a:pt x="4973123" y="3947792"/>
                    <a:pt x="4962629" y="3952887"/>
                    <a:pt x="4954073" y="3960492"/>
                  </a:cubicBezTo>
                  <a:cubicBezTo>
                    <a:pt x="4900691" y="4007943"/>
                    <a:pt x="4906826" y="4002787"/>
                    <a:pt x="4877873" y="4046217"/>
                  </a:cubicBezTo>
                  <a:cubicBezTo>
                    <a:pt x="4876354" y="4058370"/>
                    <a:pt x="4864709" y="4159948"/>
                    <a:pt x="4858823" y="4179567"/>
                  </a:cubicBezTo>
                  <a:cubicBezTo>
                    <a:pt x="4841279" y="4238047"/>
                    <a:pt x="4842308" y="4197677"/>
                    <a:pt x="4820723" y="4246242"/>
                  </a:cubicBezTo>
                  <a:cubicBezTo>
                    <a:pt x="4812568" y="4264592"/>
                    <a:pt x="4808023" y="4284342"/>
                    <a:pt x="4801673" y="4303392"/>
                  </a:cubicBezTo>
                  <a:cubicBezTo>
                    <a:pt x="4787040" y="4347292"/>
                    <a:pt x="4800053" y="4354257"/>
                    <a:pt x="4782623" y="4389117"/>
                  </a:cubicBezTo>
                  <a:cubicBezTo>
                    <a:pt x="4777503" y="4399356"/>
                    <a:pt x="4772512" y="4410541"/>
                    <a:pt x="4763573" y="4417692"/>
                  </a:cubicBezTo>
                  <a:cubicBezTo>
                    <a:pt x="4755733" y="4423964"/>
                    <a:pt x="4744523" y="4424042"/>
                    <a:pt x="4734998" y="4427217"/>
                  </a:cubicBezTo>
                  <a:cubicBezTo>
                    <a:pt x="4690234" y="4471981"/>
                    <a:pt x="4717631" y="4448320"/>
                    <a:pt x="4649273" y="4493892"/>
                  </a:cubicBezTo>
                  <a:lnTo>
                    <a:pt x="4620698" y="4512942"/>
                  </a:lnTo>
                  <a:cubicBezTo>
                    <a:pt x="4597011" y="4528733"/>
                    <a:pt x="4581645" y="4540684"/>
                    <a:pt x="4554023" y="4551042"/>
                  </a:cubicBezTo>
                  <a:cubicBezTo>
                    <a:pt x="4516356" y="4565167"/>
                    <a:pt x="4452440" y="4566915"/>
                    <a:pt x="4420673" y="4570092"/>
                  </a:cubicBezTo>
                  <a:cubicBezTo>
                    <a:pt x="4414323" y="4579617"/>
                    <a:pt x="4408952" y="4589873"/>
                    <a:pt x="4401623" y="4598667"/>
                  </a:cubicBezTo>
                  <a:cubicBezTo>
                    <a:pt x="4392999" y="4609015"/>
                    <a:pt x="4377651" y="4614583"/>
                    <a:pt x="4373048" y="4627242"/>
                  </a:cubicBezTo>
                  <a:cubicBezTo>
                    <a:pt x="4364300" y="4651299"/>
                    <a:pt x="4370258" y="4678746"/>
                    <a:pt x="4363523" y="4703442"/>
                  </a:cubicBezTo>
                  <a:cubicBezTo>
                    <a:pt x="4360511" y="4714486"/>
                    <a:pt x="4350153" y="4722078"/>
                    <a:pt x="4344473" y="4732017"/>
                  </a:cubicBezTo>
                  <a:cubicBezTo>
                    <a:pt x="4337428" y="4744345"/>
                    <a:pt x="4334664" y="4759336"/>
                    <a:pt x="4325423" y="4770117"/>
                  </a:cubicBezTo>
                  <a:cubicBezTo>
                    <a:pt x="4317547" y="4779306"/>
                    <a:pt x="4272133" y="4808819"/>
                    <a:pt x="4258748" y="4817742"/>
                  </a:cubicBezTo>
                  <a:cubicBezTo>
                    <a:pt x="4246048" y="4836792"/>
                    <a:pt x="4236837" y="4858703"/>
                    <a:pt x="4220648" y="4874892"/>
                  </a:cubicBezTo>
                  <a:cubicBezTo>
                    <a:pt x="4180848" y="4914692"/>
                    <a:pt x="4200155" y="4892691"/>
                    <a:pt x="4163498" y="4941567"/>
                  </a:cubicBezTo>
                  <a:cubicBezTo>
                    <a:pt x="4140660" y="5010080"/>
                    <a:pt x="4168368" y="4924521"/>
                    <a:pt x="4144448" y="5008242"/>
                  </a:cubicBezTo>
                  <a:cubicBezTo>
                    <a:pt x="4141690" y="5017896"/>
                    <a:pt x="4139799" y="5028040"/>
                    <a:pt x="4134923" y="5036817"/>
                  </a:cubicBezTo>
                  <a:cubicBezTo>
                    <a:pt x="4123804" y="5056831"/>
                    <a:pt x="4104063" y="5072247"/>
                    <a:pt x="4096823" y="5093967"/>
                  </a:cubicBezTo>
                  <a:cubicBezTo>
                    <a:pt x="4083678" y="5133402"/>
                    <a:pt x="4095652" y="5116973"/>
                    <a:pt x="4058723" y="5141592"/>
                  </a:cubicBezTo>
                  <a:cubicBezTo>
                    <a:pt x="4020117" y="5199500"/>
                    <a:pt x="4056508" y="5137973"/>
                    <a:pt x="4030148" y="5208267"/>
                  </a:cubicBezTo>
                  <a:cubicBezTo>
                    <a:pt x="4019790" y="5235889"/>
                    <a:pt x="4007839" y="5251255"/>
                    <a:pt x="3992048" y="5274942"/>
                  </a:cubicBezTo>
                  <a:cubicBezTo>
                    <a:pt x="3988873" y="5290817"/>
                    <a:pt x="3986450" y="5306861"/>
                    <a:pt x="3982523" y="5322567"/>
                  </a:cubicBezTo>
                  <a:cubicBezTo>
                    <a:pt x="3980088" y="5332307"/>
                    <a:pt x="3975256" y="5341359"/>
                    <a:pt x="3972998" y="5351142"/>
                  </a:cubicBezTo>
                  <a:cubicBezTo>
                    <a:pt x="3959876" y="5408003"/>
                    <a:pt x="3958366" y="5435691"/>
                    <a:pt x="3944423" y="5484492"/>
                  </a:cubicBezTo>
                  <a:cubicBezTo>
                    <a:pt x="3941665" y="5494146"/>
                    <a:pt x="3939879" y="5504350"/>
                    <a:pt x="3934898" y="5513067"/>
                  </a:cubicBezTo>
                  <a:cubicBezTo>
                    <a:pt x="3927022" y="5526850"/>
                    <a:pt x="3915848" y="5538467"/>
                    <a:pt x="3906323" y="5551167"/>
                  </a:cubicBezTo>
                  <a:cubicBezTo>
                    <a:pt x="3903148" y="5560692"/>
                    <a:pt x="3898767" y="5569897"/>
                    <a:pt x="3896798" y="5579742"/>
                  </a:cubicBezTo>
                  <a:cubicBezTo>
                    <a:pt x="3892395" y="5601757"/>
                    <a:pt x="3896391" y="5625901"/>
                    <a:pt x="3887273" y="5646417"/>
                  </a:cubicBezTo>
                  <a:cubicBezTo>
                    <a:pt x="3882624" y="5656878"/>
                    <a:pt x="3867492" y="5658138"/>
                    <a:pt x="3858698" y="5665467"/>
                  </a:cubicBezTo>
                  <a:cubicBezTo>
                    <a:pt x="3848350" y="5674091"/>
                    <a:pt x="3839648" y="5684517"/>
                    <a:pt x="3830123" y="5694042"/>
                  </a:cubicBezTo>
                  <a:cubicBezTo>
                    <a:pt x="3686277" y="5682977"/>
                    <a:pt x="3745571" y="5697608"/>
                    <a:pt x="3649148" y="5665467"/>
                  </a:cubicBezTo>
                  <a:cubicBezTo>
                    <a:pt x="3492491" y="5613248"/>
                    <a:pt x="3318948" y="5659117"/>
                    <a:pt x="3153848" y="5655942"/>
                  </a:cubicBezTo>
                  <a:cubicBezTo>
                    <a:pt x="3131623" y="5652767"/>
                    <a:pt x="3109188" y="5650820"/>
                    <a:pt x="3087173" y="5646417"/>
                  </a:cubicBezTo>
                  <a:cubicBezTo>
                    <a:pt x="3077328" y="5644448"/>
                    <a:pt x="3068546" y="5638249"/>
                    <a:pt x="3058598" y="5636892"/>
                  </a:cubicBezTo>
                  <a:cubicBezTo>
                    <a:pt x="2998496" y="5628696"/>
                    <a:pt x="2877623" y="5617842"/>
                    <a:pt x="2877623" y="5617842"/>
                  </a:cubicBezTo>
                  <a:cubicBezTo>
                    <a:pt x="2820042" y="5603447"/>
                    <a:pt x="2851942" y="5612457"/>
                    <a:pt x="2782373" y="5589267"/>
                  </a:cubicBezTo>
                  <a:cubicBezTo>
                    <a:pt x="2767014" y="5584147"/>
                    <a:pt x="2750717" y="5582404"/>
                    <a:pt x="2734748" y="5579742"/>
                  </a:cubicBezTo>
                  <a:cubicBezTo>
                    <a:pt x="2640532" y="5564039"/>
                    <a:pt x="2616243" y="5566575"/>
                    <a:pt x="2496623" y="5560692"/>
                  </a:cubicBezTo>
                  <a:cubicBezTo>
                    <a:pt x="2013869" y="5536950"/>
                    <a:pt x="2233036" y="5553808"/>
                    <a:pt x="1972748" y="5532117"/>
                  </a:cubicBezTo>
                  <a:cubicBezTo>
                    <a:pt x="1902177" y="5508593"/>
                    <a:pt x="1965415" y="5527106"/>
                    <a:pt x="1820348" y="5513067"/>
                  </a:cubicBezTo>
                  <a:cubicBezTo>
                    <a:pt x="1763114" y="5507528"/>
                    <a:pt x="1705917" y="5501454"/>
                    <a:pt x="1648898" y="5494017"/>
                  </a:cubicBezTo>
                  <a:cubicBezTo>
                    <a:pt x="1632845" y="5491923"/>
                    <a:pt x="1617415" y="5485734"/>
                    <a:pt x="1601273" y="5484492"/>
                  </a:cubicBezTo>
                  <a:cubicBezTo>
                    <a:pt x="1455314" y="5473264"/>
                    <a:pt x="1108782" y="5467834"/>
                    <a:pt x="1010723" y="5465442"/>
                  </a:cubicBezTo>
                  <a:lnTo>
                    <a:pt x="839273" y="5446392"/>
                  </a:lnTo>
                  <a:lnTo>
                    <a:pt x="763073" y="5436867"/>
                  </a:lnTo>
                  <a:lnTo>
                    <a:pt x="677348" y="5427342"/>
                  </a:lnTo>
                  <a:cubicBezTo>
                    <a:pt x="621736" y="5408805"/>
                    <a:pt x="675440" y="5425055"/>
                    <a:pt x="591623" y="5408292"/>
                  </a:cubicBezTo>
                  <a:cubicBezTo>
                    <a:pt x="481569" y="5386281"/>
                    <a:pt x="667115" y="5407505"/>
                    <a:pt x="429698" y="5389242"/>
                  </a:cubicBezTo>
                  <a:cubicBezTo>
                    <a:pt x="410648" y="5386067"/>
                    <a:pt x="387629" y="5391782"/>
                    <a:pt x="372548" y="5379717"/>
                  </a:cubicBezTo>
                  <a:cubicBezTo>
                    <a:pt x="364708" y="5373445"/>
                    <a:pt x="373903" y="5356978"/>
                    <a:pt x="382073" y="5351142"/>
                  </a:cubicBezTo>
                  <a:cubicBezTo>
                    <a:pt x="398413" y="5339470"/>
                    <a:pt x="439223" y="5332092"/>
                    <a:pt x="439223" y="5332092"/>
                  </a:cubicBezTo>
                  <a:cubicBezTo>
                    <a:pt x="432398" y="5297969"/>
                    <a:pt x="410924" y="5223958"/>
                    <a:pt x="448748" y="5198742"/>
                  </a:cubicBezTo>
                  <a:cubicBezTo>
                    <a:pt x="483192" y="5175779"/>
                    <a:pt x="531298" y="5192392"/>
                    <a:pt x="572573" y="5189217"/>
                  </a:cubicBezTo>
                  <a:cubicBezTo>
                    <a:pt x="582098" y="5182867"/>
                    <a:pt x="595081" y="5179875"/>
                    <a:pt x="601148" y="5170167"/>
                  </a:cubicBezTo>
                  <a:cubicBezTo>
                    <a:pt x="611791" y="5153139"/>
                    <a:pt x="611218" y="5130978"/>
                    <a:pt x="620198" y="5113017"/>
                  </a:cubicBezTo>
                  <a:lnTo>
                    <a:pt x="639248" y="5074917"/>
                  </a:lnTo>
                  <a:cubicBezTo>
                    <a:pt x="584653" y="4993025"/>
                    <a:pt x="650108" y="5096637"/>
                    <a:pt x="610673" y="5017767"/>
                  </a:cubicBezTo>
                  <a:cubicBezTo>
                    <a:pt x="605553" y="5007528"/>
                    <a:pt x="597973" y="4998717"/>
                    <a:pt x="591623" y="4989192"/>
                  </a:cubicBezTo>
                  <a:cubicBezTo>
                    <a:pt x="594798" y="4963792"/>
                    <a:pt x="601148" y="4938590"/>
                    <a:pt x="601148" y="4912992"/>
                  </a:cubicBezTo>
                  <a:cubicBezTo>
                    <a:pt x="601148" y="4902952"/>
                    <a:pt x="596499" y="4893194"/>
                    <a:pt x="591623" y="4884417"/>
                  </a:cubicBezTo>
                  <a:cubicBezTo>
                    <a:pt x="558939" y="4825586"/>
                    <a:pt x="566690" y="4836045"/>
                    <a:pt x="524948" y="4808217"/>
                  </a:cubicBezTo>
                  <a:cubicBezTo>
                    <a:pt x="515423" y="4795517"/>
                    <a:pt x="500223" y="4785518"/>
                    <a:pt x="496373" y="4770117"/>
                  </a:cubicBezTo>
                  <a:cubicBezTo>
                    <a:pt x="492959" y="4756462"/>
                    <a:pt x="512379" y="4711821"/>
                    <a:pt x="524948" y="4703442"/>
                  </a:cubicBezTo>
                  <a:cubicBezTo>
                    <a:pt x="535840" y="4696180"/>
                    <a:pt x="550348" y="4697092"/>
                    <a:pt x="563048" y="4693917"/>
                  </a:cubicBezTo>
                  <a:cubicBezTo>
                    <a:pt x="515464" y="4622541"/>
                    <a:pt x="533451" y="4658025"/>
                    <a:pt x="505898" y="4589142"/>
                  </a:cubicBezTo>
                  <a:cubicBezTo>
                    <a:pt x="492188" y="4452044"/>
                    <a:pt x="466600" y="4513456"/>
                    <a:pt x="534473" y="4484367"/>
                  </a:cubicBezTo>
                  <a:cubicBezTo>
                    <a:pt x="544995" y="4479858"/>
                    <a:pt x="553523" y="4471667"/>
                    <a:pt x="563048" y="4465317"/>
                  </a:cubicBezTo>
                  <a:cubicBezTo>
                    <a:pt x="566223" y="4455792"/>
                    <a:pt x="566301" y="4444582"/>
                    <a:pt x="572573" y="4436742"/>
                  </a:cubicBezTo>
                  <a:cubicBezTo>
                    <a:pt x="579724" y="4427803"/>
                    <a:pt x="598903" y="4428917"/>
                    <a:pt x="601148" y="4417692"/>
                  </a:cubicBezTo>
                  <a:cubicBezTo>
                    <a:pt x="603393" y="4406467"/>
                    <a:pt x="588752" y="4398432"/>
                    <a:pt x="582098" y="4389117"/>
                  </a:cubicBezTo>
                  <a:cubicBezTo>
                    <a:pt x="572871" y="4376199"/>
                    <a:pt x="563048" y="4363717"/>
                    <a:pt x="553523" y="4351017"/>
                  </a:cubicBezTo>
                  <a:cubicBezTo>
                    <a:pt x="550348" y="4338317"/>
                    <a:pt x="539858" y="4325336"/>
                    <a:pt x="543998" y="4312917"/>
                  </a:cubicBezTo>
                  <a:cubicBezTo>
                    <a:pt x="547618" y="4302057"/>
                    <a:pt x="561467" y="4296643"/>
                    <a:pt x="572573" y="4293867"/>
                  </a:cubicBezTo>
                  <a:cubicBezTo>
                    <a:pt x="600465" y="4286894"/>
                    <a:pt x="629723" y="4287517"/>
                    <a:pt x="658298" y="4284342"/>
                  </a:cubicBezTo>
                  <a:cubicBezTo>
                    <a:pt x="631153" y="4202908"/>
                    <a:pt x="619323" y="4229683"/>
                    <a:pt x="715448" y="4217667"/>
                  </a:cubicBezTo>
                  <a:cubicBezTo>
                    <a:pt x="712273" y="4179567"/>
                    <a:pt x="713421" y="4140857"/>
                    <a:pt x="705923" y="4103367"/>
                  </a:cubicBezTo>
                  <a:cubicBezTo>
                    <a:pt x="703678" y="4092142"/>
                    <a:pt x="691522" y="4085253"/>
                    <a:pt x="686873" y="4074792"/>
                  </a:cubicBezTo>
                  <a:cubicBezTo>
                    <a:pt x="678718" y="4056442"/>
                    <a:pt x="667823" y="4017642"/>
                    <a:pt x="667823" y="4017642"/>
                  </a:cubicBezTo>
                  <a:cubicBezTo>
                    <a:pt x="670998" y="3985892"/>
                    <a:pt x="677348" y="3954300"/>
                    <a:pt x="677348" y="3922392"/>
                  </a:cubicBezTo>
                  <a:cubicBezTo>
                    <a:pt x="677348" y="3889700"/>
                    <a:pt x="656428" y="3889295"/>
                    <a:pt x="639248" y="3865242"/>
                  </a:cubicBezTo>
                  <a:cubicBezTo>
                    <a:pt x="595303" y="3803720"/>
                    <a:pt x="647955" y="3845647"/>
                    <a:pt x="591623" y="3808092"/>
                  </a:cubicBezTo>
                  <a:cubicBezTo>
                    <a:pt x="585273" y="3798567"/>
                    <a:pt x="574455" y="3790809"/>
                    <a:pt x="572573" y="3779517"/>
                  </a:cubicBezTo>
                  <a:cubicBezTo>
                    <a:pt x="567972" y="3751912"/>
                    <a:pt x="593977" y="3743022"/>
                    <a:pt x="610673" y="3731892"/>
                  </a:cubicBezTo>
                  <a:cubicBezTo>
                    <a:pt x="617023" y="3722367"/>
                    <a:pt x="622394" y="3712111"/>
                    <a:pt x="629723" y="3703317"/>
                  </a:cubicBezTo>
                  <a:cubicBezTo>
                    <a:pt x="652642" y="3675815"/>
                    <a:pt x="658776" y="3674423"/>
                    <a:pt x="686873" y="3655692"/>
                  </a:cubicBezTo>
                  <a:cubicBezTo>
                    <a:pt x="671795" y="3595380"/>
                    <a:pt x="684610" y="3628484"/>
                    <a:pt x="639248" y="3560442"/>
                  </a:cubicBezTo>
                  <a:lnTo>
                    <a:pt x="620198" y="3531867"/>
                  </a:lnTo>
                  <a:cubicBezTo>
                    <a:pt x="617023" y="3487417"/>
                    <a:pt x="621481" y="3441750"/>
                    <a:pt x="610673" y="3398517"/>
                  </a:cubicBezTo>
                  <a:cubicBezTo>
                    <a:pt x="607897" y="3387411"/>
                    <a:pt x="590892" y="3386796"/>
                    <a:pt x="582098" y="3379467"/>
                  </a:cubicBezTo>
                  <a:cubicBezTo>
                    <a:pt x="571750" y="3370843"/>
                    <a:pt x="565298" y="3357434"/>
                    <a:pt x="553523" y="3350892"/>
                  </a:cubicBezTo>
                  <a:cubicBezTo>
                    <a:pt x="535970" y="3341140"/>
                    <a:pt x="496373" y="3331842"/>
                    <a:pt x="496373" y="3331842"/>
                  </a:cubicBezTo>
                  <a:cubicBezTo>
                    <a:pt x="503188" y="3297767"/>
                    <a:pt x="500422" y="3280168"/>
                    <a:pt x="524948" y="3255642"/>
                  </a:cubicBezTo>
                  <a:cubicBezTo>
                    <a:pt x="533043" y="3247547"/>
                    <a:pt x="543998" y="3242942"/>
                    <a:pt x="553523" y="3236592"/>
                  </a:cubicBezTo>
                  <a:cubicBezTo>
                    <a:pt x="556698" y="3227067"/>
                    <a:pt x="564047" y="3218007"/>
                    <a:pt x="563048" y="3208017"/>
                  </a:cubicBezTo>
                  <a:cubicBezTo>
                    <a:pt x="560748" y="3185017"/>
                    <a:pt x="550080" y="3163642"/>
                    <a:pt x="543998" y="3141342"/>
                  </a:cubicBezTo>
                  <a:cubicBezTo>
                    <a:pt x="540554" y="3128712"/>
                    <a:pt x="537040" y="3116079"/>
                    <a:pt x="534473" y="3103242"/>
                  </a:cubicBezTo>
                  <a:cubicBezTo>
                    <a:pt x="530685" y="3084304"/>
                    <a:pt x="534530" y="3062860"/>
                    <a:pt x="524948" y="3046092"/>
                  </a:cubicBezTo>
                  <a:cubicBezTo>
                    <a:pt x="519967" y="3037375"/>
                    <a:pt x="505601" y="3040522"/>
                    <a:pt x="496373" y="3036567"/>
                  </a:cubicBezTo>
                  <a:cubicBezTo>
                    <a:pt x="483322" y="3030974"/>
                    <a:pt x="470973" y="3023867"/>
                    <a:pt x="458273" y="3017517"/>
                  </a:cubicBezTo>
                  <a:cubicBezTo>
                    <a:pt x="451923" y="3004817"/>
                    <a:pt x="443713" y="2992887"/>
                    <a:pt x="439223" y="2979417"/>
                  </a:cubicBezTo>
                  <a:cubicBezTo>
                    <a:pt x="434103" y="2964058"/>
                    <a:pt x="437730" y="2945848"/>
                    <a:pt x="429698" y="2931792"/>
                  </a:cubicBezTo>
                  <a:cubicBezTo>
                    <a:pt x="424018" y="2921853"/>
                    <a:pt x="410648" y="2919092"/>
                    <a:pt x="401123" y="2912742"/>
                  </a:cubicBezTo>
                  <a:cubicBezTo>
                    <a:pt x="394773" y="2903217"/>
                    <a:pt x="380191" y="2895459"/>
                    <a:pt x="382073" y="2884167"/>
                  </a:cubicBezTo>
                  <a:cubicBezTo>
                    <a:pt x="386270" y="2858985"/>
                    <a:pt x="421331" y="2852031"/>
                    <a:pt x="439223" y="2846067"/>
                  </a:cubicBezTo>
                  <a:cubicBezTo>
                    <a:pt x="452670" y="2792279"/>
                    <a:pt x="451176" y="2823655"/>
                    <a:pt x="439223" y="2769867"/>
                  </a:cubicBezTo>
                  <a:cubicBezTo>
                    <a:pt x="429080" y="2724222"/>
                    <a:pt x="439462" y="2721052"/>
                    <a:pt x="401123" y="2693667"/>
                  </a:cubicBezTo>
                  <a:cubicBezTo>
                    <a:pt x="371530" y="2672529"/>
                    <a:pt x="358160" y="2674588"/>
                    <a:pt x="324923" y="2665092"/>
                  </a:cubicBezTo>
                  <a:cubicBezTo>
                    <a:pt x="315269" y="2662334"/>
                    <a:pt x="305873" y="2658742"/>
                    <a:pt x="296348" y="2655567"/>
                  </a:cubicBezTo>
                  <a:cubicBezTo>
                    <a:pt x="289998" y="2642867"/>
                    <a:pt x="284343" y="2629795"/>
                    <a:pt x="277298" y="2617467"/>
                  </a:cubicBezTo>
                  <a:cubicBezTo>
                    <a:pt x="271618" y="2607528"/>
                    <a:pt x="259512" y="2600270"/>
                    <a:pt x="258248" y="2588892"/>
                  </a:cubicBezTo>
                  <a:cubicBezTo>
                    <a:pt x="255454" y="2563747"/>
                    <a:pt x="268928" y="2528277"/>
                    <a:pt x="277298" y="2503167"/>
                  </a:cubicBezTo>
                  <a:cubicBezTo>
                    <a:pt x="270948" y="2471417"/>
                    <a:pt x="260731" y="2440200"/>
                    <a:pt x="258248" y="2407917"/>
                  </a:cubicBezTo>
                  <a:cubicBezTo>
                    <a:pt x="257478" y="2397906"/>
                    <a:pt x="267773" y="2389382"/>
                    <a:pt x="267773" y="2379342"/>
                  </a:cubicBezTo>
                  <a:cubicBezTo>
                    <a:pt x="267773" y="2369302"/>
                    <a:pt x="261773" y="2360168"/>
                    <a:pt x="258248" y="2350767"/>
                  </a:cubicBezTo>
                  <a:cubicBezTo>
                    <a:pt x="231347" y="2279032"/>
                    <a:pt x="245633" y="2328883"/>
                    <a:pt x="229673" y="2265042"/>
                  </a:cubicBezTo>
                  <a:cubicBezTo>
                    <a:pt x="232848" y="2236467"/>
                    <a:pt x="230106" y="2206592"/>
                    <a:pt x="239198" y="2179317"/>
                  </a:cubicBezTo>
                  <a:cubicBezTo>
                    <a:pt x="243458" y="2166538"/>
                    <a:pt x="260301" y="2161950"/>
                    <a:pt x="267773" y="2150742"/>
                  </a:cubicBezTo>
                  <a:cubicBezTo>
                    <a:pt x="273342" y="2142388"/>
                    <a:pt x="274123" y="2131692"/>
                    <a:pt x="277298" y="2122167"/>
                  </a:cubicBezTo>
                  <a:cubicBezTo>
                    <a:pt x="270948" y="2112642"/>
                    <a:pt x="267187" y="2100743"/>
                    <a:pt x="258248" y="2093592"/>
                  </a:cubicBezTo>
                  <a:cubicBezTo>
                    <a:pt x="250408" y="2087320"/>
                    <a:pt x="238027" y="2089636"/>
                    <a:pt x="229673" y="2084067"/>
                  </a:cubicBezTo>
                  <a:cubicBezTo>
                    <a:pt x="218465" y="2076595"/>
                    <a:pt x="210623" y="2065017"/>
                    <a:pt x="201098" y="2055492"/>
                  </a:cubicBezTo>
                  <a:cubicBezTo>
                    <a:pt x="213798" y="2042792"/>
                    <a:pt x="224583" y="2027831"/>
                    <a:pt x="239198" y="2017392"/>
                  </a:cubicBezTo>
                  <a:cubicBezTo>
                    <a:pt x="297753" y="1975567"/>
                    <a:pt x="240403" y="2048921"/>
                    <a:pt x="286823" y="1979292"/>
                  </a:cubicBezTo>
                  <a:lnTo>
                    <a:pt x="248723" y="1922142"/>
                  </a:lnTo>
                  <a:cubicBezTo>
                    <a:pt x="243154" y="1913788"/>
                    <a:pt x="247552" y="1899136"/>
                    <a:pt x="239198" y="1893567"/>
                  </a:cubicBezTo>
                  <a:cubicBezTo>
                    <a:pt x="225728" y="1884587"/>
                    <a:pt x="207279" y="1887969"/>
                    <a:pt x="191573" y="1884042"/>
                  </a:cubicBezTo>
                  <a:cubicBezTo>
                    <a:pt x="181833" y="1881607"/>
                    <a:pt x="172652" y="1877275"/>
                    <a:pt x="162998" y="1874517"/>
                  </a:cubicBezTo>
                  <a:cubicBezTo>
                    <a:pt x="150411" y="1870921"/>
                    <a:pt x="137437" y="1868754"/>
                    <a:pt x="124898" y="1864992"/>
                  </a:cubicBezTo>
                  <a:cubicBezTo>
                    <a:pt x="105664" y="1859222"/>
                    <a:pt x="67748" y="1845942"/>
                    <a:pt x="67748" y="1845942"/>
                  </a:cubicBezTo>
                  <a:lnTo>
                    <a:pt x="48698" y="1788792"/>
                  </a:lnTo>
                  <a:cubicBezTo>
                    <a:pt x="45523" y="1779267"/>
                    <a:pt x="47527" y="1765786"/>
                    <a:pt x="39173" y="1760217"/>
                  </a:cubicBezTo>
                  <a:lnTo>
                    <a:pt x="10598" y="1741167"/>
                  </a:lnTo>
                  <a:cubicBezTo>
                    <a:pt x="7423" y="1731642"/>
                    <a:pt x="-3417" y="1721572"/>
                    <a:pt x="1073" y="1712592"/>
                  </a:cubicBezTo>
                  <a:cubicBezTo>
                    <a:pt x="12606" y="1689526"/>
                    <a:pt x="45995" y="1681743"/>
                    <a:pt x="67748" y="1674492"/>
                  </a:cubicBezTo>
                  <a:cubicBezTo>
                    <a:pt x="70796" y="1674873"/>
                    <a:pt x="163168" y="1695732"/>
                    <a:pt x="182048" y="1674492"/>
                  </a:cubicBezTo>
                  <a:cubicBezTo>
                    <a:pt x="200915" y="1653267"/>
                    <a:pt x="213260" y="1625842"/>
                    <a:pt x="220148" y="1598292"/>
                  </a:cubicBezTo>
                  <a:cubicBezTo>
                    <a:pt x="223323" y="1585592"/>
                    <a:pt x="222411" y="1571084"/>
                    <a:pt x="229673" y="1560192"/>
                  </a:cubicBezTo>
                  <a:cubicBezTo>
                    <a:pt x="236023" y="1550667"/>
                    <a:pt x="248723" y="1547492"/>
                    <a:pt x="258248" y="1541142"/>
                  </a:cubicBezTo>
                  <a:cubicBezTo>
                    <a:pt x="261423" y="1553842"/>
                    <a:pt x="260511" y="1568350"/>
                    <a:pt x="267773" y="1579242"/>
                  </a:cubicBezTo>
                  <a:cubicBezTo>
                    <a:pt x="289931" y="1612479"/>
                    <a:pt x="322992" y="1594314"/>
                    <a:pt x="353498" y="1588767"/>
                  </a:cubicBezTo>
                  <a:cubicBezTo>
                    <a:pt x="369426" y="1585871"/>
                    <a:pt x="385248" y="1582417"/>
                    <a:pt x="401123" y="1579242"/>
                  </a:cubicBezTo>
                  <a:cubicBezTo>
                    <a:pt x="393453" y="1548561"/>
                    <a:pt x="391705" y="1529862"/>
                    <a:pt x="372548" y="1503042"/>
                  </a:cubicBezTo>
                  <a:cubicBezTo>
                    <a:pt x="364718" y="1492081"/>
                    <a:pt x="353498" y="1483992"/>
                    <a:pt x="343973" y="1474467"/>
                  </a:cubicBezTo>
                  <a:cubicBezTo>
                    <a:pt x="341103" y="1445765"/>
                    <a:pt x="349351" y="1377805"/>
                    <a:pt x="315398" y="1350642"/>
                  </a:cubicBezTo>
                  <a:cubicBezTo>
                    <a:pt x="307558" y="1344370"/>
                    <a:pt x="296348" y="1344292"/>
                    <a:pt x="286823" y="1341117"/>
                  </a:cubicBezTo>
                  <a:cubicBezTo>
                    <a:pt x="277298" y="1334767"/>
                    <a:pt x="265399" y="1331006"/>
                    <a:pt x="258248" y="1322067"/>
                  </a:cubicBezTo>
                  <a:cubicBezTo>
                    <a:pt x="251976" y="1314227"/>
                    <a:pt x="251158" y="1303232"/>
                    <a:pt x="248723" y="1293492"/>
                  </a:cubicBezTo>
                  <a:cubicBezTo>
                    <a:pt x="244796" y="1277786"/>
                    <a:pt x="242094" y="1261795"/>
                    <a:pt x="239198" y="1245867"/>
                  </a:cubicBezTo>
                  <a:cubicBezTo>
                    <a:pt x="235743" y="1226866"/>
                    <a:pt x="239255" y="1205485"/>
                    <a:pt x="229673" y="1188717"/>
                  </a:cubicBezTo>
                  <a:cubicBezTo>
                    <a:pt x="224692" y="1180000"/>
                    <a:pt x="210752" y="1181950"/>
                    <a:pt x="201098" y="1179192"/>
                  </a:cubicBezTo>
                  <a:cubicBezTo>
                    <a:pt x="188511" y="1175596"/>
                    <a:pt x="175698" y="1172842"/>
                    <a:pt x="162998" y="1169667"/>
                  </a:cubicBezTo>
                  <a:cubicBezTo>
                    <a:pt x="118548" y="1102992"/>
                    <a:pt x="143948" y="1125217"/>
                    <a:pt x="96323" y="1093467"/>
                  </a:cubicBezTo>
                  <a:cubicBezTo>
                    <a:pt x="89973" y="1083942"/>
                    <a:pt x="74497" y="1075998"/>
                    <a:pt x="77273" y="1064892"/>
                  </a:cubicBezTo>
                  <a:cubicBezTo>
                    <a:pt x="79708" y="1055152"/>
                    <a:pt x="96047" y="1057545"/>
                    <a:pt x="105848" y="1055367"/>
                  </a:cubicBezTo>
                  <a:cubicBezTo>
                    <a:pt x="124701" y="1051177"/>
                    <a:pt x="143948" y="1049017"/>
                    <a:pt x="162998" y="1045842"/>
                  </a:cubicBezTo>
                  <a:cubicBezTo>
                    <a:pt x="172523" y="1042667"/>
                    <a:pt x="182593" y="1040807"/>
                    <a:pt x="191573" y="1036317"/>
                  </a:cubicBezTo>
                  <a:cubicBezTo>
                    <a:pt x="201812" y="1031197"/>
                    <a:pt x="209687" y="1021916"/>
                    <a:pt x="220148" y="1017267"/>
                  </a:cubicBezTo>
                  <a:cubicBezTo>
                    <a:pt x="238498" y="1009112"/>
                    <a:pt x="258248" y="1004567"/>
                    <a:pt x="277298" y="998217"/>
                  </a:cubicBezTo>
                  <a:lnTo>
                    <a:pt x="305873" y="988692"/>
                  </a:lnTo>
                  <a:cubicBezTo>
                    <a:pt x="315398" y="982342"/>
                    <a:pt x="325654" y="976971"/>
                    <a:pt x="334448" y="969642"/>
                  </a:cubicBezTo>
                  <a:cubicBezTo>
                    <a:pt x="344796" y="961018"/>
                    <a:pt x="351600" y="948206"/>
                    <a:pt x="363023" y="941067"/>
                  </a:cubicBezTo>
                  <a:cubicBezTo>
                    <a:pt x="377522" y="932005"/>
                    <a:pt x="395355" y="929663"/>
                    <a:pt x="410648" y="922017"/>
                  </a:cubicBezTo>
                  <a:cubicBezTo>
                    <a:pt x="420887" y="916897"/>
                    <a:pt x="428984" y="908087"/>
                    <a:pt x="439223" y="902967"/>
                  </a:cubicBezTo>
                  <a:cubicBezTo>
                    <a:pt x="471138" y="887010"/>
                    <a:pt x="526361" y="886935"/>
                    <a:pt x="553523" y="883917"/>
                  </a:cubicBezTo>
                  <a:cubicBezTo>
                    <a:pt x="570987" y="831526"/>
                    <a:pt x="552555" y="878468"/>
                    <a:pt x="582098" y="826767"/>
                  </a:cubicBezTo>
                  <a:cubicBezTo>
                    <a:pt x="589143" y="814439"/>
                    <a:pt x="594103" y="800995"/>
                    <a:pt x="601148" y="788667"/>
                  </a:cubicBezTo>
                  <a:cubicBezTo>
                    <a:pt x="606828" y="778728"/>
                    <a:pt x="615078" y="770331"/>
                    <a:pt x="620198" y="760092"/>
                  </a:cubicBezTo>
                  <a:cubicBezTo>
                    <a:pt x="624688" y="751112"/>
                    <a:pt x="626548" y="741042"/>
                    <a:pt x="629723" y="731517"/>
                  </a:cubicBezTo>
                  <a:cubicBezTo>
                    <a:pt x="639248" y="734692"/>
                    <a:pt x="649318" y="736552"/>
                    <a:pt x="658298" y="741042"/>
                  </a:cubicBezTo>
                  <a:cubicBezTo>
                    <a:pt x="668537" y="746162"/>
                    <a:pt x="675581" y="761974"/>
                    <a:pt x="686873" y="760092"/>
                  </a:cubicBezTo>
                  <a:cubicBezTo>
                    <a:pt x="707936" y="756582"/>
                    <a:pt x="727926" y="706562"/>
                    <a:pt x="734498" y="693417"/>
                  </a:cubicBezTo>
                  <a:cubicBezTo>
                    <a:pt x="737673" y="671192"/>
                    <a:pt x="725754" y="639791"/>
                    <a:pt x="744023" y="626742"/>
                  </a:cubicBezTo>
                  <a:cubicBezTo>
                    <a:pt x="760363" y="615070"/>
                    <a:pt x="782123" y="639442"/>
                    <a:pt x="801173" y="645792"/>
                  </a:cubicBezTo>
                  <a:cubicBezTo>
                    <a:pt x="851270" y="662491"/>
                    <a:pt x="826042" y="662989"/>
                    <a:pt x="867848" y="683892"/>
                  </a:cubicBezTo>
                  <a:cubicBezTo>
                    <a:pt x="876828" y="688382"/>
                    <a:pt x="886898" y="690242"/>
                    <a:pt x="896423" y="693417"/>
                  </a:cubicBezTo>
                  <a:cubicBezTo>
                    <a:pt x="968247" y="669476"/>
                    <a:pt x="879715" y="701771"/>
                    <a:pt x="953573" y="664842"/>
                  </a:cubicBezTo>
                  <a:cubicBezTo>
                    <a:pt x="962553" y="660352"/>
                    <a:pt x="972623" y="658492"/>
                    <a:pt x="982148" y="655317"/>
                  </a:cubicBezTo>
                  <a:cubicBezTo>
                    <a:pt x="985323" y="617217"/>
                    <a:pt x="988949" y="579152"/>
                    <a:pt x="991673" y="541017"/>
                  </a:cubicBezTo>
                  <a:cubicBezTo>
                    <a:pt x="995299" y="490247"/>
                    <a:pt x="993648" y="438953"/>
                    <a:pt x="1001198" y="388617"/>
                  </a:cubicBezTo>
                  <a:cubicBezTo>
                    <a:pt x="1003304" y="374575"/>
                    <a:pt x="1015262" y="363812"/>
                    <a:pt x="1020248" y="350517"/>
                  </a:cubicBezTo>
                  <a:cubicBezTo>
                    <a:pt x="1031658" y="320091"/>
                    <a:pt x="1030213" y="283182"/>
                    <a:pt x="1048823" y="255267"/>
                  </a:cubicBezTo>
                  <a:lnTo>
                    <a:pt x="1067873" y="226692"/>
                  </a:lnTo>
                  <a:cubicBezTo>
                    <a:pt x="1071048" y="185417"/>
                    <a:pt x="1061636" y="141146"/>
                    <a:pt x="1077398" y="102867"/>
                  </a:cubicBezTo>
                  <a:cubicBezTo>
                    <a:pt x="1097767" y="53401"/>
                    <a:pt x="1200028" y="58219"/>
                    <a:pt x="1229798" y="55242"/>
                  </a:cubicBezTo>
                  <a:cubicBezTo>
                    <a:pt x="1239323" y="52067"/>
                    <a:pt x="1248333" y="45717"/>
                    <a:pt x="1258373" y="45717"/>
                  </a:cubicBezTo>
                  <a:cubicBezTo>
                    <a:pt x="1289045" y="45717"/>
                    <a:pt x="1291370" y="61876"/>
                    <a:pt x="1305998" y="83817"/>
                  </a:cubicBezTo>
                  <a:cubicBezTo>
                    <a:pt x="1318698" y="77467"/>
                    <a:pt x="1331770" y="71812"/>
                    <a:pt x="1344098" y="64767"/>
                  </a:cubicBezTo>
                  <a:cubicBezTo>
                    <a:pt x="1354037" y="59087"/>
                    <a:pt x="1361272" y="46753"/>
                    <a:pt x="1372673" y="45717"/>
                  </a:cubicBezTo>
                  <a:cubicBezTo>
                    <a:pt x="1398166" y="43399"/>
                    <a:pt x="1423473" y="52067"/>
                    <a:pt x="1448873" y="55242"/>
                  </a:cubicBezTo>
                  <a:cubicBezTo>
                    <a:pt x="1455223" y="64767"/>
                    <a:pt x="1458984" y="76666"/>
                    <a:pt x="1467923" y="83817"/>
                  </a:cubicBezTo>
                  <a:cubicBezTo>
                    <a:pt x="1533648" y="136397"/>
                    <a:pt x="1460953" y="40025"/>
                    <a:pt x="1515548" y="121917"/>
                  </a:cubicBezTo>
                  <a:cubicBezTo>
                    <a:pt x="1518723" y="134617"/>
                    <a:pt x="1516895" y="149795"/>
                    <a:pt x="1525073" y="160017"/>
                  </a:cubicBezTo>
                  <a:cubicBezTo>
                    <a:pt x="1531345" y="167857"/>
                    <a:pt x="1543908" y="167107"/>
                    <a:pt x="1553648" y="169542"/>
                  </a:cubicBezTo>
                  <a:lnTo>
                    <a:pt x="1629848" y="188592"/>
                  </a:lnTo>
                  <a:cubicBezTo>
                    <a:pt x="1641744" y="200488"/>
                    <a:pt x="1663367" y="230630"/>
                    <a:pt x="1686998" y="226692"/>
                  </a:cubicBezTo>
                  <a:cubicBezTo>
                    <a:pt x="1698290" y="224810"/>
                    <a:pt x="1706048" y="213992"/>
                    <a:pt x="1715573" y="207642"/>
                  </a:cubicBezTo>
                  <a:cubicBezTo>
                    <a:pt x="1718748" y="191767"/>
                    <a:pt x="1721586" y="175821"/>
                    <a:pt x="1725098" y="160017"/>
                  </a:cubicBezTo>
                  <a:cubicBezTo>
                    <a:pt x="1727938" y="147238"/>
                    <a:pt x="1734623" y="135008"/>
                    <a:pt x="1734623" y="121917"/>
                  </a:cubicBezTo>
                  <a:cubicBezTo>
                    <a:pt x="1734623" y="111877"/>
                    <a:pt x="1728273" y="102867"/>
                    <a:pt x="1725098" y="93342"/>
                  </a:cubicBezTo>
                  <a:cubicBezTo>
                    <a:pt x="1743043" y="75397"/>
                    <a:pt x="1758378" y="56326"/>
                    <a:pt x="1782248" y="45717"/>
                  </a:cubicBezTo>
                  <a:cubicBezTo>
                    <a:pt x="1800598" y="37562"/>
                    <a:pt x="1820348" y="33017"/>
                    <a:pt x="1839398" y="26667"/>
                  </a:cubicBezTo>
                  <a:cubicBezTo>
                    <a:pt x="1997527" y="-26043"/>
                    <a:pt x="1857935" y="17375"/>
                    <a:pt x="2277548" y="7617"/>
                  </a:cubicBezTo>
                  <a:cubicBezTo>
                    <a:pt x="2563298" y="10792"/>
                    <a:pt x="2849179" y="7928"/>
                    <a:pt x="3134798" y="17142"/>
                  </a:cubicBezTo>
                  <a:cubicBezTo>
                    <a:pt x="3146240" y="17511"/>
                    <a:pt x="3152851" y="31683"/>
                    <a:pt x="3163373" y="36192"/>
                  </a:cubicBezTo>
                  <a:cubicBezTo>
                    <a:pt x="3175405" y="41349"/>
                    <a:pt x="3188405" y="44948"/>
                    <a:pt x="3201473" y="45717"/>
                  </a:cubicBezTo>
                  <a:cubicBezTo>
                    <a:pt x="3242677" y="48141"/>
                    <a:pt x="3309423" y="53655"/>
                    <a:pt x="3334823" y="64767"/>
                  </a:cubicBezTo>
                  <a:close/>
                </a:path>
              </a:pathLst>
            </a:custGeom>
            <a:solidFill>
              <a:srgbClr val="EDDD32"/>
            </a:solidFill>
            <a:ln w="9525" cap="flat" cmpd="sng" algn="ctr">
              <a:solidFill>
                <a:srgbClr val="4866A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8383">
                <a:buClr>
                  <a:srgbClr val="000000"/>
                </a:buClr>
                <a:buSzPct val="100000"/>
              </a:pPr>
              <a:endParaRPr lang="pt-BR" sz="102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61" name="Freeform 26"/>
            <p:cNvSpPr/>
            <p:nvPr/>
          </p:nvSpPr>
          <p:spPr bwMode="auto">
            <a:xfrm>
              <a:off x="11958200" y="3778209"/>
              <a:ext cx="948133" cy="758973"/>
            </a:xfrm>
            <a:custGeom>
              <a:avLst/>
              <a:gdLst>
                <a:gd name="connsiteX0" fmla="*/ 115013 w 3201453"/>
                <a:gd name="connsiteY0" fmla="*/ 2076912 h 2521073"/>
                <a:gd name="connsiteX1" fmla="*/ 162638 w 3201453"/>
                <a:gd name="connsiteY1" fmla="*/ 2105487 h 2521073"/>
                <a:gd name="connsiteX2" fmla="*/ 238838 w 3201453"/>
                <a:gd name="connsiteY2" fmla="*/ 2124537 h 2521073"/>
                <a:gd name="connsiteX3" fmla="*/ 353138 w 3201453"/>
                <a:gd name="connsiteY3" fmla="*/ 2153112 h 2521073"/>
                <a:gd name="connsiteX4" fmla="*/ 457913 w 3201453"/>
                <a:gd name="connsiteY4" fmla="*/ 2143587 h 2521073"/>
                <a:gd name="connsiteX5" fmla="*/ 524588 w 3201453"/>
                <a:gd name="connsiteY5" fmla="*/ 2153112 h 2521073"/>
                <a:gd name="connsiteX6" fmla="*/ 619838 w 3201453"/>
                <a:gd name="connsiteY6" fmla="*/ 2238837 h 2521073"/>
                <a:gd name="connsiteX7" fmla="*/ 648413 w 3201453"/>
                <a:gd name="connsiteY7" fmla="*/ 2257887 h 2521073"/>
                <a:gd name="connsiteX8" fmla="*/ 676988 w 3201453"/>
                <a:gd name="connsiteY8" fmla="*/ 2286462 h 2521073"/>
                <a:gd name="connsiteX9" fmla="*/ 696038 w 3201453"/>
                <a:gd name="connsiteY9" fmla="*/ 2315037 h 2521073"/>
                <a:gd name="connsiteX10" fmla="*/ 743663 w 3201453"/>
                <a:gd name="connsiteY10" fmla="*/ 2324562 h 2521073"/>
                <a:gd name="connsiteX11" fmla="*/ 800813 w 3201453"/>
                <a:gd name="connsiteY11" fmla="*/ 2343612 h 2521073"/>
                <a:gd name="connsiteX12" fmla="*/ 905588 w 3201453"/>
                <a:gd name="connsiteY12" fmla="*/ 2391237 h 2521073"/>
                <a:gd name="connsiteX13" fmla="*/ 981788 w 3201453"/>
                <a:gd name="connsiteY13" fmla="*/ 2429337 h 2521073"/>
                <a:gd name="connsiteX14" fmla="*/ 1096088 w 3201453"/>
                <a:gd name="connsiteY14" fmla="*/ 2448387 h 2521073"/>
                <a:gd name="connsiteX15" fmla="*/ 1286588 w 3201453"/>
                <a:gd name="connsiteY15" fmla="*/ 2467437 h 2521073"/>
                <a:gd name="connsiteX16" fmla="*/ 1496138 w 3201453"/>
                <a:gd name="connsiteY16" fmla="*/ 2486487 h 2521073"/>
                <a:gd name="connsiteX17" fmla="*/ 1534238 w 3201453"/>
                <a:gd name="connsiteY17" fmla="*/ 2496012 h 2521073"/>
                <a:gd name="connsiteX18" fmla="*/ 1619963 w 3201453"/>
                <a:gd name="connsiteY18" fmla="*/ 2486487 h 2521073"/>
                <a:gd name="connsiteX19" fmla="*/ 1658063 w 3201453"/>
                <a:gd name="connsiteY19" fmla="*/ 2476962 h 2521073"/>
                <a:gd name="connsiteX20" fmla="*/ 1867613 w 3201453"/>
                <a:gd name="connsiteY20" fmla="*/ 2486487 h 2521073"/>
                <a:gd name="connsiteX21" fmla="*/ 1934288 w 3201453"/>
                <a:gd name="connsiteY21" fmla="*/ 2505537 h 2521073"/>
                <a:gd name="connsiteX22" fmla="*/ 1953338 w 3201453"/>
                <a:gd name="connsiteY22" fmla="*/ 2467437 h 2521073"/>
                <a:gd name="connsiteX23" fmla="*/ 1972388 w 3201453"/>
                <a:gd name="connsiteY23" fmla="*/ 2410287 h 2521073"/>
                <a:gd name="connsiteX24" fmla="*/ 1981913 w 3201453"/>
                <a:gd name="connsiteY24" fmla="*/ 2372187 h 2521073"/>
                <a:gd name="connsiteX25" fmla="*/ 2029538 w 3201453"/>
                <a:gd name="connsiteY25" fmla="*/ 2315037 h 2521073"/>
                <a:gd name="connsiteX26" fmla="*/ 2039063 w 3201453"/>
                <a:gd name="connsiteY26" fmla="*/ 2229312 h 2521073"/>
                <a:gd name="connsiteX27" fmla="*/ 2058113 w 3201453"/>
                <a:gd name="connsiteY27" fmla="*/ 2257887 h 2521073"/>
                <a:gd name="connsiteX28" fmla="*/ 2077163 w 3201453"/>
                <a:gd name="connsiteY28" fmla="*/ 2295987 h 2521073"/>
                <a:gd name="connsiteX29" fmla="*/ 2105738 w 3201453"/>
                <a:gd name="connsiteY29" fmla="*/ 2305512 h 2521073"/>
                <a:gd name="connsiteX30" fmla="*/ 2191463 w 3201453"/>
                <a:gd name="connsiteY30" fmla="*/ 2315037 h 2521073"/>
                <a:gd name="connsiteX31" fmla="*/ 2220038 w 3201453"/>
                <a:gd name="connsiteY31" fmla="*/ 2343612 h 2521073"/>
                <a:gd name="connsiteX32" fmla="*/ 2277188 w 3201453"/>
                <a:gd name="connsiteY32" fmla="*/ 2362662 h 2521073"/>
                <a:gd name="connsiteX33" fmla="*/ 2296238 w 3201453"/>
                <a:gd name="connsiteY33" fmla="*/ 2334087 h 2521073"/>
                <a:gd name="connsiteX34" fmla="*/ 2277188 w 3201453"/>
                <a:gd name="connsiteY34" fmla="*/ 2305512 h 2521073"/>
                <a:gd name="connsiteX35" fmla="*/ 2248613 w 3201453"/>
                <a:gd name="connsiteY35" fmla="*/ 2181687 h 2521073"/>
                <a:gd name="connsiteX36" fmla="*/ 2239088 w 3201453"/>
                <a:gd name="connsiteY36" fmla="*/ 2153112 h 2521073"/>
                <a:gd name="connsiteX37" fmla="*/ 2286713 w 3201453"/>
                <a:gd name="connsiteY37" fmla="*/ 2095962 h 2521073"/>
                <a:gd name="connsiteX38" fmla="*/ 2305763 w 3201453"/>
                <a:gd name="connsiteY38" fmla="*/ 2000712 h 2521073"/>
                <a:gd name="connsiteX39" fmla="*/ 2372438 w 3201453"/>
                <a:gd name="connsiteY39" fmla="*/ 1972137 h 2521073"/>
                <a:gd name="connsiteX40" fmla="*/ 2401013 w 3201453"/>
                <a:gd name="connsiteY40" fmla="*/ 1953087 h 2521073"/>
                <a:gd name="connsiteX41" fmla="*/ 2429588 w 3201453"/>
                <a:gd name="connsiteY41" fmla="*/ 1943562 h 2521073"/>
                <a:gd name="connsiteX42" fmla="*/ 2458163 w 3201453"/>
                <a:gd name="connsiteY42" fmla="*/ 1914987 h 2521073"/>
                <a:gd name="connsiteX43" fmla="*/ 2439113 w 3201453"/>
                <a:gd name="connsiteY43" fmla="*/ 1705437 h 2521073"/>
                <a:gd name="connsiteX44" fmla="*/ 2429588 w 3201453"/>
                <a:gd name="connsiteY44" fmla="*/ 1676862 h 2521073"/>
                <a:gd name="connsiteX45" fmla="*/ 2420063 w 3201453"/>
                <a:gd name="connsiteY45" fmla="*/ 1533987 h 2521073"/>
                <a:gd name="connsiteX46" fmla="*/ 2429588 w 3201453"/>
                <a:gd name="connsiteY46" fmla="*/ 1476837 h 2521073"/>
                <a:gd name="connsiteX47" fmla="*/ 2439113 w 3201453"/>
                <a:gd name="connsiteY47" fmla="*/ 1267287 h 2521073"/>
                <a:gd name="connsiteX48" fmla="*/ 2429588 w 3201453"/>
                <a:gd name="connsiteY48" fmla="*/ 1219662 h 2521073"/>
                <a:gd name="connsiteX49" fmla="*/ 2420063 w 3201453"/>
                <a:gd name="connsiteY49" fmla="*/ 1181562 h 2521073"/>
                <a:gd name="connsiteX50" fmla="*/ 2448638 w 3201453"/>
                <a:gd name="connsiteY50" fmla="*/ 1172037 h 2521073"/>
                <a:gd name="connsiteX51" fmla="*/ 2572463 w 3201453"/>
                <a:gd name="connsiteY51" fmla="*/ 1162512 h 2521073"/>
                <a:gd name="connsiteX52" fmla="*/ 2629613 w 3201453"/>
                <a:gd name="connsiteY52" fmla="*/ 1105362 h 2521073"/>
                <a:gd name="connsiteX53" fmla="*/ 2677238 w 3201453"/>
                <a:gd name="connsiteY53" fmla="*/ 1048212 h 2521073"/>
                <a:gd name="connsiteX54" fmla="*/ 2734388 w 3201453"/>
                <a:gd name="connsiteY54" fmla="*/ 1010112 h 2521073"/>
                <a:gd name="connsiteX55" fmla="*/ 2753438 w 3201453"/>
                <a:gd name="connsiteY55" fmla="*/ 981537 h 2521073"/>
                <a:gd name="connsiteX56" fmla="*/ 2782013 w 3201453"/>
                <a:gd name="connsiteY56" fmla="*/ 943437 h 2521073"/>
                <a:gd name="connsiteX57" fmla="*/ 2820113 w 3201453"/>
                <a:gd name="connsiteY57" fmla="*/ 876762 h 2521073"/>
                <a:gd name="connsiteX58" fmla="*/ 2867738 w 3201453"/>
                <a:gd name="connsiteY58" fmla="*/ 886287 h 2521073"/>
                <a:gd name="connsiteX59" fmla="*/ 2934413 w 3201453"/>
                <a:gd name="connsiteY59" fmla="*/ 905337 h 2521073"/>
                <a:gd name="connsiteX60" fmla="*/ 2962988 w 3201453"/>
                <a:gd name="connsiteY60" fmla="*/ 876762 h 2521073"/>
                <a:gd name="connsiteX61" fmla="*/ 2982038 w 3201453"/>
                <a:gd name="connsiteY61" fmla="*/ 848187 h 2521073"/>
                <a:gd name="connsiteX62" fmla="*/ 3039188 w 3201453"/>
                <a:gd name="connsiteY62" fmla="*/ 829137 h 2521073"/>
                <a:gd name="connsiteX63" fmla="*/ 3086813 w 3201453"/>
                <a:gd name="connsiteY63" fmla="*/ 810087 h 2521073"/>
                <a:gd name="connsiteX64" fmla="*/ 3124913 w 3201453"/>
                <a:gd name="connsiteY64" fmla="*/ 800562 h 2521073"/>
                <a:gd name="connsiteX65" fmla="*/ 3153488 w 3201453"/>
                <a:gd name="connsiteY65" fmla="*/ 791037 h 2521073"/>
                <a:gd name="connsiteX66" fmla="*/ 3182063 w 3201453"/>
                <a:gd name="connsiteY66" fmla="*/ 752937 h 2521073"/>
                <a:gd name="connsiteX67" fmla="*/ 3201113 w 3201453"/>
                <a:gd name="connsiteY67" fmla="*/ 724362 h 2521073"/>
                <a:gd name="connsiteX68" fmla="*/ 3191588 w 3201453"/>
                <a:gd name="connsiteY68" fmla="*/ 657687 h 2521073"/>
                <a:gd name="connsiteX69" fmla="*/ 3153488 w 3201453"/>
                <a:gd name="connsiteY69" fmla="*/ 524337 h 2521073"/>
                <a:gd name="connsiteX70" fmla="*/ 2991563 w 3201453"/>
                <a:gd name="connsiteY70" fmla="*/ 514812 h 2521073"/>
                <a:gd name="connsiteX71" fmla="*/ 2924888 w 3201453"/>
                <a:gd name="connsiteY71" fmla="*/ 486237 h 2521073"/>
                <a:gd name="connsiteX72" fmla="*/ 2867738 w 3201453"/>
                <a:gd name="connsiteY72" fmla="*/ 448137 h 2521073"/>
                <a:gd name="connsiteX73" fmla="*/ 2810588 w 3201453"/>
                <a:gd name="connsiteY73" fmla="*/ 400512 h 2521073"/>
                <a:gd name="connsiteX74" fmla="*/ 2705813 w 3201453"/>
                <a:gd name="connsiteY74" fmla="*/ 390987 h 2521073"/>
                <a:gd name="connsiteX75" fmla="*/ 2677238 w 3201453"/>
                <a:gd name="connsiteY75" fmla="*/ 371937 h 2521073"/>
                <a:gd name="connsiteX76" fmla="*/ 2648663 w 3201453"/>
                <a:gd name="connsiteY76" fmla="*/ 314787 h 2521073"/>
                <a:gd name="connsiteX77" fmla="*/ 2610563 w 3201453"/>
                <a:gd name="connsiteY77" fmla="*/ 257637 h 2521073"/>
                <a:gd name="connsiteX78" fmla="*/ 2581988 w 3201453"/>
                <a:gd name="connsiteY78" fmla="*/ 229062 h 2521073"/>
                <a:gd name="connsiteX79" fmla="*/ 2486738 w 3201453"/>
                <a:gd name="connsiteY79" fmla="*/ 219537 h 2521073"/>
                <a:gd name="connsiteX80" fmla="*/ 2429588 w 3201453"/>
                <a:gd name="connsiteY80" fmla="*/ 210012 h 2521073"/>
                <a:gd name="connsiteX81" fmla="*/ 2401013 w 3201453"/>
                <a:gd name="connsiteY81" fmla="*/ 181437 h 2521073"/>
                <a:gd name="connsiteX82" fmla="*/ 2439113 w 3201453"/>
                <a:gd name="connsiteY82" fmla="*/ 95712 h 2521073"/>
                <a:gd name="connsiteX83" fmla="*/ 2467688 w 3201453"/>
                <a:gd name="connsiteY83" fmla="*/ 76662 h 2521073"/>
                <a:gd name="connsiteX84" fmla="*/ 2505788 w 3201453"/>
                <a:gd name="connsiteY84" fmla="*/ 48087 h 2521073"/>
                <a:gd name="connsiteX85" fmla="*/ 2515313 w 3201453"/>
                <a:gd name="connsiteY85" fmla="*/ 19512 h 2521073"/>
                <a:gd name="connsiteX86" fmla="*/ 2486738 w 3201453"/>
                <a:gd name="connsiteY86" fmla="*/ 462 h 2521073"/>
                <a:gd name="connsiteX87" fmla="*/ 2372438 w 3201453"/>
                <a:gd name="connsiteY87" fmla="*/ 9987 h 2521073"/>
                <a:gd name="connsiteX88" fmla="*/ 2277188 w 3201453"/>
                <a:gd name="connsiteY88" fmla="*/ 19512 h 2521073"/>
                <a:gd name="connsiteX89" fmla="*/ 2162888 w 3201453"/>
                <a:gd name="connsiteY89" fmla="*/ 38562 h 2521073"/>
                <a:gd name="connsiteX90" fmla="*/ 2134313 w 3201453"/>
                <a:gd name="connsiteY90" fmla="*/ 57612 h 2521073"/>
                <a:gd name="connsiteX91" fmla="*/ 1886663 w 3201453"/>
                <a:gd name="connsiteY91" fmla="*/ 57612 h 2521073"/>
                <a:gd name="connsiteX92" fmla="*/ 1858088 w 3201453"/>
                <a:gd name="connsiteY92" fmla="*/ 38562 h 2521073"/>
                <a:gd name="connsiteX93" fmla="*/ 1715213 w 3201453"/>
                <a:gd name="connsiteY93" fmla="*/ 19512 h 2521073"/>
                <a:gd name="connsiteX94" fmla="*/ 1705688 w 3201453"/>
                <a:gd name="connsiteY94" fmla="*/ 171912 h 2521073"/>
                <a:gd name="connsiteX95" fmla="*/ 1658063 w 3201453"/>
                <a:gd name="connsiteY95" fmla="*/ 210012 h 2521073"/>
                <a:gd name="connsiteX96" fmla="*/ 1600913 w 3201453"/>
                <a:gd name="connsiteY96" fmla="*/ 219537 h 2521073"/>
                <a:gd name="connsiteX97" fmla="*/ 1524713 w 3201453"/>
                <a:gd name="connsiteY97" fmla="*/ 238587 h 2521073"/>
                <a:gd name="connsiteX98" fmla="*/ 1486613 w 3201453"/>
                <a:gd name="connsiteY98" fmla="*/ 257637 h 2521073"/>
                <a:gd name="connsiteX99" fmla="*/ 1410413 w 3201453"/>
                <a:gd name="connsiteY99" fmla="*/ 267162 h 2521073"/>
                <a:gd name="connsiteX100" fmla="*/ 1343738 w 3201453"/>
                <a:gd name="connsiteY100" fmla="*/ 295737 h 2521073"/>
                <a:gd name="connsiteX101" fmla="*/ 1315163 w 3201453"/>
                <a:gd name="connsiteY101" fmla="*/ 314787 h 2521073"/>
                <a:gd name="connsiteX102" fmla="*/ 1258013 w 3201453"/>
                <a:gd name="connsiteY102" fmla="*/ 324312 h 2521073"/>
                <a:gd name="connsiteX103" fmla="*/ 1229438 w 3201453"/>
                <a:gd name="connsiteY103" fmla="*/ 333837 h 2521073"/>
                <a:gd name="connsiteX104" fmla="*/ 1219913 w 3201453"/>
                <a:gd name="connsiteY104" fmla="*/ 410037 h 2521073"/>
                <a:gd name="connsiteX105" fmla="*/ 1248488 w 3201453"/>
                <a:gd name="connsiteY105" fmla="*/ 429087 h 2521073"/>
                <a:gd name="connsiteX106" fmla="*/ 1258013 w 3201453"/>
                <a:gd name="connsiteY106" fmla="*/ 505287 h 2521073"/>
                <a:gd name="connsiteX107" fmla="*/ 1172288 w 3201453"/>
                <a:gd name="connsiteY107" fmla="*/ 562437 h 2521073"/>
                <a:gd name="connsiteX108" fmla="*/ 1143713 w 3201453"/>
                <a:gd name="connsiteY108" fmla="*/ 591012 h 2521073"/>
                <a:gd name="connsiteX109" fmla="*/ 1124663 w 3201453"/>
                <a:gd name="connsiteY109" fmla="*/ 619587 h 2521073"/>
                <a:gd name="connsiteX110" fmla="*/ 1067513 w 3201453"/>
                <a:gd name="connsiteY110" fmla="*/ 676737 h 2521073"/>
                <a:gd name="connsiteX111" fmla="*/ 1029413 w 3201453"/>
                <a:gd name="connsiteY111" fmla="*/ 714837 h 2521073"/>
                <a:gd name="connsiteX112" fmla="*/ 1038938 w 3201453"/>
                <a:gd name="connsiteY112" fmla="*/ 762462 h 2521073"/>
                <a:gd name="connsiteX113" fmla="*/ 1038938 w 3201453"/>
                <a:gd name="connsiteY113" fmla="*/ 791037 h 2521073"/>
                <a:gd name="connsiteX114" fmla="*/ 924638 w 3201453"/>
                <a:gd name="connsiteY114" fmla="*/ 714837 h 2521073"/>
                <a:gd name="connsiteX115" fmla="*/ 924638 w 3201453"/>
                <a:gd name="connsiteY115" fmla="*/ 714837 h 2521073"/>
                <a:gd name="connsiteX116" fmla="*/ 896063 w 3201453"/>
                <a:gd name="connsiteY116" fmla="*/ 705312 h 2521073"/>
                <a:gd name="connsiteX117" fmla="*/ 734138 w 3201453"/>
                <a:gd name="connsiteY117" fmla="*/ 686262 h 2521073"/>
                <a:gd name="connsiteX118" fmla="*/ 667463 w 3201453"/>
                <a:gd name="connsiteY118" fmla="*/ 676737 h 2521073"/>
                <a:gd name="connsiteX119" fmla="*/ 638888 w 3201453"/>
                <a:gd name="connsiteY119" fmla="*/ 657687 h 2521073"/>
                <a:gd name="connsiteX120" fmla="*/ 515063 w 3201453"/>
                <a:gd name="connsiteY120" fmla="*/ 638637 h 2521073"/>
                <a:gd name="connsiteX121" fmla="*/ 429338 w 3201453"/>
                <a:gd name="connsiteY121" fmla="*/ 629112 h 2521073"/>
                <a:gd name="connsiteX122" fmla="*/ 391238 w 3201453"/>
                <a:gd name="connsiteY122" fmla="*/ 619587 h 2521073"/>
                <a:gd name="connsiteX123" fmla="*/ 334088 w 3201453"/>
                <a:gd name="connsiteY123" fmla="*/ 600537 h 2521073"/>
                <a:gd name="connsiteX124" fmla="*/ 295988 w 3201453"/>
                <a:gd name="connsiteY124" fmla="*/ 571962 h 2521073"/>
                <a:gd name="connsiteX125" fmla="*/ 200738 w 3201453"/>
                <a:gd name="connsiteY125" fmla="*/ 552912 h 2521073"/>
                <a:gd name="connsiteX126" fmla="*/ 172163 w 3201453"/>
                <a:gd name="connsiteY126" fmla="*/ 543387 h 2521073"/>
                <a:gd name="connsiteX127" fmla="*/ 191213 w 3201453"/>
                <a:gd name="connsiteY127" fmla="*/ 581487 h 2521073"/>
                <a:gd name="connsiteX128" fmla="*/ 200738 w 3201453"/>
                <a:gd name="connsiteY128" fmla="*/ 610062 h 2521073"/>
                <a:gd name="connsiteX129" fmla="*/ 219788 w 3201453"/>
                <a:gd name="connsiteY129" fmla="*/ 638637 h 2521073"/>
                <a:gd name="connsiteX130" fmla="*/ 238838 w 3201453"/>
                <a:gd name="connsiteY130" fmla="*/ 695787 h 2521073"/>
                <a:gd name="connsiteX131" fmla="*/ 257888 w 3201453"/>
                <a:gd name="connsiteY131" fmla="*/ 733887 h 2521073"/>
                <a:gd name="connsiteX132" fmla="*/ 267413 w 3201453"/>
                <a:gd name="connsiteY132" fmla="*/ 781512 h 2521073"/>
                <a:gd name="connsiteX133" fmla="*/ 286463 w 3201453"/>
                <a:gd name="connsiteY133" fmla="*/ 810087 h 2521073"/>
                <a:gd name="connsiteX134" fmla="*/ 315038 w 3201453"/>
                <a:gd name="connsiteY134" fmla="*/ 857712 h 2521073"/>
                <a:gd name="connsiteX135" fmla="*/ 391238 w 3201453"/>
                <a:gd name="connsiteY135" fmla="*/ 943437 h 2521073"/>
                <a:gd name="connsiteX136" fmla="*/ 324563 w 3201453"/>
                <a:gd name="connsiteY136" fmla="*/ 991062 h 2521073"/>
                <a:gd name="connsiteX137" fmla="*/ 295988 w 3201453"/>
                <a:gd name="connsiteY137" fmla="*/ 1000587 h 2521073"/>
                <a:gd name="connsiteX138" fmla="*/ 238838 w 3201453"/>
                <a:gd name="connsiteY138" fmla="*/ 1048212 h 2521073"/>
                <a:gd name="connsiteX139" fmla="*/ 181688 w 3201453"/>
                <a:gd name="connsiteY139" fmla="*/ 1057737 h 2521073"/>
                <a:gd name="connsiteX140" fmla="*/ 143588 w 3201453"/>
                <a:gd name="connsiteY140" fmla="*/ 1067262 h 2521073"/>
                <a:gd name="connsiteX141" fmla="*/ 29288 w 3201453"/>
                <a:gd name="connsiteY141" fmla="*/ 1057737 h 2521073"/>
                <a:gd name="connsiteX142" fmla="*/ 713 w 3201453"/>
                <a:gd name="connsiteY142" fmla="*/ 1048212 h 2521073"/>
                <a:gd name="connsiteX143" fmla="*/ 19763 w 3201453"/>
                <a:gd name="connsiteY143" fmla="*/ 1086312 h 2521073"/>
                <a:gd name="connsiteX144" fmla="*/ 29288 w 3201453"/>
                <a:gd name="connsiteY144" fmla="*/ 1114887 h 2521073"/>
                <a:gd name="connsiteX145" fmla="*/ 38813 w 3201453"/>
                <a:gd name="connsiteY145" fmla="*/ 1162512 h 2521073"/>
                <a:gd name="connsiteX146" fmla="*/ 67388 w 3201453"/>
                <a:gd name="connsiteY146" fmla="*/ 1172037 h 2521073"/>
                <a:gd name="connsiteX147" fmla="*/ 115013 w 3201453"/>
                <a:gd name="connsiteY147" fmla="*/ 1181562 h 2521073"/>
                <a:gd name="connsiteX148" fmla="*/ 143588 w 3201453"/>
                <a:gd name="connsiteY148" fmla="*/ 1200612 h 2521073"/>
                <a:gd name="connsiteX149" fmla="*/ 153113 w 3201453"/>
                <a:gd name="connsiteY149" fmla="*/ 1229187 h 2521073"/>
                <a:gd name="connsiteX150" fmla="*/ 134063 w 3201453"/>
                <a:gd name="connsiteY150" fmla="*/ 1286337 h 2521073"/>
                <a:gd name="connsiteX151" fmla="*/ 124538 w 3201453"/>
                <a:gd name="connsiteY151" fmla="*/ 1324437 h 2521073"/>
                <a:gd name="connsiteX152" fmla="*/ 115013 w 3201453"/>
                <a:gd name="connsiteY152" fmla="*/ 1353012 h 2521073"/>
                <a:gd name="connsiteX153" fmla="*/ 124538 w 3201453"/>
                <a:gd name="connsiteY153" fmla="*/ 1391112 h 2521073"/>
                <a:gd name="connsiteX154" fmla="*/ 153113 w 3201453"/>
                <a:gd name="connsiteY154" fmla="*/ 1410162 h 2521073"/>
                <a:gd name="connsiteX155" fmla="*/ 134063 w 3201453"/>
                <a:gd name="connsiteY155" fmla="*/ 1467312 h 2521073"/>
                <a:gd name="connsiteX156" fmla="*/ 124538 w 3201453"/>
                <a:gd name="connsiteY156" fmla="*/ 1495887 h 2521073"/>
                <a:gd name="connsiteX157" fmla="*/ 115013 w 3201453"/>
                <a:gd name="connsiteY157" fmla="*/ 1581612 h 2521073"/>
                <a:gd name="connsiteX158" fmla="*/ 86438 w 3201453"/>
                <a:gd name="connsiteY158" fmla="*/ 1610187 h 2521073"/>
                <a:gd name="connsiteX159" fmla="*/ 67388 w 3201453"/>
                <a:gd name="connsiteY159" fmla="*/ 1638762 h 2521073"/>
                <a:gd name="connsiteX160" fmla="*/ 76913 w 3201453"/>
                <a:gd name="connsiteY160" fmla="*/ 1724487 h 2521073"/>
                <a:gd name="connsiteX161" fmla="*/ 162638 w 3201453"/>
                <a:gd name="connsiteY161" fmla="*/ 1753062 h 2521073"/>
                <a:gd name="connsiteX162" fmla="*/ 162638 w 3201453"/>
                <a:gd name="connsiteY162" fmla="*/ 1943562 h 2521073"/>
                <a:gd name="connsiteX163" fmla="*/ 124538 w 3201453"/>
                <a:gd name="connsiteY163" fmla="*/ 2000712 h 2521073"/>
                <a:gd name="connsiteX164" fmla="*/ 115013 w 3201453"/>
                <a:gd name="connsiteY164" fmla="*/ 2076912 h 2521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</a:cxnLst>
              <a:rect l="l" t="t" r="r" b="b"/>
              <a:pathLst>
                <a:path w="3201453" h="2521073">
                  <a:moveTo>
                    <a:pt x="115013" y="2076912"/>
                  </a:moveTo>
                  <a:cubicBezTo>
                    <a:pt x="121363" y="2094374"/>
                    <a:pt x="145359" y="2098841"/>
                    <a:pt x="162638" y="2105487"/>
                  </a:cubicBezTo>
                  <a:cubicBezTo>
                    <a:pt x="187075" y="2114886"/>
                    <a:pt x="213438" y="2118187"/>
                    <a:pt x="238838" y="2124537"/>
                  </a:cubicBezTo>
                  <a:cubicBezTo>
                    <a:pt x="379823" y="2159783"/>
                    <a:pt x="241703" y="2130825"/>
                    <a:pt x="353138" y="2153112"/>
                  </a:cubicBezTo>
                  <a:cubicBezTo>
                    <a:pt x="388063" y="2149937"/>
                    <a:pt x="422844" y="2143587"/>
                    <a:pt x="457913" y="2143587"/>
                  </a:cubicBezTo>
                  <a:cubicBezTo>
                    <a:pt x="480364" y="2143587"/>
                    <a:pt x="503634" y="2145053"/>
                    <a:pt x="524588" y="2153112"/>
                  </a:cubicBezTo>
                  <a:cubicBezTo>
                    <a:pt x="588682" y="2177763"/>
                    <a:pt x="576290" y="2195289"/>
                    <a:pt x="619838" y="2238837"/>
                  </a:cubicBezTo>
                  <a:cubicBezTo>
                    <a:pt x="627933" y="2246932"/>
                    <a:pt x="639619" y="2250558"/>
                    <a:pt x="648413" y="2257887"/>
                  </a:cubicBezTo>
                  <a:cubicBezTo>
                    <a:pt x="658761" y="2266511"/>
                    <a:pt x="668364" y="2276114"/>
                    <a:pt x="676988" y="2286462"/>
                  </a:cubicBezTo>
                  <a:cubicBezTo>
                    <a:pt x="684317" y="2295256"/>
                    <a:pt x="686099" y="2309357"/>
                    <a:pt x="696038" y="2315037"/>
                  </a:cubicBezTo>
                  <a:cubicBezTo>
                    <a:pt x="710094" y="2323069"/>
                    <a:pt x="728044" y="2320302"/>
                    <a:pt x="743663" y="2324562"/>
                  </a:cubicBezTo>
                  <a:cubicBezTo>
                    <a:pt x="763036" y="2329846"/>
                    <a:pt x="800813" y="2343612"/>
                    <a:pt x="800813" y="2343612"/>
                  </a:cubicBezTo>
                  <a:cubicBezTo>
                    <a:pt x="898461" y="2408711"/>
                    <a:pt x="816401" y="2364481"/>
                    <a:pt x="905588" y="2391237"/>
                  </a:cubicBezTo>
                  <a:cubicBezTo>
                    <a:pt x="1036917" y="2430636"/>
                    <a:pt x="890061" y="2390025"/>
                    <a:pt x="981788" y="2429337"/>
                  </a:cubicBezTo>
                  <a:cubicBezTo>
                    <a:pt x="1007224" y="2440238"/>
                    <a:pt x="1080219" y="2446687"/>
                    <a:pt x="1096088" y="2448387"/>
                  </a:cubicBezTo>
                  <a:lnTo>
                    <a:pt x="1286588" y="2467437"/>
                  </a:lnTo>
                  <a:cubicBezTo>
                    <a:pt x="1389595" y="2493189"/>
                    <a:pt x="1270613" y="2465985"/>
                    <a:pt x="1496138" y="2486487"/>
                  </a:cubicBezTo>
                  <a:cubicBezTo>
                    <a:pt x="1509175" y="2487672"/>
                    <a:pt x="1521538" y="2492837"/>
                    <a:pt x="1534238" y="2496012"/>
                  </a:cubicBezTo>
                  <a:cubicBezTo>
                    <a:pt x="1562813" y="2492837"/>
                    <a:pt x="1591546" y="2490859"/>
                    <a:pt x="1619963" y="2486487"/>
                  </a:cubicBezTo>
                  <a:cubicBezTo>
                    <a:pt x="1632902" y="2484496"/>
                    <a:pt x="1644972" y="2476962"/>
                    <a:pt x="1658063" y="2476962"/>
                  </a:cubicBezTo>
                  <a:cubicBezTo>
                    <a:pt x="1727985" y="2476962"/>
                    <a:pt x="1797763" y="2483312"/>
                    <a:pt x="1867613" y="2486487"/>
                  </a:cubicBezTo>
                  <a:cubicBezTo>
                    <a:pt x="1885978" y="2514035"/>
                    <a:pt x="1889106" y="2537810"/>
                    <a:pt x="1934288" y="2505537"/>
                  </a:cubicBezTo>
                  <a:cubicBezTo>
                    <a:pt x="1945842" y="2497284"/>
                    <a:pt x="1948065" y="2480620"/>
                    <a:pt x="1953338" y="2467437"/>
                  </a:cubicBezTo>
                  <a:cubicBezTo>
                    <a:pt x="1960796" y="2448793"/>
                    <a:pt x="1966038" y="2429337"/>
                    <a:pt x="1972388" y="2410287"/>
                  </a:cubicBezTo>
                  <a:cubicBezTo>
                    <a:pt x="1976528" y="2397868"/>
                    <a:pt x="1976756" y="2384219"/>
                    <a:pt x="1981913" y="2372187"/>
                  </a:cubicBezTo>
                  <a:cubicBezTo>
                    <a:pt x="1991859" y="2348980"/>
                    <a:pt x="2012374" y="2332201"/>
                    <a:pt x="2029538" y="2315037"/>
                  </a:cubicBezTo>
                  <a:cubicBezTo>
                    <a:pt x="2032713" y="2286462"/>
                    <a:pt x="2026205" y="2255028"/>
                    <a:pt x="2039063" y="2229312"/>
                  </a:cubicBezTo>
                  <a:cubicBezTo>
                    <a:pt x="2044183" y="2219073"/>
                    <a:pt x="2052433" y="2247948"/>
                    <a:pt x="2058113" y="2257887"/>
                  </a:cubicBezTo>
                  <a:cubicBezTo>
                    <a:pt x="2065158" y="2270215"/>
                    <a:pt x="2067123" y="2285947"/>
                    <a:pt x="2077163" y="2295987"/>
                  </a:cubicBezTo>
                  <a:cubicBezTo>
                    <a:pt x="2084263" y="2303087"/>
                    <a:pt x="2095834" y="2303861"/>
                    <a:pt x="2105738" y="2305512"/>
                  </a:cubicBezTo>
                  <a:cubicBezTo>
                    <a:pt x="2134098" y="2310239"/>
                    <a:pt x="2162888" y="2311862"/>
                    <a:pt x="2191463" y="2315037"/>
                  </a:cubicBezTo>
                  <a:cubicBezTo>
                    <a:pt x="2200988" y="2324562"/>
                    <a:pt x="2208263" y="2337070"/>
                    <a:pt x="2220038" y="2343612"/>
                  </a:cubicBezTo>
                  <a:cubicBezTo>
                    <a:pt x="2237591" y="2353364"/>
                    <a:pt x="2277188" y="2362662"/>
                    <a:pt x="2277188" y="2362662"/>
                  </a:cubicBezTo>
                  <a:cubicBezTo>
                    <a:pt x="2283538" y="2353137"/>
                    <a:pt x="2296238" y="2345535"/>
                    <a:pt x="2296238" y="2334087"/>
                  </a:cubicBezTo>
                  <a:cubicBezTo>
                    <a:pt x="2296238" y="2322639"/>
                    <a:pt x="2281100" y="2316270"/>
                    <a:pt x="2277188" y="2305512"/>
                  </a:cubicBezTo>
                  <a:cubicBezTo>
                    <a:pt x="2258222" y="2253355"/>
                    <a:pt x="2260793" y="2230407"/>
                    <a:pt x="2248613" y="2181687"/>
                  </a:cubicBezTo>
                  <a:cubicBezTo>
                    <a:pt x="2246178" y="2171947"/>
                    <a:pt x="2242263" y="2162637"/>
                    <a:pt x="2239088" y="2153112"/>
                  </a:cubicBezTo>
                  <a:cubicBezTo>
                    <a:pt x="2252351" y="2139849"/>
                    <a:pt x="2280082" y="2115854"/>
                    <a:pt x="2286713" y="2095962"/>
                  </a:cubicBezTo>
                  <a:cubicBezTo>
                    <a:pt x="2286807" y="2095680"/>
                    <a:pt x="2299405" y="2010248"/>
                    <a:pt x="2305763" y="2000712"/>
                  </a:cubicBezTo>
                  <a:cubicBezTo>
                    <a:pt x="2318919" y="1980978"/>
                    <a:pt x="2353321" y="1976916"/>
                    <a:pt x="2372438" y="1972137"/>
                  </a:cubicBezTo>
                  <a:cubicBezTo>
                    <a:pt x="2381963" y="1965787"/>
                    <a:pt x="2390774" y="1958207"/>
                    <a:pt x="2401013" y="1953087"/>
                  </a:cubicBezTo>
                  <a:cubicBezTo>
                    <a:pt x="2409993" y="1948597"/>
                    <a:pt x="2421234" y="1949131"/>
                    <a:pt x="2429588" y="1943562"/>
                  </a:cubicBezTo>
                  <a:cubicBezTo>
                    <a:pt x="2440796" y="1936090"/>
                    <a:pt x="2448638" y="1924512"/>
                    <a:pt x="2458163" y="1914987"/>
                  </a:cubicBezTo>
                  <a:cubicBezTo>
                    <a:pt x="2452858" y="1824809"/>
                    <a:pt x="2457693" y="1779758"/>
                    <a:pt x="2439113" y="1705437"/>
                  </a:cubicBezTo>
                  <a:cubicBezTo>
                    <a:pt x="2436678" y="1695697"/>
                    <a:pt x="2432763" y="1686387"/>
                    <a:pt x="2429588" y="1676862"/>
                  </a:cubicBezTo>
                  <a:cubicBezTo>
                    <a:pt x="2426413" y="1629237"/>
                    <a:pt x="2420063" y="1581718"/>
                    <a:pt x="2420063" y="1533987"/>
                  </a:cubicBezTo>
                  <a:cubicBezTo>
                    <a:pt x="2420063" y="1514674"/>
                    <a:pt x="2428212" y="1496101"/>
                    <a:pt x="2429588" y="1476837"/>
                  </a:cubicBezTo>
                  <a:cubicBezTo>
                    <a:pt x="2434570" y="1407093"/>
                    <a:pt x="2435938" y="1337137"/>
                    <a:pt x="2439113" y="1267287"/>
                  </a:cubicBezTo>
                  <a:cubicBezTo>
                    <a:pt x="2435938" y="1251412"/>
                    <a:pt x="2433100" y="1235466"/>
                    <a:pt x="2429588" y="1219662"/>
                  </a:cubicBezTo>
                  <a:cubicBezTo>
                    <a:pt x="2426748" y="1206883"/>
                    <a:pt x="2415201" y="1193717"/>
                    <a:pt x="2420063" y="1181562"/>
                  </a:cubicBezTo>
                  <a:cubicBezTo>
                    <a:pt x="2423792" y="1172240"/>
                    <a:pt x="2438675" y="1173282"/>
                    <a:pt x="2448638" y="1172037"/>
                  </a:cubicBezTo>
                  <a:cubicBezTo>
                    <a:pt x="2489715" y="1166902"/>
                    <a:pt x="2531188" y="1165687"/>
                    <a:pt x="2572463" y="1162512"/>
                  </a:cubicBezTo>
                  <a:lnTo>
                    <a:pt x="2629613" y="1105362"/>
                  </a:lnTo>
                  <a:cubicBezTo>
                    <a:pt x="2684646" y="1050329"/>
                    <a:pt x="2607019" y="1102827"/>
                    <a:pt x="2677238" y="1048212"/>
                  </a:cubicBezTo>
                  <a:cubicBezTo>
                    <a:pt x="2695310" y="1034156"/>
                    <a:pt x="2734388" y="1010112"/>
                    <a:pt x="2734388" y="1010112"/>
                  </a:cubicBezTo>
                  <a:cubicBezTo>
                    <a:pt x="2740738" y="1000587"/>
                    <a:pt x="2746784" y="990852"/>
                    <a:pt x="2753438" y="981537"/>
                  </a:cubicBezTo>
                  <a:cubicBezTo>
                    <a:pt x="2762665" y="968619"/>
                    <a:pt x="2774913" y="957636"/>
                    <a:pt x="2782013" y="943437"/>
                  </a:cubicBezTo>
                  <a:cubicBezTo>
                    <a:pt x="2820389" y="866685"/>
                    <a:pt x="2755956" y="940919"/>
                    <a:pt x="2820113" y="876762"/>
                  </a:cubicBezTo>
                  <a:cubicBezTo>
                    <a:pt x="2835988" y="879937"/>
                    <a:pt x="2853258" y="879047"/>
                    <a:pt x="2867738" y="886287"/>
                  </a:cubicBezTo>
                  <a:cubicBezTo>
                    <a:pt x="2930791" y="917813"/>
                    <a:pt x="2858734" y="924257"/>
                    <a:pt x="2934413" y="905337"/>
                  </a:cubicBezTo>
                  <a:cubicBezTo>
                    <a:pt x="2943938" y="895812"/>
                    <a:pt x="2954364" y="887110"/>
                    <a:pt x="2962988" y="876762"/>
                  </a:cubicBezTo>
                  <a:cubicBezTo>
                    <a:pt x="2970317" y="867968"/>
                    <a:pt x="2972330" y="854254"/>
                    <a:pt x="2982038" y="848187"/>
                  </a:cubicBezTo>
                  <a:cubicBezTo>
                    <a:pt x="2999066" y="837544"/>
                    <a:pt x="3020138" y="835487"/>
                    <a:pt x="3039188" y="829137"/>
                  </a:cubicBezTo>
                  <a:cubicBezTo>
                    <a:pt x="3055408" y="823730"/>
                    <a:pt x="3070593" y="815494"/>
                    <a:pt x="3086813" y="810087"/>
                  </a:cubicBezTo>
                  <a:cubicBezTo>
                    <a:pt x="3099232" y="805947"/>
                    <a:pt x="3112326" y="804158"/>
                    <a:pt x="3124913" y="800562"/>
                  </a:cubicBezTo>
                  <a:cubicBezTo>
                    <a:pt x="3134567" y="797804"/>
                    <a:pt x="3143963" y="794212"/>
                    <a:pt x="3153488" y="791037"/>
                  </a:cubicBezTo>
                  <a:cubicBezTo>
                    <a:pt x="3163013" y="778337"/>
                    <a:pt x="3172836" y="765855"/>
                    <a:pt x="3182063" y="752937"/>
                  </a:cubicBezTo>
                  <a:cubicBezTo>
                    <a:pt x="3188717" y="743622"/>
                    <a:pt x="3199974" y="735753"/>
                    <a:pt x="3201113" y="724362"/>
                  </a:cubicBezTo>
                  <a:cubicBezTo>
                    <a:pt x="3203347" y="702023"/>
                    <a:pt x="3193938" y="680014"/>
                    <a:pt x="3191588" y="657687"/>
                  </a:cubicBezTo>
                  <a:cubicBezTo>
                    <a:pt x="3189456" y="637428"/>
                    <a:pt x="3211376" y="533020"/>
                    <a:pt x="3153488" y="524337"/>
                  </a:cubicBezTo>
                  <a:cubicBezTo>
                    <a:pt x="3100018" y="516316"/>
                    <a:pt x="3045538" y="517987"/>
                    <a:pt x="2991563" y="514812"/>
                  </a:cubicBezTo>
                  <a:cubicBezTo>
                    <a:pt x="2962002" y="504958"/>
                    <a:pt x="2954313" y="503892"/>
                    <a:pt x="2924888" y="486237"/>
                  </a:cubicBezTo>
                  <a:cubicBezTo>
                    <a:pt x="2905255" y="474457"/>
                    <a:pt x="2883927" y="464326"/>
                    <a:pt x="2867738" y="448137"/>
                  </a:cubicBezTo>
                  <a:cubicBezTo>
                    <a:pt x="2858021" y="438420"/>
                    <a:pt x="2827466" y="404129"/>
                    <a:pt x="2810588" y="400512"/>
                  </a:cubicBezTo>
                  <a:cubicBezTo>
                    <a:pt x="2776297" y="393164"/>
                    <a:pt x="2740738" y="394162"/>
                    <a:pt x="2705813" y="390987"/>
                  </a:cubicBezTo>
                  <a:cubicBezTo>
                    <a:pt x="2696288" y="384637"/>
                    <a:pt x="2685333" y="380032"/>
                    <a:pt x="2677238" y="371937"/>
                  </a:cubicBezTo>
                  <a:cubicBezTo>
                    <a:pt x="2645524" y="340223"/>
                    <a:pt x="2668030" y="349648"/>
                    <a:pt x="2648663" y="314787"/>
                  </a:cubicBezTo>
                  <a:cubicBezTo>
                    <a:pt x="2637544" y="294773"/>
                    <a:pt x="2626752" y="273826"/>
                    <a:pt x="2610563" y="257637"/>
                  </a:cubicBezTo>
                  <a:cubicBezTo>
                    <a:pt x="2601038" y="248112"/>
                    <a:pt x="2594863" y="233023"/>
                    <a:pt x="2581988" y="229062"/>
                  </a:cubicBezTo>
                  <a:cubicBezTo>
                    <a:pt x="2551491" y="219678"/>
                    <a:pt x="2518400" y="223495"/>
                    <a:pt x="2486738" y="219537"/>
                  </a:cubicBezTo>
                  <a:cubicBezTo>
                    <a:pt x="2467574" y="217142"/>
                    <a:pt x="2448638" y="213187"/>
                    <a:pt x="2429588" y="210012"/>
                  </a:cubicBezTo>
                  <a:cubicBezTo>
                    <a:pt x="2420063" y="200487"/>
                    <a:pt x="2403935" y="194587"/>
                    <a:pt x="2401013" y="181437"/>
                  </a:cubicBezTo>
                  <a:cubicBezTo>
                    <a:pt x="2391532" y="138775"/>
                    <a:pt x="2411682" y="118571"/>
                    <a:pt x="2439113" y="95712"/>
                  </a:cubicBezTo>
                  <a:cubicBezTo>
                    <a:pt x="2447907" y="88383"/>
                    <a:pt x="2458373" y="83316"/>
                    <a:pt x="2467688" y="76662"/>
                  </a:cubicBezTo>
                  <a:cubicBezTo>
                    <a:pt x="2480606" y="67435"/>
                    <a:pt x="2493088" y="57612"/>
                    <a:pt x="2505788" y="48087"/>
                  </a:cubicBezTo>
                  <a:cubicBezTo>
                    <a:pt x="2508963" y="38562"/>
                    <a:pt x="2519042" y="28834"/>
                    <a:pt x="2515313" y="19512"/>
                  </a:cubicBezTo>
                  <a:cubicBezTo>
                    <a:pt x="2511061" y="8883"/>
                    <a:pt x="2498160" y="1223"/>
                    <a:pt x="2486738" y="462"/>
                  </a:cubicBezTo>
                  <a:cubicBezTo>
                    <a:pt x="2448591" y="-2081"/>
                    <a:pt x="2410513" y="6526"/>
                    <a:pt x="2372438" y="9987"/>
                  </a:cubicBezTo>
                  <a:cubicBezTo>
                    <a:pt x="2340661" y="12876"/>
                    <a:pt x="2308804" y="15201"/>
                    <a:pt x="2277188" y="19512"/>
                  </a:cubicBezTo>
                  <a:cubicBezTo>
                    <a:pt x="2238917" y="24731"/>
                    <a:pt x="2162888" y="38562"/>
                    <a:pt x="2162888" y="38562"/>
                  </a:cubicBezTo>
                  <a:cubicBezTo>
                    <a:pt x="2153363" y="44912"/>
                    <a:pt x="2145565" y="55502"/>
                    <a:pt x="2134313" y="57612"/>
                  </a:cubicBezTo>
                  <a:cubicBezTo>
                    <a:pt x="2038255" y="75623"/>
                    <a:pt x="1982721" y="65001"/>
                    <a:pt x="1886663" y="57612"/>
                  </a:cubicBezTo>
                  <a:cubicBezTo>
                    <a:pt x="1877138" y="51262"/>
                    <a:pt x="1868807" y="42582"/>
                    <a:pt x="1858088" y="38562"/>
                  </a:cubicBezTo>
                  <a:cubicBezTo>
                    <a:pt x="1829392" y="27801"/>
                    <a:pt x="1727596" y="20750"/>
                    <a:pt x="1715213" y="19512"/>
                  </a:cubicBezTo>
                  <a:cubicBezTo>
                    <a:pt x="1712038" y="70312"/>
                    <a:pt x="1713626" y="121636"/>
                    <a:pt x="1705688" y="171912"/>
                  </a:cubicBezTo>
                  <a:cubicBezTo>
                    <a:pt x="1701358" y="199336"/>
                    <a:pt x="1679703" y="205203"/>
                    <a:pt x="1658063" y="210012"/>
                  </a:cubicBezTo>
                  <a:cubicBezTo>
                    <a:pt x="1639210" y="214202"/>
                    <a:pt x="1619797" y="215490"/>
                    <a:pt x="1600913" y="219537"/>
                  </a:cubicBezTo>
                  <a:cubicBezTo>
                    <a:pt x="1575312" y="225023"/>
                    <a:pt x="1548131" y="226878"/>
                    <a:pt x="1524713" y="238587"/>
                  </a:cubicBezTo>
                  <a:cubicBezTo>
                    <a:pt x="1512013" y="244937"/>
                    <a:pt x="1500388" y="254193"/>
                    <a:pt x="1486613" y="257637"/>
                  </a:cubicBezTo>
                  <a:cubicBezTo>
                    <a:pt x="1461780" y="263845"/>
                    <a:pt x="1435813" y="263987"/>
                    <a:pt x="1410413" y="267162"/>
                  </a:cubicBezTo>
                  <a:cubicBezTo>
                    <a:pt x="1378355" y="277848"/>
                    <a:pt x="1376694" y="276905"/>
                    <a:pt x="1343738" y="295737"/>
                  </a:cubicBezTo>
                  <a:cubicBezTo>
                    <a:pt x="1333799" y="301417"/>
                    <a:pt x="1326023" y="311167"/>
                    <a:pt x="1315163" y="314787"/>
                  </a:cubicBezTo>
                  <a:cubicBezTo>
                    <a:pt x="1296841" y="320894"/>
                    <a:pt x="1277063" y="321137"/>
                    <a:pt x="1258013" y="324312"/>
                  </a:cubicBezTo>
                  <a:cubicBezTo>
                    <a:pt x="1248488" y="327487"/>
                    <a:pt x="1236538" y="326737"/>
                    <a:pt x="1229438" y="333837"/>
                  </a:cubicBezTo>
                  <a:cubicBezTo>
                    <a:pt x="1208638" y="354637"/>
                    <a:pt x="1203160" y="384907"/>
                    <a:pt x="1219913" y="410037"/>
                  </a:cubicBezTo>
                  <a:cubicBezTo>
                    <a:pt x="1226263" y="419562"/>
                    <a:pt x="1238963" y="422737"/>
                    <a:pt x="1248488" y="429087"/>
                  </a:cubicBezTo>
                  <a:cubicBezTo>
                    <a:pt x="1260605" y="453320"/>
                    <a:pt x="1282772" y="476991"/>
                    <a:pt x="1258013" y="505287"/>
                  </a:cubicBezTo>
                  <a:cubicBezTo>
                    <a:pt x="1191338" y="581487"/>
                    <a:pt x="1219913" y="514812"/>
                    <a:pt x="1172288" y="562437"/>
                  </a:cubicBezTo>
                  <a:cubicBezTo>
                    <a:pt x="1162763" y="571962"/>
                    <a:pt x="1152337" y="580664"/>
                    <a:pt x="1143713" y="591012"/>
                  </a:cubicBezTo>
                  <a:cubicBezTo>
                    <a:pt x="1136384" y="599806"/>
                    <a:pt x="1132268" y="611031"/>
                    <a:pt x="1124663" y="619587"/>
                  </a:cubicBezTo>
                  <a:cubicBezTo>
                    <a:pt x="1106765" y="639723"/>
                    <a:pt x="1086563" y="657687"/>
                    <a:pt x="1067513" y="676737"/>
                  </a:cubicBezTo>
                  <a:lnTo>
                    <a:pt x="1029413" y="714837"/>
                  </a:lnTo>
                  <a:cubicBezTo>
                    <a:pt x="1032588" y="730712"/>
                    <a:pt x="1030906" y="748406"/>
                    <a:pt x="1038938" y="762462"/>
                  </a:cubicBezTo>
                  <a:cubicBezTo>
                    <a:pt x="1056664" y="793482"/>
                    <a:pt x="1095215" y="772278"/>
                    <a:pt x="1038938" y="791037"/>
                  </a:cubicBezTo>
                  <a:cubicBezTo>
                    <a:pt x="960492" y="775348"/>
                    <a:pt x="1002761" y="792960"/>
                    <a:pt x="924638" y="714837"/>
                  </a:cubicBezTo>
                  <a:lnTo>
                    <a:pt x="924638" y="714837"/>
                  </a:lnTo>
                  <a:cubicBezTo>
                    <a:pt x="915113" y="711662"/>
                    <a:pt x="905864" y="707490"/>
                    <a:pt x="896063" y="705312"/>
                  </a:cubicBezTo>
                  <a:cubicBezTo>
                    <a:pt x="837775" y="692359"/>
                    <a:pt x="797399" y="693291"/>
                    <a:pt x="734138" y="686262"/>
                  </a:cubicBezTo>
                  <a:cubicBezTo>
                    <a:pt x="711825" y="683783"/>
                    <a:pt x="689688" y="679912"/>
                    <a:pt x="667463" y="676737"/>
                  </a:cubicBezTo>
                  <a:cubicBezTo>
                    <a:pt x="657938" y="670387"/>
                    <a:pt x="649127" y="662807"/>
                    <a:pt x="638888" y="657687"/>
                  </a:cubicBezTo>
                  <a:cubicBezTo>
                    <a:pt x="604447" y="640466"/>
                    <a:pt x="542745" y="641551"/>
                    <a:pt x="515063" y="638637"/>
                  </a:cubicBezTo>
                  <a:lnTo>
                    <a:pt x="429338" y="629112"/>
                  </a:lnTo>
                  <a:cubicBezTo>
                    <a:pt x="416638" y="625937"/>
                    <a:pt x="403777" y="623349"/>
                    <a:pt x="391238" y="619587"/>
                  </a:cubicBezTo>
                  <a:cubicBezTo>
                    <a:pt x="372004" y="613817"/>
                    <a:pt x="334088" y="600537"/>
                    <a:pt x="334088" y="600537"/>
                  </a:cubicBezTo>
                  <a:cubicBezTo>
                    <a:pt x="321388" y="591012"/>
                    <a:pt x="309771" y="579838"/>
                    <a:pt x="295988" y="571962"/>
                  </a:cubicBezTo>
                  <a:cubicBezTo>
                    <a:pt x="273822" y="559296"/>
                    <a:pt x="215396" y="555006"/>
                    <a:pt x="200738" y="552912"/>
                  </a:cubicBezTo>
                  <a:cubicBezTo>
                    <a:pt x="191213" y="549737"/>
                    <a:pt x="175338" y="533862"/>
                    <a:pt x="172163" y="543387"/>
                  </a:cubicBezTo>
                  <a:cubicBezTo>
                    <a:pt x="167673" y="556857"/>
                    <a:pt x="185620" y="568436"/>
                    <a:pt x="191213" y="581487"/>
                  </a:cubicBezTo>
                  <a:cubicBezTo>
                    <a:pt x="195168" y="590715"/>
                    <a:pt x="196248" y="601082"/>
                    <a:pt x="200738" y="610062"/>
                  </a:cubicBezTo>
                  <a:cubicBezTo>
                    <a:pt x="205858" y="620301"/>
                    <a:pt x="215139" y="628176"/>
                    <a:pt x="219788" y="638637"/>
                  </a:cubicBezTo>
                  <a:cubicBezTo>
                    <a:pt x="227943" y="656987"/>
                    <a:pt x="231380" y="677143"/>
                    <a:pt x="238838" y="695787"/>
                  </a:cubicBezTo>
                  <a:cubicBezTo>
                    <a:pt x="244111" y="708970"/>
                    <a:pt x="251538" y="721187"/>
                    <a:pt x="257888" y="733887"/>
                  </a:cubicBezTo>
                  <a:cubicBezTo>
                    <a:pt x="261063" y="749762"/>
                    <a:pt x="261729" y="766353"/>
                    <a:pt x="267413" y="781512"/>
                  </a:cubicBezTo>
                  <a:cubicBezTo>
                    <a:pt x="271433" y="792231"/>
                    <a:pt x="280396" y="800379"/>
                    <a:pt x="286463" y="810087"/>
                  </a:cubicBezTo>
                  <a:cubicBezTo>
                    <a:pt x="296275" y="825786"/>
                    <a:pt x="303315" y="843384"/>
                    <a:pt x="315038" y="857712"/>
                  </a:cubicBezTo>
                  <a:cubicBezTo>
                    <a:pt x="432478" y="1001250"/>
                    <a:pt x="335065" y="859178"/>
                    <a:pt x="391238" y="943437"/>
                  </a:cubicBezTo>
                  <a:cubicBezTo>
                    <a:pt x="375363" y="991062"/>
                    <a:pt x="391238" y="968837"/>
                    <a:pt x="324563" y="991062"/>
                  </a:cubicBezTo>
                  <a:lnTo>
                    <a:pt x="295988" y="1000587"/>
                  </a:lnTo>
                  <a:cubicBezTo>
                    <a:pt x="282725" y="1013850"/>
                    <a:pt x="258730" y="1041581"/>
                    <a:pt x="238838" y="1048212"/>
                  </a:cubicBezTo>
                  <a:cubicBezTo>
                    <a:pt x="220516" y="1054319"/>
                    <a:pt x="200626" y="1053949"/>
                    <a:pt x="181688" y="1057737"/>
                  </a:cubicBezTo>
                  <a:cubicBezTo>
                    <a:pt x="168851" y="1060304"/>
                    <a:pt x="156288" y="1064087"/>
                    <a:pt x="143588" y="1067262"/>
                  </a:cubicBezTo>
                  <a:cubicBezTo>
                    <a:pt x="105488" y="1064087"/>
                    <a:pt x="67185" y="1062790"/>
                    <a:pt x="29288" y="1057737"/>
                  </a:cubicBezTo>
                  <a:cubicBezTo>
                    <a:pt x="19336" y="1056410"/>
                    <a:pt x="3888" y="1038687"/>
                    <a:pt x="713" y="1048212"/>
                  </a:cubicBezTo>
                  <a:cubicBezTo>
                    <a:pt x="-3777" y="1061682"/>
                    <a:pt x="14170" y="1073261"/>
                    <a:pt x="19763" y="1086312"/>
                  </a:cubicBezTo>
                  <a:cubicBezTo>
                    <a:pt x="23718" y="1095540"/>
                    <a:pt x="26853" y="1105147"/>
                    <a:pt x="29288" y="1114887"/>
                  </a:cubicBezTo>
                  <a:cubicBezTo>
                    <a:pt x="33215" y="1130593"/>
                    <a:pt x="29833" y="1149042"/>
                    <a:pt x="38813" y="1162512"/>
                  </a:cubicBezTo>
                  <a:cubicBezTo>
                    <a:pt x="44382" y="1170866"/>
                    <a:pt x="57648" y="1169602"/>
                    <a:pt x="67388" y="1172037"/>
                  </a:cubicBezTo>
                  <a:cubicBezTo>
                    <a:pt x="83094" y="1175964"/>
                    <a:pt x="99138" y="1178387"/>
                    <a:pt x="115013" y="1181562"/>
                  </a:cubicBezTo>
                  <a:cubicBezTo>
                    <a:pt x="124538" y="1187912"/>
                    <a:pt x="136437" y="1191673"/>
                    <a:pt x="143588" y="1200612"/>
                  </a:cubicBezTo>
                  <a:cubicBezTo>
                    <a:pt x="149860" y="1208452"/>
                    <a:pt x="154222" y="1219208"/>
                    <a:pt x="153113" y="1229187"/>
                  </a:cubicBezTo>
                  <a:cubicBezTo>
                    <a:pt x="150895" y="1249145"/>
                    <a:pt x="140413" y="1267287"/>
                    <a:pt x="134063" y="1286337"/>
                  </a:cubicBezTo>
                  <a:cubicBezTo>
                    <a:pt x="129923" y="1298756"/>
                    <a:pt x="128134" y="1311850"/>
                    <a:pt x="124538" y="1324437"/>
                  </a:cubicBezTo>
                  <a:cubicBezTo>
                    <a:pt x="121780" y="1334091"/>
                    <a:pt x="118188" y="1343487"/>
                    <a:pt x="115013" y="1353012"/>
                  </a:cubicBezTo>
                  <a:cubicBezTo>
                    <a:pt x="118188" y="1365712"/>
                    <a:pt x="117276" y="1380220"/>
                    <a:pt x="124538" y="1391112"/>
                  </a:cubicBezTo>
                  <a:cubicBezTo>
                    <a:pt x="130888" y="1400637"/>
                    <a:pt x="151693" y="1398803"/>
                    <a:pt x="153113" y="1410162"/>
                  </a:cubicBezTo>
                  <a:cubicBezTo>
                    <a:pt x="155604" y="1430087"/>
                    <a:pt x="140413" y="1448262"/>
                    <a:pt x="134063" y="1467312"/>
                  </a:cubicBezTo>
                  <a:lnTo>
                    <a:pt x="124538" y="1495887"/>
                  </a:lnTo>
                  <a:cubicBezTo>
                    <a:pt x="121363" y="1524462"/>
                    <a:pt x="124105" y="1554337"/>
                    <a:pt x="115013" y="1581612"/>
                  </a:cubicBezTo>
                  <a:cubicBezTo>
                    <a:pt x="110753" y="1594391"/>
                    <a:pt x="95062" y="1599839"/>
                    <a:pt x="86438" y="1610187"/>
                  </a:cubicBezTo>
                  <a:cubicBezTo>
                    <a:pt x="79109" y="1618981"/>
                    <a:pt x="73738" y="1629237"/>
                    <a:pt x="67388" y="1638762"/>
                  </a:cubicBezTo>
                  <a:cubicBezTo>
                    <a:pt x="70563" y="1667337"/>
                    <a:pt x="67088" y="1697467"/>
                    <a:pt x="76913" y="1724487"/>
                  </a:cubicBezTo>
                  <a:cubicBezTo>
                    <a:pt x="85554" y="1748249"/>
                    <a:pt x="154936" y="1751778"/>
                    <a:pt x="162638" y="1753062"/>
                  </a:cubicBezTo>
                  <a:cubicBezTo>
                    <a:pt x="186196" y="1823737"/>
                    <a:pt x="189255" y="1821122"/>
                    <a:pt x="162638" y="1943562"/>
                  </a:cubicBezTo>
                  <a:cubicBezTo>
                    <a:pt x="157774" y="1965935"/>
                    <a:pt x="124538" y="2000712"/>
                    <a:pt x="124538" y="2000712"/>
                  </a:cubicBezTo>
                  <a:cubicBezTo>
                    <a:pt x="113438" y="2089514"/>
                    <a:pt x="108663" y="2059450"/>
                    <a:pt x="115013" y="2076912"/>
                  </a:cubicBezTo>
                  <a:close/>
                </a:path>
              </a:pathLst>
            </a:custGeom>
            <a:solidFill>
              <a:srgbClr val="EDDD32"/>
            </a:solidFill>
            <a:ln w="9525" cap="flat" cmpd="sng" algn="ctr">
              <a:solidFill>
                <a:srgbClr val="4866A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8383">
                <a:buClr>
                  <a:srgbClr val="000000"/>
                </a:buClr>
                <a:buSzPct val="100000"/>
              </a:pPr>
              <a:endParaRPr lang="pt-BR" sz="102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63" name="Freeform 27"/>
            <p:cNvSpPr/>
            <p:nvPr/>
          </p:nvSpPr>
          <p:spPr bwMode="auto">
            <a:xfrm>
              <a:off x="11512619" y="2287240"/>
              <a:ext cx="1444617" cy="1523585"/>
            </a:xfrm>
            <a:custGeom>
              <a:avLst/>
              <a:gdLst>
                <a:gd name="connsiteX0" fmla="*/ 371783 w 4877875"/>
                <a:gd name="connsiteY0" fmla="*/ 2771775 h 5060875"/>
                <a:gd name="connsiteX1" fmla="*/ 314633 w 4877875"/>
                <a:gd name="connsiteY1" fmla="*/ 2762250 h 5060875"/>
                <a:gd name="connsiteX2" fmla="*/ 152708 w 4877875"/>
                <a:gd name="connsiteY2" fmla="*/ 2781300 h 5060875"/>
                <a:gd name="connsiteX3" fmla="*/ 76508 w 4877875"/>
                <a:gd name="connsiteY3" fmla="*/ 2771775 h 5060875"/>
                <a:gd name="connsiteX4" fmla="*/ 57458 w 4877875"/>
                <a:gd name="connsiteY4" fmla="*/ 2743200 h 5060875"/>
                <a:gd name="connsiteX5" fmla="*/ 28883 w 4877875"/>
                <a:gd name="connsiteY5" fmla="*/ 2724150 h 5060875"/>
                <a:gd name="connsiteX6" fmla="*/ 19358 w 4877875"/>
                <a:gd name="connsiteY6" fmla="*/ 2695575 h 5060875"/>
                <a:gd name="connsiteX7" fmla="*/ 308 w 4877875"/>
                <a:gd name="connsiteY7" fmla="*/ 2667000 h 5060875"/>
                <a:gd name="connsiteX8" fmla="*/ 28883 w 4877875"/>
                <a:gd name="connsiteY8" fmla="*/ 2657475 h 5060875"/>
                <a:gd name="connsiteX9" fmla="*/ 76508 w 4877875"/>
                <a:gd name="connsiteY9" fmla="*/ 2647950 h 5060875"/>
                <a:gd name="connsiteX10" fmla="*/ 190808 w 4877875"/>
                <a:gd name="connsiteY10" fmla="*/ 2638425 h 5060875"/>
                <a:gd name="connsiteX11" fmla="*/ 238433 w 4877875"/>
                <a:gd name="connsiteY11" fmla="*/ 2619375 h 5060875"/>
                <a:gd name="connsiteX12" fmla="*/ 267008 w 4877875"/>
                <a:gd name="connsiteY12" fmla="*/ 2609850 h 5060875"/>
                <a:gd name="connsiteX13" fmla="*/ 324158 w 4877875"/>
                <a:gd name="connsiteY13" fmla="*/ 2581275 h 5060875"/>
                <a:gd name="connsiteX14" fmla="*/ 352733 w 4877875"/>
                <a:gd name="connsiteY14" fmla="*/ 2552700 h 5060875"/>
                <a:gd name="connsiteX15" fmla="*/ 371783 w 4877875"/>
                <a:gd name="connsiteY15" fmla="*/ 2524125 h 5060875"/>
                <a:gd name="connsiteX16" fmla="*/ 400358 w 4877875"/>
                <a:gd name="connsiteY16" fmla="*/ 2505075 h 5060875"/>
                <a:gd name="connsiteX17" fmla="*/ 447983 w 4877875"/>
                <a:gd name="connsiteY17" fmla="*/ 2419350 h 5060875"/>
                <a:gd name="connsiteX18" fmla="*/ 467033 w 4877875"/>
                <a:gd name="connsiteY18" fmla="*/ 2343150 h 5060875"/>
                <a:gd name="connsiteX19" fmla="*/ 495608 w 4877875"/>
                <a:gd name="connsiteY19" fmla="*/ 2305050 h 5060875"/>
                <a:gd name="connsiteX20" fmla="*/ 514658 w 4877875"/>
                <a:gd name="connsiteY20" fmla="*/ 2276475 h 5060875"/>
                <a:gd name="connsiteX21" fmla="*/ 571808 w 4877875"/>
                <a:gd name="connsiteY21" fmla="*/ 2219325 h 5060875"/>
                <a:gd name="connsiteX22" fmla="*/ 619433 w 4877875"/>
                <a:gd name="connsiteY22" fmla="*/ 2171700 h 5060875"/>
                <a:gd name="connsiteX23" fmla="*/ 676583 w 4877875"/>
                <a:gd name="connsiteY23" fmla="*/ 2076450 h 5060875"/>
                <a:gd name="connsiteX24" fmla="*/ 686108 w 4877875"/>
                <a:gd name="connsiteY24" fmla="*/ 2047875 h 5060875"/>
                <a:gd name="connsiteX25" fmla="*/ 705158 w 4877875"/>
                <a:gd name="connsiteY25" fmla="*/ 1981200 h 5060875"/>
                <a:gd name="connsiteX26" fmla="*/ 724208 w 4877875"/>
                <a:gd name="connsiteY26" fmla="*/ 1809750 h 5060875"/>
                <a:gd name="connsiteX27" fmla="*/ 733733 w 4877875"/>
                <a:gd name="connsiteY27" fmla="*/ 1771650 h 5060875"/>
                <a:gd name="connsiteX28" fmla="*/ 762308 w 4877875"/>
                <a:gd name="connsiteY28" fmla="*/ 1743075 h 5060875"/>
                <a:gd name="connsiteX29" fmla="*/ 800408 w 4877875"/>
                <a:gd name="connsiteY29" fmla="*/ 1676400 h 5060875"/>
                <a:gd name="connsiteX30" fmla="*/ 838508 w 4877875"/>
                <a:gd name="connsiteY30" fmla="*/ 1590675 h 5060875"/>
                <a:gd name="connsiteX31" fmla="*/ 867083 w 4877875"/>
                <a:gd name="connsiteY31" fmla="*/ 1571625 h 5060875"/>
                <a:gd name="connsiteX32" fmla="*/ 905183 w 4877875"/>
                <a:gd name="connsiteY32" fmla="*/ 1552575 h 5060875"/>
                <a:gd name="connsiteX33" fmla="*/ 943283 w 4877875"/>
                <a:gd name="connsiteY33" fmla="*/ 1495425 h 5060875"/>
                <a:gd name="connsiteX34" fmla="*/ 971858 w 4877875"/>
                <a:gd name="connsiteY34" fmla="*/ 1466850 h 5060875"/>
                <a:gd name="connsiteX35" fmla="*/ 1009958 w 4877875"/>
                <a:gd name="connsiteY35" fmla="*/ 1409700 h 5060875"/>
                <a:gd name="connsiteX36" fmla="*/ 1019483 w 4877875"/>
                <a:gd name="connsiteY36" fmla="*/ 1381125 h 5060875"/>
                <a:gd name="connsiteX37" fmla="*/ 1048058 w 4877875"/>
                <a:gd name="connsiteY37" fmla="*/ 1352550 h 5060875"/>
                <a:gd name="connsiteX38" fmla="*/ 1067108 w 4877875"/>
                <a:gd name="connsiteY38" fmla="*/ 1314450 h 5060875"/>
                <a:gd name="connsiteX39" fmla="*/ 1114733 w 4877875"/>
                <a:gd name="connsiteY39" fmla="*/ 1247775 h 5060875"/>
                <a:gd name="connsiteX40" fmla="*/ 1171883 w 4877875"/>
                <a:gd name="connsiteY40" fmla="*/ 1162050 h 5060875"/>
                <a:gd name="connsiteX41" fmla="*/ 1190933 w 4877875"/>
                <a:gd name="connsiteY41" fmla="*/ 1104900 h 5060875"/>
                <a:gd name="connsiteX42" fmla="*/ 1209983 w 4877875"/>
                <a:gd name="connsiteY42" fmla="*/ 1047750 h 5060875"/>
                <a:gd name="connsiteX43" fmla="*/ 1257608 w 4877875"/>
                <a:gd name="connsiteY43" fmla="*/ 990600 h 5060875"/>
                <a:gd name="connsiteX44" fmla="*/ 1286183 w 4877875"/>
                <a:gd name="connsiteY44" fmla="*/ 971550 h 5060875"/>
                <a:gd name="connsiteX45" fmla="*/ 1371908 w 4877875"/>
                <a:gd name="connsiteY45" fmla="*/ 962025 h 5060875"/>
                <a:gd name="connsiteX46" fmla="*/ 1467158 w 4877875"/>
                <a:gd name="connsiteY46" fmla="*/ 914400 h 5060875"/>
                <a:gd name="connsiteX47" fmla="*/ 1486208 w 4877875"/>
                <a:gd name="connsiteY47" fmla="*/ 885825 h 5060875"/>
                <a:gd name="connsiteX48" fmla="*/ 1514783 w 4877875"/>
                <a:gd name="connsiteY48" fmla="*/ 866775 h 5060875"/>
                <a:gd name="connsiteX49" fmla="*/ 1562408 w 4877875"/>
                <a:gd name="connsiteY49" fmla="*/ 800100 h 5060875"/>
                <a:gd name="connsiteX50" fmla="*/ 1581458 w 4877875"/>
                <a:gd name="connsiteY50" fmla="*/ 771525 h 5060875"/>
                <a:gd name="connsiteX51" fmla="*/ 1695758 w 4877875"/>
                <a:gd name="connsiteY51" fmla="*/ 714375 h 5060875"/>
                <a:gd name="connsiteX52" fmla="*/ 1724333 w 4877875"/>
                <a:gd name="connsiteY52" fmla="*/ 704850 h 5060875"/>
                <a:gd name="connsiteX53" fmla="*/ 1838633 w 4877875"/>
                <a:gd name="connsiteY53" fmla="*/ 685800 h 5060875"/>
                <a:gd name="connsiteX54" fmla="*/ 1867208 w 4877875"/>
                <a:gd name="connsiteY54" fmla="*/ 666750 h 5060875"/>
                <a:gd name="connsiteX55" fmla="*/ 1924358 w 4877875"/>
                <a:gd name="connsiteY55" fmla="*/ 609600 h 5060875"/>
                <a:gd name="connsiteX56" fmla="*/ 1991033 w 4877875"/>
                <a:gd name="connsiteY56" fmla="*/ 561975 h 5060875"/>
                <a:gd name="connsiteX57" fmla="*/ 2019608 w 4877875"/>
                <a:gd name="connsiteY57" fmla="*/ 523875 h 5060875"/>
                <a:gd name="connsiteX58" fmla="*/ 2086283 w 4877875"/>
                <a:gd name="connsiteY58" fmla="*/ 457200 h 5060875"/>
                <a:gd name="connsiteX59" fmla="*/ 2124383 w 4877875"/>
                <a:gd name="connsiteY59" fmla="*/ 400050 h 5060875"/>
                <a:gd name="connsiteX60" fmla="*/ 2181533 w 4877875"/>
                <a:gd name="connsiteY60" fmla="*/ 323850 h 5060875"/>
                <a:gd name="connsiteX61" fmla="*/ 2191058 w 4877875"/>
                <a:gd name="connsiteY61" fmla="*/ 266700 h 5060875"/>
                <a:gd name="connsiteX62" fmla="*/ 2210108 w 4877875"/>
                <a:gd name="connsiteY62" fmla="*/ 190500 h 5060875"/>
                <a:gd name="connsiteX63" fmla="*/ 2229158 w 4877875"/>
                <a:gd name="connsiteY63" fmla="*/ 161925 h 5060875"/>
                <a:gd name="connsiteX64" fmla="*/ 2286308 w 4877875"/>
                <a:gd name="connsiteY64" fmla="*/ 104775 h 5060875"/>
                <a:gd name="connsiteX65" fmla="*/ 2333933 w 4877875"/>
                <a:gd name="connsiteY65" fmla="*/ 47625 h 5060875"/>
                <a:gd name="connsiteX66" fmla="*/ 2419658 w 4877875"/>
                <a:gd name="connsiteY66" fmla="*/ 19050 h 5060875"/>
                <a:gd name="connsiteX67" fmla="*/ 2448233 w 4877875"/>
                <a:gd name="connsiteY67" fmla="*/ 9525 h 5060875"/>
                <a:gd name="connsiteX68" fmla="*/ 2476808 w 4877875"/>
                <a:gd name="connsiteY68" fmla="*/ 0 h 5060875"/>
                <a:gd name="connsiteX69" fmla="*/ 2600633 w 4877875"/>
                <a:gd name="connsiteY69" fmla="*/ 28575 h 5060875"/>
                <a:gd name="connsiteX70" fmla="*/ 2629208 w 4877875"/>
                <a:gd name="connsiteY70" fmla="*/ 57150 h 5060875"/>
                <a:gd name="connsiteX71" fmla="*/ 2667308 w 4877875"/>
                <a:gd name="connsiteY71" fmla="*/ 123825 h 5060875"/>
                <a:gd name="connsiteX72" fmla="*/ 2686358 w 4877875"/>
                <a:gd name="connsiteY72" fmla="*/ 180975 h 5060875"/>
                <a:gd name="connsiteX73" fmla="*/ 2695883 w 4877875"/>
                <a:gd name="connsiteY73" fmla="*/ 400050 h 5060875"/>
                <a:gd name="connsiteX74" fmla="*/ 2733983 w 4877875"/>
                <a:gd name="connsiteY74" fmla="*/ 457200 h 5060875"/>
                <a:gd name="connsiteX75" fmla="*/ 2972108 w 4877875"/>
                <a:gd name="connsiteY75" fmla="*/ 447675 h 5060875"/>
                <a:gd name="connsiteX76" fmla="*/ 3038783 w 4877875"/>
                <a:gd name="connsiteY76" fmla="*/ 428625 h 5060875"/>
                <a:gd name="connsiteX77" fmla="*/ 3181658 w 4877875"/>
                <a:gd name="connsiteY77" fmla="*/ 438150 h 5060875"/>
                <a:gd name="connsiteX78" fmla="*/ 3229283 w 4877875"/>
                <a:gd name="connsiteY78" fmla="*/ 485775 h 5060875"/>
                <a:gd name="connsiteX79" fmla="*/ 3257858 w 4877875"/>
                <a:gd name="connsiteY79" fmla="*/ 504825 h 5060875"/>
                <a:gd name="connsiteX80" fmla="*/ 3276908 w 4877875"/>
                <a:gd name="connsiteY80" fmla="*/ 561975 h 5060875"/>
                <a:gd name="connsiteX81" fmla="*/ 3295958 w 4877875"/>
                <a:gd name="connsiteY81" fmla="*/ 590550 h 5060875"/>
                <a:gd name="connsiteX82" fmla="*/ 3343583 w 4877875"/>
                <a:gd name="connsiteY82" fmla="*/ 685800 h 5060875"/>
                <a:gd name="connsiteX83" fmla="*/ 3372158 w 4877875"/>
                <a:gd name="connsiteY83" fmla="*/ 695325 h 5060875"/>
                <a:gd name="connsiteX84" fmla="*/ 3429308 w 4877875"/>
                <a:gd name="connsiteY84" fmla="*/ 723900 h 5060875"/>
                <a:gd name="connsiteX85" fmla="*/ 3486458 w 4877875"/>
                <a:gd name="connsiteY85" fmla="*/ 771525 h 5060875"/>
                <a:gd name="connsiteX86" fmla="*/ 3495983 w 4877875"/>
                <a:gd name="connsiteY86" fmla="*/ 800100 h 5060875"/>
                <a:gd name="connsiteX87" fmla="*/ 3581708 w 4877875"/>
                <a:gd name="connsiteY87" fmla="*/ 866775 h 5060875"/>
                <a:gd name="connsiteX88" fmla="*/ 3657908 w 4877875"/>
                <a:gd name="connsiteY88" fmla="*/ 885825 h 5060875"/>
                <a:gd name="connsiteX89" fmla="*/ 3705533 w 4877875"/>
                <a:gd name="connsiteY89" fmla="*/ 923925 h 5060875"/>
                <a:gd name="connsiteX90" fmla="*/ 3838883 w 4877875"/>
                <a:gd name="connsiteY90" fmla="*/ 971550 h 5060875"/>
                <a:gd name="connsiteX91" fmla="*/ 3896033 w 4877875"/>
                <a:gd name="connsiteY91" fmla="*/ 990600 h 5060875"/>
                <a:gd name="connsiteX92" fmla="*/ 3962708 w 4877875"/>
                <a:gd name="connsiteY92" fmla="*/ 1028700 h 5060875"/>
                <a:gd name="connsiteX93" fmla="*/ 4000808 w 4877875"/>
                <a:gd name="connsiteY93" fmla="*/ 1066800 h 5060875"/>
                <a:gd name="connsiteX94" fmla="*/ 4029383 w 4877875"/>
                <a:gd name="connsiteY94" fmla="*/ 1095375 h 5060875"/>
                <a:gd name="connsiteX95" fmla="*/ 4219883 w 4877875"/>
                <a:gd name="connsiteY95" fmla="*/ 1123950 h 5060875"/>
                <a:gd name="connsiteX96" fmla="*/ 4581833 w 4877875"/>
                <a:gd name="connsiteY96" fmla="*/ 1152525 h 5060875"/>
                <a:gd name="connsiteX97" fmla="*/ 4638983 w 4877875"/>
                <a:gd name="connsiteY97" fmla="*/ 1162050 h 5060875"/>
                <a:gd name="connsiteX98" fmla="*/ 4667558 w 4877875"/>
                <a:gd name="connsiteY98" fmla="*/ 1171575 h 5060875"/>
                <a:gd name="connsiteX99" fmla="*/ 4696133 w 4877875"/>
                <a:gd name="connsiteY99" fmla="*/ 1257300 h 5060875"/>
                <a:gd name="connsiteX100" fmla="*/ 4705658 w 4877875"/>
                <a:gd name="connsiteY100" fmla="*/ 1285875 h 5060875"/>
                <a:gd name="connsiteX101" fmla="*/ 4677083 w 4877875"/>
                <a:gd name="connsiteY101" fmla="*/ 1343025 h 5060875"/>
                <a:gd name="connsiteX102" fmla="*/ 4648508 w 4877875"/>
                <a:gd name="connsiteY102" fmla="*/ 1400175 h 5060875"/>
                <a:gd name="connsiteX103" fmla="*/ 4658033 w 4877875"/>
                <a:gd name="connsiteY103" fmla="*/ 1476375 h 5060875"/>
                <a:gd name="connsiteX104" fmla="*/ 4696133 w 4877875"/>
                <a:gd name="connsiteY104" fmla="*/ 1495425 h 5060875"/>
                <a:gd name="connsiteX105" fmla="*/ 4829483 w 4877875"/>
                <a:gd name="connsiteY105" fmla="*/ 1533525 h 5060875"/>
                <a:gd name="connsiteX106" fmla="*/ 4858058 w 4877875"/>
                <a:gd name="connsiteY106" fmla="*/ 1543050 h 5060875"/>
                <a:gd name="connsiteX107" fmla="*/ 4877108 w 4877875"/>
                <a:gd name="connsiteY107" fmla="*/ 1571625 h 5060875"/>
                <a:gd name="connsiteX108" fmla="*/ 4829483 w 4877875"/>
                <a:gd name="connsiteY108" fmla="*/ 1685925 h 5060875"/>
                <a:gd name="connsiteX109" fmla="*/ 4819958 w 4877875"/>
                <a:gd name="connsiteY109" fmla="*/ 1714500 h 5060875"/>
                <a:gd name="connsiteX110" fmla="*/ 4800908 w 4877875"/>
                <a:gd name="connsiteY110" fmla="*/ 1752600 h 5060875"/>
                <a:gd name="connsiteX111" fmla="*/ 4781858 w 4877875"/>
                <a:gd name="connsiteY111" fmla="*/ 1781175 h 5060875"/>
                <a:gd name="connsiteX112" fmla="*/ 4772333 w 4877875"/>
                <a:gd name="connsiteY112" fmla="*/ 1809750 h 5060875"/>
                <a:gd name="connsiteX113" fmla="*/ 4743758 w 4877875"/>
                <a:gd name="connsiteY113" fmla="*/ 1838325 h 5060875"/>
                <a:gd name="connsiteX114" fmla="*/ 4724708 w 4877875"/>
                <a:gd name="connsiteY114" fmla="*/ 1876425 h 5060875"/>
                <a:gd name="connsiteX115" fmla="*/ 4686608 w 4877875"/>
                <a:gd name="connsiteY115" fmla="*/ 1933575 h 5060875"/>
                <a:gd name="connsiteX116" fmla="*/ 4677083 w 4877875"/>
                <a:gd name="connsiteY116" fmla="*/ 1962150 h 5060875"/>
                <a:gd name="connsiteX117" fmla="*/ 4648508 w 4877875"/>
                <a:gd name="connsiteY117" fmla="*/ 1990725 h 5060875"/>
                <a:gd name="connsiteX118" fmla="*/ 4610408 w 4877875"/>
                <a:gd name="connsiteY118" fmla="*/ 2047875 h 5060875"/>
                <a:gd name="connsiteX119" fmla="*/ 4524683 w 4877875"/>
                <a:gd name="connsiteY119" fmla="*/ 2114550 h 5060875"/>
                <a:gd name="connsiteX120" fmla="*/ 4467533 w 4877875"/>
                <a:gd name="connsiteY120" fmla="*/ 2181225 h 5060875"/>
                <a:gd name="connsiteX121" fmla="*/ 4438958 w 4877875"/>
                <a:gd name="connsiteY121" fmla="*/ 2238375 h 5060875"/>
                <a:gd name="connsiteX122" fmla="*/ 4429433 w 4877875"/>
                <a:gd name="connsiteY122" fmla="*/ 2266950 h 5060875"/>
                <a:gd name="connsiteX123" fmla="*/ 4410383 w 4877875"/>
                <a:gd name="connsiteY123" fmla="*/ 2295525 h 5060875"/>
                <a:gd name="connsiteX124" fmla="*/ 4381808 w 4877875"/>
                <a:gd name="connsiteY124" fmla="*/ 2381250 h 5060875"/>
                <a:gd name="connsiteX125" fmla="*/ 4362758 w 4877875"/>
                <a:gd name="connsiteY125" fmla="*/ 2409825 h 5060875"/>
                <a:gd name="connsiteX126" fmla="*/ 4315133 w 4877875"/>
                <a:gd name="connsiteY126" fmla="*/ 2495550 h 5060875"/>
                <a:gd name="connsiteX127" fmla="*/ 4277033 w 4877875"/>
                <a:gd name="connsiteY127" fmla="*/ 2552700 h 5060875"/>
                <a:gd name="connsiteX128" fmla="*/ 4229408 w 4877875"/>
                <a:gd name="connsiteY128" fmla="*/ 2628900 h 5060875"/>
                <a:gd name="connsiteX129" fmla="*/ 4181783 w 4877875"/>
                <a:gd name="connsiteY129" fmla="*/ 2686050 h 5060875"/>
                <a:gd name="connsiteX130" fmla="*/ 4134158 w 4877875"/>
                <a:gd name="connsiteY130" fmla="*/ 2733675 h 5060875"/>
                <a:gd name="connsiteX131" fmla="*/ 4038908 w 4877875"/>
                <a:gd name="connsiteY131" fmla="*/ 2752725 h 5060875"/>
                <a:gd name="connsiteX132" fmla="*/ 3962708 w 4877875"/>
                <a:gd name="connsiteY132" fmla="*/ 2771775 h 5060875"/>
                <a:gd name="connsiteX133" fmla="*/ 3905558 w 4877875"/>
                <a:gd name="connsiteY133" fmla="*/ 2790825 h 5060875"/>
                <a:gd name="connsiteX134" fmla="*/ 3848408 w 4877875"/>
                <a:gd name="connsiteY134" fmla="*/ 2838450 h 5060875"/>
                <a:gd name="connsiteX135" fmla="*/ 3762683 w 4877875"/>
                <a:gd name="connsiteY135" fmla="*/ 2905125 h 5060875"/>
                <a:gd name="connsiteX136" fmla="*/ 3534083 w 4877875"/>
                <a:gd name="connsiteY136" fmla="*/ 2914650 h 5060875"/>
                <a:gd name="connsiteX137" fmla="*/ 3505508 w 4877875"/>
                <a:gd name="connsiteY137" fmla="*/ 2924175 h 5060875"/>
                <a:gd name="connsiteX138" fmla="*/ 3457883 w 4877875"/>
                <a:gd name="connsiteY138" fmla="*/ 2933700 h 5060875"/>
                <a:gd name="connsiteX139" fmla="*/ 3429308 w 4877875"/>
                <a:gd name="connsiteY139" fmla="*/ 2952750 h 5060875"/>
                <a:gd name="connsiteX140" fmla="*/ 3400733 w 4877875"/>
                <a:gd name="connsiteY140" fmla="*/ 2962275 h 5060875"/>
                <a:gd name="connsiteX141" fmla="*/ 3315008 w 4877875"/>
                <a:gd name="connsiteY141" fmla="*/ 3009900 h 5060875"/>
                <a:gd name="connsiteX142" fmla="*/ 3257858 w 4877875"/>
                <a:gd name="connsiteY142" fmla="*/ 3000375 h 5060875"/>
                <a:gd name="connsiteX143" fmla="*/ 3229283 w 4877875"/>
                <a:gd name="connsiteY143" fmla="*/ 2971800 h 5060875"/>
                <a:gd name="connsiteX144" fmla="*/ 3124508 w 4877875"/>
                <a:gd name="connsiteY144" fmla="*/ 2981325 h 5060875"/>
                <a:gd name="connsiteX145" fmla="*/ 3067358 w 4877875"/>
                <a:gd name="connsiteY145" fmla="*/ 3048000 h 5060875"/>
                <a:gd name="connsiteX146" fmla="*/ 3038783 w 4877875"/>
                <a:gd name="connsiteY146" fmla="*/ 3057525 h 5060875"/>
                <a:gd name="connsiteX147" fmla="*/ 2972108 w 4877875"/>
                <a:gd name="connsiteY147" fmla="*/ 3048000 h 5060875"/>
                <a:gd name="connsiteX148" fmla="*/ 2876858 w 4877875"/>
                <a:gd name="connsiteY148" fmla="*/ 3028950 h 5060875"/>
                <a:gd name="connsiteX149" fmla="*/ 2819708 w 4877875"/>
                <a:gd name="connsiteY149" fmla="*/ 3019425 h 5060875"/>
                <a:gd name="connsiteX150" fmla="*/ 2791133 w 4877875"/>
                <a:gd name="connsiteY150" fmla="*/ 3009900 h 5060875"/>
                <a:gd name="connsiteX151" fmla="*/ 2733983 w 4877875"/>
                <a:gd name="connsiteY151" fmla="*/ 2981325 h 5060875"/>
                <a:gd name="connsiteX152" fmla="*/ 2619683 w 4877875"/>
                <a:gd name="connsiteY152" fmla="*/ 3000375 h 5060875"/>
                <a:gd name="connsiteX153" fmla="*/ 2562533 w 4877875"/>
                <a:gd name="connsiteY153" fmla="*/ 3038475 h 5060875"/>
                <a:gd name="connsiteX154" fmla="*/ 2572058 w 4877875"/>
                <a:gd name="connsiteY154" fmla="*/ 3067050 h 5060875"/>
                <a:gd name="connsiteX155" fmla="*/ 2629208 w 4877875"/>
                <a:gd name="connsiteY155" fmla="*/ 3114675 h 5060875"/>
                <a:gd name="connsiteX156" fmla="*/ 2638733 w 4877875"/>
                <a:gd name="connsiteY156" fmla="*/ 3162300 h 5060875"/>
                <a:gd name="connsiteX157" fmla="*/ 2648258 w 4877875"/>
                <a:gd name="connsiteY157" fmla="*/ 3333750 h 5060875"/>
                <a:gd name="connsiteX158" fmla="*/ 2667308 w 4877875"/>
                <a:gd name="connsiteY158" fmla="*/ 3371850 h 5060875"/>
                <a:gd name="connsiteX159" fmla="*/ 2619683 w 4877875"/>
                <a:gd name="connsiteY159" fmla="*/ 3429000 h 5060875"/>
                <a:gd name="connsiteX160" fmla="*/ 2572058 w 4877875"/>
                <a:gd name="connsiteY160" fmla="*/ 3448050 h 5060875"/>
                <a:gd name="connsiteX161" fmla="*/ 2610158 w 4877875"/>
                <a:gd name="connsiteY161" fmla="*/ 3505200 h 5060875"/>
                <a:gd name="connsiteX162" fmla="*/ 2638733 w 4877875"/>
                <a:gd name="connsiteY162" fmla="*/ 3562350 h 5060875"/>
                <a:gd name="connsiteX163" fmla="*/ 2610158 w 4877875"/>
                <a:gd name="connsiteY163" fmla="*/ 3600450 h 5060875"/>
                <a:gd name="connsiteX164" fmla="*/ 2638733 w 4877875"/>
                <a:gd name="connsiteY164" fmla="*/ 3781425 h 5060875"/>
                <a:gd name="connsiteX165" fmla="*/ 2648258 w 4877875"/>
                <a:gd name="connsiteY165" fmla="*/ 3838575 h 5060875"/>
                <a:gd name="connsiteX166" fmla="*/ 2714933 w 4877875"/>
                <a:gd name="connsiteY166" fmla="*/ 3867150 h 5060875"/>
                <a:gd name="connsiteX167" fmla="*/ 2733983 w 4877875"/>
                <a:gd name="connsiteY167" fmla="*/ 3905250 h 5060875"/>
                <a:gd name="connsiteX168" fmla="*/ 2772083 w 4877875"/>
                <a:gd name="connsiteY168" fmla="*/ 3962400 h 5060875"/>
                <a:gd name="connsiteX169" fmla="*/ 2781608 w 4877875"/>
                <a:gd name="connsiteY169" fmla="*/ 4057650 h 5060875"/>
                <a:gd name="connsiteX170" fmla="*/ 2800658 w 4877875"/>
                <a:gd name="connsiteY170" fmla="*/ 4086225 h 5060875"/>
                <a:gd name="connsiteX171" fmla="*/ 2819708 w 4877875"/>
                <a:gd name="connsiteY171" fmla="*/ 4210050 h 5060875"/>
                <a:gd name="connsiteX172" fmla="*/ 2895908 w 4877875"/>
                <a:gd name="connsiteY172" fmla="*/ 4295775 h 5060875"/>
                <a:gd name="connsiteX173" fmla="*/ 2914958 w 4877875"/>
                <a:gd name="connsiteY173" fmla="*/ 4324350 h 5060875"/>
                <a:gd name="connsiteX174" fmla="*/ 2934008 w 4877875"/>
                <a:gd name="connsiteY174" fmla="*/ 4391025 h 5060875"/>
                <a:gd name="connsiteX175" fmla="*/ 2905433 w 4877875"/>
                <a:gd name="connsiteY175" fmla="*/ 4400550 h 5060875"/>
                <a:gd name="connsiteX176" fmla="*/ 2848283 w 4877875"/>
                <a:gd name="connsiteY176" fmla="*/ 4448175 h 5060875"/>
                <a:gd name="connsiteX177" fmla="*/ 2838758 w 4877875"/>
                <a:gd name="connsiteY177" fmla="*/ 4476750 h 5060875"/>
                <a:gd name="connsiteX178" fmla="*/ 2838758 w 4877875"/>
                <a:gd name="connsiteY178" fmla="*/ 4581525 h 5060875"/>
                <a:gd name="connsiteX179" fmla="*/ 2800658 w 4877875"/>
                <a:gd name="connsiteY179" fmla="*/ 4591050 h 5060875"/>
                <a:gd name="connsiteX180" fmla="*/ 2781608 w 4877875"/>
                <a:gd name="connsiteY180" fmla="*/ 4619625 h 5060875"/>
                <a:gd name="connsiteX181" fmla="*/ 2800658 w 4877875"/>
                <a:gd name="connsiteY181" fmla="*/ 4800600 h 5060875"/>
                <a:gd name="connsiteX182" fmla="*/ 2819708 w 4877875"/>
                <a:gd name="connsiteY182" fmla="*/ 4829175 h 5060875"/>
                <a:gd name="connsiteX183" fmla="*/ 2810183 w 4877875"/>
                <a:gd name="connsiteY183" fmla="*/ 4857750 h 5060875"/>
                <a:gd name="connsiteX184" fmla="*/ 2705408 w 4877875"/>
                <a:gd name="connsiteY184" fmla="*/ 4838700 h 5060875"/>
                <a:gd name="connsiteX185" fmla="*/ 2676833 w 4877875"/>
                <a:gd name="connsiteY185" fmla="*/ 4819650 h 5060875"/>
                <a:gd name="connsiteX186" fmla="*/ 2457758 w 4877875"/>
                <a:gd name="connsiteY186" fmla="*/ 4791075 h 5060875"/>
                <a:gd name="connsiteX187" fmla="*/ 2438708 w 4877875"/>
                <a:gd name="connsiteY187" fmla="*/ 4762500 h 5060875"/>
                <a:gd name="connsiteX188" fmla="*/ 2410133 w 4877875"/>
                <a:gd name="connsiteY188" fmla="*/ 4791075 h 5060875"/>
                <a:gd name="connsiteX189" fmla="*/ 2372033 w 4877875"/>
                <a:gd name="connsiteY189" fmla="*/ 4848225 h 5060875"/>
                <a:gd name="connsiteX190" fmla="*/ 2314883 w 4877875"/>
                <a:gd name="connsiteY190" fmla="*/ 4886325 h 5060875"/>
                <a:gd name="connsiteX191" fmla="*/ 2229158 w 4877875"/>
                <a:gd name="connsiteY191" fmla="*/ 4953000 h 5060875"/>
                <a:gd name="connsiteX192" fmla="*/ 2124383 w 4877875"/>
                <a:gd name="connsiteY192" fmla="*/ 4953000 h 5060875"/>
                <a:gd name="connsiteX193" fmla="*/ 2114858 w 4877875"/>
                <a:gd name="connsiteY193" fmla="*/ 4991100 h 5060875"/>
                <a:gd name="connsiteX194" fmla="*/ 2105333 w 4877875"/>
                <a:gd name="connsiteY194" fmla="*/ 5019675 h 5060875"/>
                <a:gd name="connsiteX195" fmla="*/ 2076758 w 4877875"/>
                <a:gd name="connsiteY195" fmla="*/ 5029200 h 5060875"/>
                <a:gd name="connsiteX196" fmla="*/ 1905308 w 4877875"/>
                <a:gd name="connsiteY196" fmla="*/ 5048250 h 5060875"/>
                <a:gd name="connsiteX197" fmla="*/ 1829108 w 4877875"/>
                <a:gd name="connsiteY197" fmla="*/ 5057775 h 5060875"/>
                <a:gd name="connsiteX198" fmla="*/ 1733858 w 4877875"/>
                <a:gd name="connsiteY198" fmla="*/ 5048250 h 5060875"/>
                <a:gd name="connsiteX199" fmla="*/ 1714808 w 4877875"/>
                <a:gd name="connsiteY199" fmla="*/ 4886325 h 5060875"/>
                <a:gd name="connsiteX200" fmla="*/ 1676708 w 4877875"/>
                <a:gd name="connsiteY200" fmla="*/ 4829175 h 5060875"/>
                <a:gd name="connsiteX201" fmla="*/ 1657658 w 4877875"/>
                <a:gd name="connsiteY201" fmla="*/ 4800600 h 5060875"/>
                <a:gd name="connsiteX202" fmla="*/ 1600508 w 4877875"/>
                <a:gd name="connsiteY202" fmla="*/ 4743450 h 5060875"/>
                <a:gd name="connsiteX203" fmla="*/ 1590983 w 4877875"/>
                <a:gd name="connsiteY203" fmla="*/ 4714875 h 5060875"/>
                <a:gd name="connsiteX204" fmla="*/ 1581458 w 4877875"/>
                <a:gd name="connsiteY204" fmla="*/ 4648200 h 5060875"/>
                <a:gd name="connsiteX205" fmla="*/ 1524308 w 4877875"/>
                <a:gd name="connsiteY205" fmla="*/ 4610100 h 5060875"/>
                <a:gd name="connsiteX206" fmla="*/ 1467158 w 4877875"/>
                <a:gd name="connsiteY206" fmla="*/ 4591050 h 5060875"/>
                <a:gd name="connsiteX207" fmla="*/ 1438583 w 4877875"/>
                <a:gd name="connsiteY207" fmla="*/ 4600575 h 5060875"/>
                <a:gd name="connsiteX208" fmla="*/ 1410008 w 4877875"/>
                <a:gd name="connsiteY208" fmla="*/ 4619625 h 5060875"/>
                <a:gd name="connsiteX209" fmla="*/ 1362383 w 4877875"/>
                <a:gd name="connsiteY209" fmla="*/ 4610100 h 5060875"/>
                <a:gd name="connsiteX210" fmla="*/ 1305233 w 4877875"/>
                <a:gd name="connsiteY210" fmla="*/ 4572000 h 5060875"/>
                <a:gd name="connsiteX211" fmla="*/ 1276658 w 4877875"/>
                <a:gd name="connsiteY211" fmla="*/ 4552950 h 5060875"/>
                <a:gd name="connsiteX212" fmla="*/ 1305233 w 4877875"/>
                <a:gd name="connsiteY212" fmla="*/ 4524375 h 5060875"/>
                <a:gd name="connsiteX213" fmla="*/ 1333808 w 4877875"/>
                <a:gd name="connsiteY213" fmla="*/ 4514850 h 5060875"/>
                <a:gd name="connsiteX214" fmla="*/ 1305233 w 4877875"/>
                <a:gd name="connsiteY214" fmla="*/ 4486275 h 5060875"/>
                <a:gd name="connsiteX215" fmla="*/ 1238558 w 4877875"/>
                <a:gd name="connsiteY215" fmla="*/ 4448175 h 5060875"/>
                <a:gd name="connsiteX216" fmla="*/ 1209983 w 4877875"/>
                <a:gd name="connsiteY216" fmla="*/ 4419600 h 5060875"/>
                <a:gd name="connsiteX217" fmla="*/ 1181408 w 4877875"/>
                <a:gd name="connsiteY217" fmla="*/ 4400550 h 5060875"/>
                <a:gd name="connsiteX218" fmla="*/ 1162358 w 4877875"/>
                <a:gd name="connsiteY218" fmla="*/ 4371975 h 5060875"/>
                <a:gd name="connsiteX219" fmla="*/ 1086158 w 4877875"/>
                <a:gd name="connsiteY219" fmla="*/ 4352925 h 5060875"/>
                <a:gd name="connsiteX220" fmla="*/ 1067108 w 4877875"/>
                <a:gd name="connsiteY220" fmla="*/ 4248150 h 5060875"/>
                <a:gd name="connsiteX221" fmla="*/ 1057583 w 4877875"/>
                <a:gd name="connsiteY221" fmla="*/ 4219575 h 5060875"/>
                <a:gd name="connsiteX222" fmla="*/ 1029008 w 4877875"/>
                <a:gd name="connsiteY222" fmla="*/ 4210050 h 5060875"/>
                <a:gd name="connsiteX223" fmla="*/ 962333 w 4877875"/>
                <a:gd name="connsiteY223" fmla="*/ 4133850 h 5060875"/>
                <a:gd name="connsiteX224" fmla="*/ 895658 w 4877875"/>
                <a:gd name="connsiteY224" fmla="*/ 4114800 h 5060875"/>
                <a:gd name="connsiteX225" fmla="*/ 838508 w 4877875"/>
                <a:gd name="connsiteY225" fmla="*/ 4124325 h 5060875"/>
                <a:gd name="connsiteX226" fmla="*/ 809933 w 4877875"/>
                <a:gd name="connsiteY226" fmla="*/ 4143375 h 5060875"/>
                <a:gd name="connsiteX227" fmla="*/ 781358 w 4877875"/>
                <a:gd name="connsiteY227" fmla="*/ 4152900 h 5060875"/>
                <a:gd name="connsiteX228" fmla="*/ 705158 w 4877875"/>
                <a:gd name="connsiteY228" fmla="*/ 4171950 h 5060875"/>
                <a:gd name="connsiteX229" fmla="*/ 676583 w 4877875"/>
                <a:gd name="connsiteY229" fmla="*/ 4191000 h 5060875"/>
                <a:gd name="connsiteX230" fmla="*/ 619433 w 4877875"/>
                <a:gd name="connsiteY230" fmla="*/ 4210050 h 5060875"/>
                <a:gd name="connsiteX231" fmla="*/ 628958 w 4877875"/>
                <a:gd name="connsiteY231" fmla="*/ 4248150 h 5060875"/>
                <a:gd name="connsiteX232" fmla="*/ 609908 w 4877875"/>
                <a:gd name="connsiteY232" fmla="*/ 4219575 h 5060875"/>
                <a:gd name="connsiteX233" fmla="*/ 581333 w 4877875"/>
                <a:gd name="connsiteY233" fmla="*/ 4181475 h 5060875"/>
                <a:gd name="connsiteX234" fmla="*/ 571808 w 4877875"/>
                <a:gd name="connsiteY234" fmla="*/ 4114800 h 5060875"/>
                <a:gd name="connsiteX235" fmla="*/ 562283 w 4877875"/>
                <a:gd name="connsiteY235" fmla="*/ 4086225 h 5060875"/>
                <a:gd name="connsiteX236" fmla="*/ 552758 w 4877875"/>
                <a:gd name="connsiteY236" fmla="*/ 4048125 h 5060875"/>
                <a:gd name="connsiteX237" fmla="*/ 543233 w 4877875"/>
                <a:gd name="connsiteY237" fmla="*/ 4000500 h 5060875"/>
                <a:gd name="connsiteX238" fmla="*/ 514658 w 4877875"/>
                <a:gd name="connsiteY238" fmla="*/ 3971925 h 5060875"/>
                <a:gd name="connsiteX239" fmla="*/ 476558 w 4877875"/>
                <a:gd name="connsiteY239" fmla="*/ 3905250 h 5060875"/>
                <a:gd name="connsiteX240" fmla="*/ 486083 w 4877875"/>
                <a:gd name="connsiteY240" fmla="*/ 3838575 h 5060875"/>
                <a:gd name="connsiteX241" fmla="*/ 495608 w 4877875"/>
                <a:gd name="connsiteY241" fmla="*/ 3810000 h 5060875"/>
                <a:gd name="connsiteX242" fmla="*/ 467033 w 4877875"/>
                <a:gd name="connsiteY242" fmla="*/ 3724275 h 5060875"/>
                <a:gd name="connsiteX243" fmla="*/ 428933 w 4877875"/>
                <a:gd name="connsiteY243" fmla="*/ 3657600 h 5060875"/>
                <a:gd name="connsiteX244" fmla="*/ 419408 w 4877875"/>
                <a:gd name="connsiteY244" fmla="*/ 3629025 h 5060875"/>
                <a:gd name="connsiteX245" fmla="*/ 400358 w 4877875"/>
                <a:gd name="connsiteY245" fmla="*/ 3600450 h 5060875"/>
                <a:gd name="connsiteX246" fmla="*/ 390833 w 4877875"/>
                <a:gd name="connsiteY246" fmla="*/ 3476625 h 5060875"/>
                <a:gd name="connsiteX247" fmla="*/ 400358 w 4877875"/>
                <a:gd name="connsiteY247" fmla="*/ 3314700 h 5060875"/>
                <a:gd name="connsiteX248" fmla="*/ 409883 w 4877875"/>
                <a:gd name="connsiteY248" fmla="*/ 3286125 h 5060875"/>
                <a:gd name="connsiteX249" fmla="*/ 438458 w 4877875"/>
                <a:gd name="connsiteY249" fmla="*/ 3267075 h 5060875"/>
                <a:gd name="connsiteX250" fmla="*/ 476558 w 4877875"/>
                <a:gd name="connsiteY250" fmla="*/ 3238500 h 5060875"/>
                <a:gd name="connsiteX251" fmla="*/ 467033 w 4877875"/>
                <a:gd name="connsiteY251" fmla="*/ 3200400 h 5060875"/>
                <a:gd name="connsiteX252" fmla="*/ 447983 w 4877875"/>
                <a:gd name="connsiteY252" fmla="*/ 3143250 h 5060875"/>
                <a:gd name="connsiteX253" fmla="*/ 419408 w 4877875"/>
                <a:gd name="connsiteY253" fmla="*/ 3124200 h 5060875"/>
                <a:gd name="connsiteX254" fmla="*/ 381308 w 4877875"/>
                <a:gd name="connsiteY254" fmla="*/ 3114675 h 5060875"/>
                <a:gd name="connsiteX255" fmla="*/ 352733 w 4877875"/>
                <a:gd name="connsiteY255" fmla="*/ 3105150 h 5060875"/>
                <a:gd name="connsiteX256" fmla="*/ 343208 w 4877875"/>
                <a:gd name="connsiteY256" fmla="*/ 2981325 h 5060875"/>
                <a:gd name="connsiteX257" fmla="*/ 314633 w 4877875"/>
                <a:gd name="connsiteY257" fmla="*/ 2971800 h 5060875"/>
                <a:gd name="connsiteX258" fmla="*/ 352733 w 4877875"/>
                <a:gd name="connsiteY258" fmla="*/ 2905125 h 5060875"/>
                <a:gd name="connsiteX259" fmla="*/ 371783 w 4877875"/>
                <a:gd name="connsiteY259" fmla="*/ 2876550 h 5060875"/>
                <a:gd name="connsiteX260" fmla="*/ 362258 w 4877875"/>
                <a:gd name="connsiteY260" fmla="*/ 2847975 h 5060875"/>
                <a:gd name="connsiteX261" fmla="*/ 371783 w 4877875"/>
                <a:gd name="connsiteY261" fmla="*/ 2809875 h 5060875"/>
                <a:gd name="connsiteX262" fmla="*/ 324158 w 4877875"/>
                <a:gd name="connsiteY262" fmla="*/ 2752725 h 5060875"/>
                <a:gd name="connsiteX0" fmla="*/ 371783 w 4877875"/>
                <a:gd name="connsiteY0" fmla="*/ 2771775 h 5060875"/>
                <a:gd name="connsiteX1" fmla="*/ 314633 w 4877875"/>
                <a:gd name="connsiteY1" fmla="*/ 2762250 h 5060875"/>
                <a:gd name="connsiteX2" fmla="*/ 152708 w 4877875"/>
                <a:gd name="connsiteY2" fmla="*/ 2781300 h 5060875"/>
                <a:gd name="connsiteX3" fmla="*/ 76508 w 4877875"/>
                <a:gd name="connsiteY3" fmla="*/ 2771775 h 5060875"/>
                <a:gd name="connsiteX4" fmla="*/ 57458 w 4877875"/>
                <a:gd name="connsiteY4" fmla="*/ 2743200 h 5060875"/>
                <a:gd name="connsiteX5" fmla="*/ 28883 w 4877875"/>
                <a:gd name="connsiteY5" fmla="*/ 2724150 h 5060875"/>
                <a:gd name="connsiteX6" fmla="*/ 19358 w 4877875"/>
                <a:gd name="connsiteY6" fmla="*/ 2695575 h 5060875"/>
                <a:gd name="connsiteX7" fmla="*/ 308 w 4877875"/>
                <a:gd name="connsiteY7" fmla="*/ 2667000 h 5060875"/>
                <a:gd name="connsiteX8" fmla="*/ 28883 w 4877875"/>
                <a:gd name="connsiteY8" fmla="*/ 2657475 h 5060875"/>
                <a:gd name="connsiteX9" fmla="*/ 76508 w 4877875"/>
                <a:gd name="connsiteY9" fmla="*/ 2647950 h 5060875"/>
                <a:gd name="connsiteX10" fmla="*/ 190808 w 4877875"/>
                <a:gd name="connsiteY10" fmla="*/ 2638425 h 5060875"/>
                <a:gd name="connsiteX11" fmla="*/ 238433 w 4877875"/>
                <a:gd name="connsiteY11" fmla="*/ 2619375 h 5060875"/>
                <a:gd name="connsiteX12" fmla="*/ 267008 w 4877875"/>
                <a:gd name="connsiteY12" fmla="*/ 2609850 h 5060875"/>
                <a:gd name="connsiteX13" fmla="*/ 324158 w 4877875"/>
                <a:gd name="connsiteY13" fmla="*/ 2581275 h 5060875"/>
                <a:gd name="connsiteX14" fmla="*/ 352733 w 4877875"/>
                <a:gd name="connsiteY14" fmla="*/ 2552700 h 5060875"/>
                <a:gd name="connsiteX15" fmla="*/ 371783 w 4877875"/>
                <a:gd name="connsiteY15" fmla="*/ 2524125 h 5060875"/>
                <a:gd name="connsiteX16" fmla="*/ 400358 w 4877875"/>
                <a:gd name="connsiteY16" fmla="*/ 2505075 h 5060875"/>
                <a:gd name="connsiteX17" fmla="*/ 390833 w 4877875"/>
                <a:gd name="connsiteY17" fmla="*/ 2416175 h 5060875"/>
                <a:gd name="connsiteX18" fmla="*/ 467033 w 4877875"/>
                <a:gd name="connsiteY18" fmla="*/ 2343150 h 5060875"/>
                <a:gd name="connsiteX19" fmla="*/ 495608 w 4877875"/>
                <a:gd name="connsiteY19" fmla="*/ 2305050 h 5060875"/>
                <a:gd name="connsiteX20" fmla="*/ 514658 w 4877875"/>
                <a:gd name="connsiteY20" fmla="*/ 2276475 h 5060875"/>
                <a:gd name="connsiteX21" fmla="*/ 571808 w 4877875"/>
                <a:gd name="connsiteY21" fmla="*/ 2219325 h 5060875"/>
                <a:gd name="connsiteX22" fmla="*/ 619433 w 4877875"/>
                <a:gd name="connsiteY22" fmla="*/ 2171700 h 5060875"/>
                <a:gd name="connsiteX23" fmla="*/ 676583 w 4877875"/>
                <a:gd name="connsiteY23" fmla="*/ 2076450 h 5060875"/>
                <a:gd name="connsiteX24" fmla="*/ 686108 w 4877875"/>
                <a:gd name="connsiteY24" fmla="*/ 2047875 h 5060875"/>
                <a:gd name="connsiteX25" fmla="*/ 705158 w 4877875"/>
                <a:gd name="connsiteY25" fmla="*/ 1981200 h 5060875"/>
                <a:gd name="connsiteX26" fmla="*/ 724208 w 4877875"/>
                <a:gd name="connsiteY26" fmla="*/ 1809750 h 5060875"/>
                <a:gd name="connsiteX27" fmla="*/ 733733 w 4877875"/>
                <a:gd name="connsiteY27" fmla="*/ 1771650 h 5060875"/>
                <a:gd name="connsiteX28" fmla="*/ 762308 w 4877875"/>
                <a:gd name="connsiteY28" fmla="*/ 1743075 h 5060875"/>
                <a:gd name="connsiteX29" fmla="*/ 800408 w 4877875"/>
                <a:gd name="connsiteY29" fmla="*/ 1676400 h 5060875"/>
                <a:gd name="connsiteX30" fmla="*/ 838508 w 4877875"/>
                <a:gd name="connsiteY30" fmla="*/ 1590675 h 5060875"/>
                <a:gd name="connsiteX31" fmla="*/ 867083 w 4877875"/>
                <a:gd name="connsiteY31" fmla="*/ 1571625 h 5060875"/>
                <a:gd name="connsiteX32" fmla="*/ 905183 w 4877875"/>
                <a:gd name="connsiteY32" fmla="*/ 1552575 h 5060875"/>
                <a:gd name="connsiteX33" fmla="*/ 943283 w 4877875"/>
                <a:gd name="connsiteY33" fmla="*/ 1495425 h 5060875"/>
                <a:gd name="connsiteX34" fmla="*/ 971858 w 4877875"/>
                <a:gd name="connsiteY34" fmla="*/ 1466850 h 5060875"/>
                <a:gd name="connsiteX35" fmla="*/ 1009958 w 4877875"/>
                <a:gd name="connsiteY35" fmla="*/ 1409700 h 5060875"/>
                <a:gd name="connsiteX36" fmla="*/ 1019483 w 4877875"/>
                <a:gd name="connsiteY36" fmla="*/ 1381125 h 5060875"/>
                <a:gd name="connsiteX37" fmla="*/ 1048058 w 4877875"/>
                <a:gd name="connsiteY37" fmla="*/ 1352550 h 5060875"/>
                <a:gd name="connsiteX38" fmla="*/ 1067108 w 4877875"/>
                <a:gd name="connsiteY38" fmla="*/ 1314450 h 5060875"/>
                <a:gd name="connsiteX39" fmla="*/ 1114733 w 4877875"/>
                <a:gd name="connsiteY39" fmla="*/ 1247775 h 5060875"/>
                <a:gd name="connsiteX40" fmla="*/ 1171883 w 4877875"/>
                <a:gd name="connsiteY40" fmla="*/ 1162050 h 5060875"/>
                <a:gd name="connsiteX41" fmla="*/ 1190933 w 4877875"/>
                <a:gd name="connsiteY41" fmla="*/ 1104900 h 5060875"/>
                <a:gd name="connsiteX42" fmla="*/ 1209983 w 4877875"/>
                <a:gd name="connsiteY42" fmla="*/ 1047750 h 5060875"/>
                <a:gd name="connsiteX43" fmla="*/ 1257608 w 4877875"/>
                <a:gd name="connsiteY43" fmla="*/ 990600 h 5060875"/>
                <a:gd name="connsiteX44" fmla="*/ 1286183 w 4877875"/>
                <a:gd name="connsiteY44" fmla="*/ 971550 h 5060875"/>
                <a:gd name="connsiteX45" fmla="*/ 1371908 w 4877875"/>
                <a:gd name="connsiteY45" fmla="*/ 962025 h 5060875"/>
                <a:gd name="connsiteX46" fmla="*/ 1467158 w 4877875"/>
                <a:gd name="connsiteY46" fmla="*/ 914400 h 5060875"/>
                <a:gd name="connsiteX47" fmla="*/ 1486208 w 4877875"/>
                <a:gd name="connsiteY47" fmla="*/ 885825 h 5060875"/>
                <a:gd name="connsiteX48" fmla="*/ 1514783 w 4877875"/>
                <a:gd name="connsiteY48" fmla="*/ 866775 h 5060875"/>
                <a:gd name="connsiteX49" fmla="*/ 1562408 w 4877875"/>
                <a:gd name="connsiteY49" fmla="*/ 800100 h 5060875"/>
                <a:gd name="connsiteX50" fmla="*/ 1581458 w 4877875"/>
                <a:gd name="connsiteY50" fmla="*/ 771525 h 5060875"/>
                <a:gd name="connsiteX51" fmla="*/ 1695758 w 4877875"/>
                <a:gd name="connsiteY51" fmla="*/ 714375 h 5060875"/>
                <a:gd name="connsiteX52" fmla="*/ 1724333 w 4877875"/>
                <a:gd name="connsiteY52" fmla="*/ 704850 h 5060875"/>
                <a:gd name="connsiteX53" fmla="*/ 1838633 w 4877875"/>
                <a:gd name="connsiteY53" fmla="*/ 685800 h 5060875"/>
                <a:gd name="connsiteX54" fmla="*/ 1867208 w 4877875"/>
                <a:gd name="connsiteY54" fmla="*/ 666750 h 5060875"/>
                <a:gd name="connsiteX55" fmla="*/ 1924358 w 4877875"/>
                <a:gd name="connsiteY55" fmla="*/ 609600 h 5060875"/>
                <a:gd name="connsiteX56" fmla="*/ 1991033 w 4877875"/>
                <a:gd name="connsiteY56" fmla="*/ 561975 h 5060875"/>
                <a:gd name="connsiteX57" fmla="*/ 2019608 w 4877875"/>
                <a:gd name="connsiteY57" fmla="*/ 523875 h 5060875"/>
                <a:gd name="connsiteX58" fmla="*/ 2086283 w 4877875"/>
                <a:gd name="connsiteY58" fmla="*/ 457200 h 5060875"/>
                <a:gd name="connsiteX59" fmla="*/ 2124383 w 4877875"/>
                <a:gd name="connsiteY59" fmla="*/ 400050 h 5060875"/>
                <a:gd name="connsiteX60" fmla="*/ 2181533 w 4877875"/>
                <a:gd name="connsiteY60" fmla="*/ 323850 h 5060875"/>
                <a:gd name="connsiteX61" fmla="*/ 2191058 w 4877875"/>
                <a:gd name="connsiteY61" fmla="*/ 266700 h 5060875"/>
                <a:gd name="connsiteX62" fmla="*/ 2210108 w 4877875"/>
                <a:gd name="connsiteY62" fmla="*/ 190500 h 5060875"/>
                <a:gd name="connsiteX63" fmla="*/ 2229158 w 4877875"/>
                <a:gd name="connsiteY63" fmla="*/ 161925 h 5060875"/>
                <a:gd name="connsiteX64" fmla="*/ 2286308 w 4877875"/>
                <a:gd name="connsiteY64" fmla="*/ 104775 h 5060875"/>
                <a:gd name="connsiteX65" fmla="*/ 2333933 w 4877875"/>
                <a:gd name="connsiteY65" fmla="*/ 47625 h 5060875"/>
                <a:gd name="connsiteX66" fmla="*/ 2419658 w 4877875"/>
                <a:gd name="connsiteY66" fmla="*/ 19050 h 5060875"/>
                <a:gd name="connsiteX67" fmla="*/ 2448233 w 4877875"/>
                <a:gd name="connsiteY67" fmla="*/ 9525 h 5060875"/>
                <a:gd name="connsiteX68" fmla="*/ 2476808 w 4877875"/>
                <a:gd name="connsiteY68" fmla="*/ 0 h 5060875"/>
                <a:gd name="connsiteX69" fmla="*/ 2600633 w 4877875"/>
                <a:gd name="connsiteY69" fmla="*/ 28575 h 5060875"/>
                <a:gd name="connsiteX70" fmla="*/ 2629208 w 4877875"/>
                <a:gd name="connsiteY70" fmla="*/ 57150 h 5060875"/>
                <a:gd name="connsiteX71" fmla="*/ 2667308 w 4877875"/>
                <a:gd name="connsiteY71" fmla="*/ 123825 h 5060875"/>
                <a:gd name="connsiteX72" fmla="*/ 2686358 w 4877875"/>
                <a:gd name="connsiteY72" fmla="*/ 180975 h 5060875"/>
                <a:gd name="connsiteX73" fmla="*/ 2695883 w 4877875"/>
                <a:gd name="connsiteY73" fmla="*/ 400050 h 5060875"/>
                <a:gd name="connsiteX74" fmla="*/ 2733983 w 4877875"/>
                <a:gd name="connsiteY74" fmla="*/ 457200 h 5060875"/>
                <a:gd name="connsiteX75" fmla="*/ 2972108 w 4877875"/>
                <a:gd name="connsiteY75" fmla="*/ 447675 h 5060875"/>
                <a:gd name="connsiteX76" fmla="*/ 3038783 w 4877875"/>
                <a:gd name="connsiteY76" fmla="*/ 428625 h 5060875"/>
                <a:gd name="connsiteX77" fmla="*/ 3181658 w 4877875"/>
                <a:gd name="connsiteY77" fmla="*/ 438150 h 5060875"/>
                <a:gd name="connsiteX78" fmla="*/ 3229283 w 4877875"/>
                <a:gd name="connsiteY78" fmla="*/ 485775 h 5060875"/>
                <a:gd name="connsiteX79" fmla="*/ 3257858 w 4877875"/>
                <a:gd name="connsiteY79" fmla="*/ 504825 h 5060875"/>
                <a:gd name="connsiteX80" fmla="*/ 3276908 w 4877875"/>
                <a:gd name="connsiteY80" fmla="*/ 561975 h 5060875"/>
                <a:gd name="connsiteX81" fmla="*/ 3295958 w 4877875"/>
                <a:gd name="connsiteY81" fmla="*/ 590550 h 5060875"/>
                <a:gd name="connsiteX82" fmla="*/ 3343583 w 4877875"/>
                <a:gd name="connsiteY82" fmla="*/ 685800 h 5060875"/>
                <a:gd name="connsiteX83" fmla="*/ 3372158 w 4877875"/>
                <a:gd name="connsiteY83" fmla="*/ 695325 h 5060875"/>
                <a:gd name="connsiteX84" fmla="*/ 3429308 w 4877875"/>
                <a:gd name="connsiteY84" fmla="*/ 723900 h 5060875"/>
                <a:gd name="connsiteX85" fmla="*/ 3486458 w 4877875"/>
                <a:gd name="connsiteY85" fmla="*/ 771525 h 5060875"/>
                <a:gd name="connsiteX86" fmla="*/ 3495983 w 4877875"/>
                <a:gd name="connsiteY86" fmla="*/ 800100 h 5060875"/>
                <a:gd name="connsiteX87" fmla="*/ 3581708 w 4877875"/>
                <a:gd name="connsiteY87" fmla="*/ 866775 h 5060875"/>
                <a:gd name="connsiteX88" fmla="*/ 3657908 w 4877875"/>
                <a:gd name="connsiteY88" fmla="*/ 885825 h 5060875"/>
                <a:gd name="connsiteX89" fmla="*/ 3705533 w 4877875"/>
                <a:gd name="connsiteY89" fmla="*/ 923925 h 5060875"/>
                <a:gd name="connsiteX90" fmla="*/ 3838883 w 4877875"/>
                <a:gd name="connsiteY90" fmla="*/ 971550 h 5060875"/>
                <a:gd name="connsiteX91" fmla="*/ 3896033 w 4877875"/>
                <a:gd name="connsiteY91" fmla="*/ 990600 h 5060875"/>
                <a:gd name="connsiteX92" fmla="*/ 3962708 w 4877875"/>
                <a:gd name="connsiteY92" fmla="*/ 1028700 h 5060875"/>
                <a:gd name="connsiteX93" fmla="*/ 4000808 w 4877875"/>
                <a:gd name="connsiteY93" fmla="*/ 1066800 h 5060875"/>
                <a:gd name="connsiteX94" fmla="*/ 4029383 w 4877875"/>
                <a:gd name="connsiteY94" fmla="*/ 1095375 h 5060875"/>
                <a:gd name="connsiteX95" fmla="*/ 4219883 w 4877875"/>
                <a:gd name="connsiteY95" fmla="*/ 1123950 h 5060875"/>
                <a:gd name="connsiteX96" fmla="*/ 4581833 w 4877875"/>
                <a:gd name="connsiteY96" fmla="*/ 1152525 h 5060875"/>
                <a:gd name="connsiteX97" fmla="*/ 4638983 w 4877875"/>
                <a:gd name="connsiteY97" fmla="*/ 1162050 h 5060875"/>
                <a:gd name="connsiteX98" fmla="*/ 4667558 w 4877875"/>
                <a:gd name="connsiteY98" fmla="*/ 1171575 h 5060875"/>
                <a:gd name="connsiteX99" fmla="*/ 4696133 w 4877875"/>
                <a:gd name="connsiteY99" fmla="*/ 1257300 h 5060875"/>
                <a:gd name="connsiteX100" fmla="*/ 4705658 w 4877875"/>
                <a:gd name="connsiteY100" fmla="*/ 1285875 h 5060875"/>
                <a:gd name="connsiteX101" fmla="*/ 4677083 w 4877875"/>
                <a:gd name="connsiteY101" fmla="*/ 1343025 h 5060875"/>
                <a:gd name="connsiteX102" fmla="*/ 4648508 w 4877875"/>
                <a:gd name="connsiteY102" fmla="*/ 1400175 h 5060875"/>
                <a:gd name="connsiteX103" fmla="*/ 4658033 w 4877875"/>
                <a:gd name="connsiteY103" fmla="*/ 1476375 h 5060875"/>
                <a:gd name="connsiteX104" fmla="*/ 4696133 w 4877875"/>
                <a:gd name="connsiteY104" fmla="*/ 1495425 h 5060875"/>
                <a:gd name="connsiteX105" fmla="*/ 4829483 w 4877875"/>
                <a:gd name="connsiteY105" fmla="*/ 1533525 h 5060875"/>
                <a:gd name="connsiteX106" fmla="*/ 4858058 w 4877875"/>
                <a:gd name="connsiteY106" fmla="*/ 1543050 h 5060875"/>
                <a:gd name="connsiteX107" fmla="*/ 4877108 w 4877875"/>
                <a:gd name="connsiteY107" fmla="*/ 1571625 h 5060875"/>
                <a:gd name="connsiteX108" fmla="*/ 4829483 w 4877875"/>
                <a:gd name="connsiteY108" fmla="*/ 1685925 h 5060875"/>
                <a:gd name="connsiteX109" fmla="*/ 4819958 w 4877875"/>
                <a:gd name="connsiteY109" fmla="*/ 1714500 h 5060875"/>
                <a:gd name="connsiteX110" fmla="*/ 4800908 w 4877875"/>
                <a:gd name="connsiteY110" fmla="*/ 1752600 h 5060875"/>
                <a:gd name="connsiteX111" fmla="*/ 4781858 w 4877875"/>
                <a:gd name="connsiteY111" fmla="*/ 1781175 h 5060875"/>
                <a:gd name="connsiteX112" fmla="*/ 4772333 w 4877875"/>
                <a:gd name="connsiteY112" fmla="*/ 1809750 h 5060875"/>
                <a:gd name="connsiteX113" fmla="*/ 4743758 w 4877875"/>
                <a:gd name="connsiteY113" fmla="*/ 1838325 h 5060875"/>
                <a:gd name="connsiteX114" fmla="*/ 4724708 w 4877875"/>
                <a:gd name="connsiteY114" fmla="*/ 1876425 h 5060875"/>
                <a:gd name="connsiteX115" fmla="*/ 4686608 w 4877875"/>
                <a:gd name="connsiteY115" fmla="*/ 1933575 h 5060875"/>
                <a:gd name="connsiteX116" fmla="*/ 4677083 w 4877875"/>
                <a:gd name="connsiteY116" fmla="*/ 1962150 h 5060875"/>
                <a:gd name="connsiteX117" fmla="*/ 4648508 w 4877875"/>
                <a:gd name="connsiteY117" fmla="*/ 1990725 h 5060875"/>
                <a:gd name="connsiteX118" fmla="*/ 4610408 w 4877875"/>
                <a:gd name="connsiteY118" fmla="*/ 2047875 h 5060875"/>
                <a:gd name="connsiteX119" fmla="*/ 4524683 w 4877875"/>
                <a:gd name="connsiteY119" fmla="*/ 2114550 h 5060875"/>
                <a:gd name="connsiteX120" fmla="*/ 4467533 w 4877875"/>
                <a:gd name="connsiteY120" fmla="*/ 2181225 h 5060875"/>
                <a:gd name="connsiteX121" fmla="*/ 4438958 w 4877875"/>
                <a:gd name="connsiteY121" fmla="*/ 2238375 h 5060875"/>
                <a:gd name="connsiteX122" fmla="*/ 4429433 w 4877875"/>
                <a:gd name="connsiteY122" fmla="*/ 2266950 h 5060875"/>
                <a:gd name="connsiteX123" fmla="*/ 4410383 w 4877875"/>
                <a:gd name="connsiteY123" fmla="*/ 2295525 h 5060875"/>
                <a:gd name="connsiteX124" fmla="*/ 4381808 w 4877875"/>
                <a:gd name="connsiteY124" fmla="*/ 2381250 h 5060875"/>
                <a:gd name="connsiteX125" fmla="*/ 4362758 w 4877875"/>
                <a:gd name="connsiteY125" fmla="*/ 2409825 h 5060875"/>
                <a:gd name="connsiteX126" fmla="*/ 4315133 w 4877875"/>
                <a:gd name="connsiteY126" fmla="*/ 2495550 h 5060875"/>
                <a:gd name="connsiteX127" fmla="*/ 4277033 w 4877875"/>
                <a:gd name="connsiteY127" fmla="*/ 2552700 h 5060875"/>
                <a:gd name="connsiteX128" fmla="*/ 4229408 w 4877875"/>
                <a:gd name="connsiteY128" fmla="*/ 2628900 h 5060875"/>
                <a:gd name="connsiteX129" fmla="*/ 4181783 w 4877875"/>
                <a:gd name="connsiteY129" fmla="*/ 2686050 h 5060875"/>
                <a:gd name="connsiteX130" fmla="*/ 4134158 w 4877875"/>
                <a:gd name="connsiteY130" fmla="*/ 2733675 h 5060875"/>
                <a:gd name="connsiteX131" fmla="*/ 4038908 w 4877875"/>
                <a:gd name="connsiteY131" fmla="*/ 2752725 h 5060875"/>
                <a:gd name="connsiteX132" fmla="*/ 3962708 w 4877875"/>
                <a:gd name="connsiteY132" fmla="*/ 2771775 h 5060875"/>
                <a:gd name="connsiteX133" fmla="*/ 3905558 w 4877875"/>
                <a:gd name="connsiteY133" fmla="*/ 2790825 h 5060875"/>
                <a:gd name="connsiteX134" fmla="*/ 3848408 w 4877875"/>
                <a:gd name="connsiteY134" fmla="*/ 2838450 h 5060875"/>
                <a:gd name="connsiteX135" fmla="*/ 3762683 w 4877875"/>
                <a:gd name="connsiteY135" fmla="*/ 2905125 h 5060875"/>
                <a:gd name="connsiteX136" fmla="*/ 3534083 w 4877875"/>
                <a:gd name="connsiteY136" fmla="*/ 2914650 h 5060875"/>
                <a:gd name="connsiteX137" fmla="*/ 3505508 w 4877875"/>
                <a:gd name="connsiteY137" fmla="*/ 2924175 h 5060875"/>
                <a:gd name="connsiteX138" fmla="*/ 3457883 w 4877875"/>
                <a:gd name="connsiteY138" fmla="*/ 2933700 h 5060875"/>
                <a:gd name="connsiteX139" fmla="*/ 3429308 w 4877875"/>
                <a:gd name="connsiteY139" fmla="*/ 2952750 h 5060875"/>
                <a:gd name="connsiteX140" fmla="*/ 3400733 w 4877875"/>
                <a:gd name="connsiteY140" fmla="*/ 2962275 h 5060875"/>
                <a:gd name="connsiteX141" fmla="*/ 3315008 w 4877875"/>
                <a:gd name="connsiteY141" fmla="*/ 3009900 h 5060875"/>
                <a:gd name="connsiteX142" fmla="*/ 3257858 w 4877875"/>
                <a:gd name="connsiteY142" fmla="*/ 3000375 h 5060875"/>
                <a:gd name="connsiteX143" fmla="*/ 3229283 w 4877875"/>
                <a:gd name="connsiteY143" fmla="*/ 2971800 h 5060875"/>
                <a:gd name="connsiteX144" fmla="*/ 3124508 w 4877875"/>
                <a:gd name="connsiteY144" fmla="*/ 2981325 h 5060875"/>
                <a:gd name="connsiteX145" fmla="*/ 3067358 w 4877875"/>
                <a:gd name="connsiteY145" fmla="*/ 3048000 h 5060875"/>
                <a:gd name="connsiteX146" fmla="*/ 3038783 w 4877875"/>
                <a:gd name="connsiteY146" fmla="*/ 3057525 h 5060875"/>
                <a:gd name="connsiteX147" fmla="*/ 2972108 w 4877875"/>
                <a:gd name="connsiteY147" fmla="*/ 3048000 h 5060875"/>
                <a:gd name="connsiteX148" fmla="*/ 2876858 w 4877875"/>
                <a:gd name="connsiteY148" fmla="*/ 3028950 h 5060875"/>
                <a:gd name="connsiteX149" fmla="*/ 2819708 w 4877875"/>
                <a:gd name="connsiteY149" fmla="*/ 3019425 h 5060875"/>
                <a:gd name="connsiteX150" fmla="*/ 2791133 w 4877875"/>
                <a:gd name="connsiteY150" fmla="*/ 3009900 h 5060875"/>
                <a:gd name="connsiteX151" fmla="*/ 2733983 w 4877875"/>
                <a:gd name="connsiteY151" fmla="*/ 2981325 h 5060875"/>
                <a:gd name="connsiteX152" fmla="*/ 2619683 w 4877875"/>
                <a:gd name="connsiteY152" fmla="*/ 3000375 h 5060875"/>
                <a:gd name="connsiteX153" fmla="*/ 2562533 w 4877875"/>
                <a:gd name="connsiteY153" fmla="*/ 3038475 h 5060875"/>
                <a:gd name="connsiteX154" fmla="*/ 2572058 w 4877875"/>
                <a:gd name="connsiteY154" fmla="*/ 3067050 h 5060875"/>
                <a:gd name="connsiteX155" fmla="*/ 2629208 w 4877875"/>
                <a:gd name="connsiteY155" fmla="*/ 3114675 h 5060875"/>
                <a:gd name="connsiteX156" fmla="*/ 2638733 w 4877875"/>
                <a:gd name="connsiteY156" fmla="*/ 3162300 h 5060875"/>
                <a:gd name="connsiteX157" fmla="*/ 2648258 w 4877875"/>
                <a:gd name="connsiteY157" fmla="*/ 3333750 h 5060875"/>
                <a:gd name="connsiteX158" fmla="*/ 2667308 w 4877875"/>
                <a:gd name="connsiteY158" fmla="*/ 3371850 h 5060875"/>
                <a:gd name="connsiteX159" fmla="*/ 2619683 w 4877875"/>
                <a:gd name="connsiteY159" fmla="*/ 3429000 h 5060875"/>
                <a:gd name="connsiteX160" fmla="*/ 2572058 w 4877875"/>
                <a:gd name="connsiteY160" fmla="*/ 3448050 h 5060875"/>
                <a:gd name="connsiteX161" fmla="*/ 2610158 w 4877875"/>
                <a:gd name="connsiteY161" fmla="*/ 3505200 h 5060875"/>
                <a:gd name="connsiteX162" fmla="*/ 2638733 w 4877875"/>
                <a:gd name="connsiteY162" fmla="*/ 3562350 h 5060875"/>
                <a:gd name="connsiteX163" fmla="*/ 2610158 w 4877875"/>
                <a:gd name="connsiteY163" fmla="*/ 3600450 h 5060875"/>
                <a:gd name="connsiteX164" fmla="*/ 2638733 w 4877875"/>
                <a:gd name="connsiteY164" fmla="*/ 3781425 h 5060875"/>
                <a:gd name="connsiteX165" fmla="*/ 2648258 w 4877875"/>
                <a:gd name="connsiteY165" fmla="*/ 3838575 h 5060875"/>
                <a:gd name="connsiteX166" fmla="*/ 2714933 w 4877875"/>
                <a:gd name="connsiteY166" fmla="*/ 3867150 h 5060875"/>
                <a:gd name="connsiteX167" fmla="*/ 2733983 w 4877875"/>
                <a:gd name="connsiteY167" fmla="*/ 3905250 h 5060875"/>
                <a:gd name="connsiteX168" fmla="*/ 2772083 w 4877875"/>
                <a:gd name="connsiteY168" fmla="*/ 3962400 h 5060875"/>
                <a:gd name="connsiteX169" fmla="*/ 2781608 w 4877875"/>
                <a:gd name="connsiteY169" fmla="*/ 4057650 h 5060875"/>
                <a:gd name="connsiteX170" fmla="*/ 2800658 w 4877875"/>
                <a:gd name="connsiteY170" fmla="*/ 4086225 h 5060875"/>
                <a:gd name="connsiteX171" fmla="*/ 2819708 w 4877875"/>
                <a:gd name="connsiteY171" fmla="*/ 4210050 h 5060875"/>
                <a:gd name="connsiteX172" fmla="*/ 2895908 w 4877875"/>
                <a:gd name="connsiteY172" fmla="*/ 4295775 h 5060875"/>
                <a:gd name="connsiteX173" fmla="*/ 2914958 w 4877875"/>
                <a:gd name="connsiteY173" fmla="*/ 4324350 h 5060875"/>
                <a:gd name="connsiteX174" fmla="*/ 2934008 w 4877875"/>
                <a:gd name="connsiteY174" fmla="*/ 4391025 h 5060875"/>
                <a:gd name="connsiteX175" fmla="*/ 2905433 w 4877875"/>
                <a:gd name="connsiteY175" fmla="*/ 4400550 h 5060875"/>
                <a:gd name="connsiteX176" fmla="*/ 2848283 w 4877875"/>
                <a:gd name="connsiteY176" fmla="*/ 4448175 h 5060875"/>
                <a:gd name="connsiteX177" fmla="*/ 2838758 w 4877875"/>
                <a:gd name="connsiteY177" fmla="*/ 4476750 h 5060875"/>
                <a:gd name="connsiteX178" fmla="*/ 2838758 w 4877875"/>
                <a:gd name="connsiteY178" fmla="*/ 4581525 h 5060875"/>
                <a:gd name="connsiteX179" fmla="*/ 2800658 w 4877875"/>
                <a:gd name="connsiteY179" fmla="*/ 4591050 h 5060875"/>
                <a:gd name="connsiteX180" fmla="*/ 2781608 w 4877875"/>
                <a:gd name="connsiteY180" fmla="*/ 4619625 h 5060875"/>
                <a:gd name="connsiteX181" fmla="*/ 2800658 w 4877875"/>
                <a:gd name="connsiteY181" fmla="*/ 4800600 h 5060875"/>
                <a:gd name="connsiteX182" fmla="*/ 2819708 w 4877875"/>
                <a:gd name="connsiteY182" fmla="*/ 4829175 h 5060875"/>
                <a:gd name="connsiteX183" fmla="*/ 2810183 w 4877875"/>
                <a:gd name="connsiteY183" fmla="*/ 4857750 h 5060875"/>
                <a:gd name="connsiteX184" fmla="*/ 2705408 w 4877875"/>
                <a:gd name="connsiteY184" fmla="*/ 4838700 h 5060875"/>
                <a:gd name="connsiteX185" fmla="*/ 2676833 w 4877875"/>
                <a:gd name="connsiteY185" fmla="*/ 4819650 h 5060875"/>
                <a:gd name="connsiteX186" fmla="*/ 2457758 w 4877875"/>
                <a:gd name="connsiteY186" fmla="*/ 4791075 h 5060875"/>
                <a:gd name="connsiteX187" fmla="*/ 2438708 w 4877875"/>
                <a:gd name="connsiteY187" fmla="*/ 4762500 h 5060875"/>
                <a:gd name="connsiteX188" fmla="*/ 2410133 w 4877875"/>
                <a:gd name="connsiteY188" fmla="*/ 4791075 h 5060875"/>
                <a:gd name="connsiteX189" fmla="*/ 2372033 w 4877875"/>
                <a:gd name="connsiteY189" fmla="*/ 4848225 h 5060875"/>
                <a:gd name="connsiteX190" fmla="*/ 2314883 w 4877875"/>
                <a:gd name="connsiteY190" fmla="*/ 4886325 h 5060875"/>
                <a:gd name="connsiteX191" fmla="*/ 2229158 w 4877875"/>
                <a:gd name="connsiteY191" fmla="*/ 4953000 h 5060875"/>
                <a:gd name="connsiteX192" fmla="*/ 2124383 w 4877875"/>
                <a:gd name="connsiteY192" fmla="*/ 4953000 h 5060875"/>
                <a:gd name="connsiteX193" fmla="*/ 2114858 w 4877875"/>
                <a:gd name="connsiteY193" fmla="*/ 4991100 h 5060875"/>
                <a:gd name="connsiteX194" fmla="*/ 2105333 w 4877875"/>
                <a:gd name="connsiteY194" fmla="*/ 5019675 h 5060875"/>
                <a:gd name="connsiteX195" fmla="*/ 2076758 w 4877875"/>
                <a:gd name="connsiteY195" fmla="*/ 5029200 h 5060875"/>
                <a:gd name="connsiteX196" fmla="*/ 1905308 w 4877875"/>
                <a:gd name="connsiteY196" fmla="*/ 5048250 h 5060875"/>
                <a:gd name="connsiteX197" fmla="*/ 1829108 w 4877875"/>
                <a:gd name="connsiteY197" fmla="*/ 5057775 h 5060875"/>
                <a:gd name="connsiteX198" fmla="*/ 1733858 w 4877875"/>
                <a:gd name="connsiteY198" fmla="*/ 5048250 h 5060875"/>
                <a:gd name="connsiteX199" fmla="*/ 1714808 w 4877875"/>
                <a:gd name="connsiteY199" fmla="*/ 4886325 h 5060875"/>
                <a:gd name="connsiteX200" fmla="*/ 1676708 w 4877875"/>
                <a:gd name="connsiteY200" fmla="*/ 4829175 h 5060875"/>
                <a:gd name="connsiteX201" fmla="*/ 1657658 w 4877875"/>
                <a:gd name="connsiteY201" fmla="*/ 4800600 h 5060875"/>
                <a:gd name="connsiteX202" fmla="*/ 1600508 w 4877875"/>
                <a:gd name="connsiteY202" fmla="*/ 4743450 h 5060875"/>
                <a:gd name="connsiteX203" fmla="*/ 1590983 w 4877875"/>
                <a:gd name="connsiteY203" fmla="*/ 4714875 h 5060875"/>
                <a:gd name="connsiteX204" fmla="*/ 1581458 w 4877875"/>
                <a:gd name="connsiteY204" fmla="*/ 4648200 h 5060875"/>
                <a:gd name="connsiteX205" fmla="*/ 1524308 w 4877875"/>
                <a:gd name="connsiteY205" fmla="*/ 4610100 h 5060875"/>
                <a:gd name="connsiteX206" fmla="*/ 1467158 w 4877875"/>
                <a:gd name="connsiteY206" fmla="*/ 4591050 h 5060875"/>
                <a:gd name="connsiteX207" fmla="*/ 1438583 w 4877875"/>
                <a:gd name="connsiteY207" fmla="*/ 4600575 h 5060875"/>
                <a:gd name="connsiteX208" fmla="*/ 1410008 w 4877875"/>
                <a:gd name="connsiteY208" fmla="*/ 4619625 h 5060875"/>
                <a:gd name="connsiteX209" fmla="*/ 1362383 w 4877875"/>
                <a:gd name="connsiteY209" fmla="*/ 4610100 h 5060875"/>
                <a:gd name="connsiteX210" fmla="*/ 1305233 w 4877875"/>
                <a:gd name="connsiteY210" fmla="*/ 4572000 h 5060875"/>
                <a:gd name="connsiteX211" fmla="*/ 1276658 w 4877875"/>
                <a:gd name="connsiteY211" fmla="*/ 4552950 h 5060875"/>
                <a:gd name="connsiteX212" fmla="*/ 1305233 w 4877875"/>
                <a:gd name="connsiteY212" fmla="*/ 4524375 h 5060875"/>
                <a:gd name="connsiteX213" fmla="*/ 1333808 w 4877875"/>
                <a:gd name="connsiteY213" fmla="*/ 4514850 h 5060875"/>
                <a:gd name="connsiteX214" fmla="*/ 1305233 w 4877875"/>
                <a:gd name="connsiteY214" fmla="*/ 4486275 h 5060875"/>
                <a:gd name="connsiteX215" fmla="*/ 1238558 w 4877875"/>
                <a:gd name="connsiteY215" fmla="*/ 4448175 h 5060875"/>
                <a:gd name="connsiteX216" fmla="*/ 1209983 w 4877875"/>
                <a:gd name="connsiteY216" fmla="*/ 4419600 h 5060875"/>
                <a:gd name="connsiteX217" fmla="*/ 1181408 w 4877875"/>
                <a:gd name="connsiteY217" fmla="*/ 4400550 h 5060875"/>
                <a:gd name="connsiteX218" fmla="*/ 1162358 w 4877875"/>
                <a:gd name="connsiteY218" fmla="*/ 4371975 h 5060875"/>
                <a:gd name="connsiteX219" fmla="*/ 1086158 w 4877875"/>
                <a:gd name="connsiteY219" fmla="*/ 4352925 h 5060875"/>
                <a:gd name="connsiteX220" fmla="*/ 1067108 w 4877875"/>
                <a:gd name="connsiteY220" fmla="*/ 4248150 h 5060875"/>
                <a:gd name="connsiteX221" fmla="*/ 1057583 w 4877875"/>
                <a:gd name="connsiteY221" fmla="*/ 4219575 h 5060875"/>
                <a:gd name="connsiteX222" fmla="*/ 1029008 w 4877875"/>
                <a:gd name="connsiteY222" fmla="*/ 4210050 h 5060875"/>
                <a:gd name="connsiteX223" fmla="*/ 962333 w 4877875"/>
                <a:gd name="connsiteY223" fmla="*/ 4133850 h 5060875"/>
                <a:gd name="connsiteX224" fmla="*/ 895658 w 4877875"/>
                <a:gd name="connsiteY224" fmla="*/ 4114800 h 5060875"/>
                <a:gd name="connsiteX225" fmla="*/ 838508 w 4877875"/>
                <a:gd name="connsiteY225" fmla="*/ 4124325 h 5060875"/>
                <a:gd name="connsiteX226" fmla="*/ 809933 w 4877875"/>
                <a:gd name="connsiteY226" fmla="*/ 4143375 h 5060875"/>
                <a:gd name="connsiteX227" fmla="*/ 781358 w 4877875"/>
                <a:gd name="connsiteY227" fmla="*/ 4152900 h 5060875"/>
                <a:gd name="connsiteX228" fmla="*/ 705158 w 4877875"/>
                <a:gd name="connsiteY228" fmla="*/ 4171950 h 5060875"/>
                <a:gd name="connsiteX229" fmla="*/ 676583 w 4877875"/>
                <a:gd name="connsiteY229" fmla="*/ 4191000 h 5060875"/>
                <a:gd name="connsiteX230" fmla="*/ 619433 w 4877875"/>
                <a:gd name="connsiteY230" fmla="*/ 4210050 h 5060875"/>
                <a:gd name="connsiteX231" fmla="*/ 628958 w 4877875"/>
                <a:gd name="connsiteY231" fmla="*/ 4248150 h 5060875"/>
                <a:gd name="connsiteX232" fmla="*/ 609908 w 4877875"/>
                <a:gd name="connsiteY232" fmla="*/ 4219575 h 5060875"/>
                <a:gd name="connsiteX233" fmla="*/ 581333 w 4877875"/>
                <a:gd name="connsiteY233" fmla="*/ 4181475 h 5060875"/>
                <a:gd name="connsiteX234" fmla="*/ 571808 w 4877875"/>
                <a:gd name="connsiteY234" fmla="*/ 4114800 h 5060875"/>
                <a:gd name="connsiteX235" fmla="*/ 562283 w 4877875"/>
                <a:gd name="connsiteY235" fmla="*/ 4086225 h 5060875"/>
                <a:gd name="connsiteX236" fmla="*/ 552758 w 4877875"/>
                <a:gd name="connsiteY236" fmla="*/ 4048125 h 5060875"/>
                <a:gd name="connsiteX237" fmla="*/ 543233 w 4877875"/>
                <a:gd name="connsiteY237" fmla="*/ 4000500 h 5060875"/>
                <a:gd name="connsiteX238" fmla="*/ 514658 w 4877875"/>
                <a:gd name="connsiteY238" fmla="*/ 3971925 h 5060875"/>
                <a:gd name="connsiteX239" fmla="*/ 476558 w 4877875"/>
                <a:gd name="connsiteY239" fmla="*/ 3905250 h 5060875"/>
                <a:gd name="connsiteX240" fmla="*/ 486083 w 4877875"/>
                <a:gd name="connsiteY240" fmla="*/ 3838575 h 5060875"/>
                <a:gd name="connsiteX241" fmla="*/ 495608 w 4877875"/>
                <a:gd name="connsiteY241" fmla="*/ 3810000 h 5060875"/>
                <a:gd name="connsiteX242" fmla="*/ 467033 w 4877875"/>
                <a:gd name="connsiteY242" fmla="*/ 3724275 h 5060875"/>
                <a:gd name="connsiteX243" fmla="*/ 428933 w 4877875"/>
                <a:gd name="connsiteY243" fmla="*/ 3657600 h 5060875"/>
                <a:gd name="connsiteX244" fmla="*/ 419408 w 4877875"/>
                <a:gd name="connsiteY244" fmla="*/ 3629025 h 5060875"/>
                <a:gd name="connsiteX245" fmla="*/ 400358 w 4877875"/>
                <a:gd name="connsiteY245" fmla="*/ 3600450 h 5060875"/>
                <a:gd name="connsiteX246" fmla="*/ 390833 w 4877875"/>
                <a:gd name="connsiteY246" fmla="*/ 3476625 h 5060875"/>
                <a:gd name="connsiteX247" fmla="*/ 400358 w 4877875"/>
                <a:gd name="connsiteY247" fmla="*/ 3314700 h 5060875"/>
                <a:gd name="connsiteX248" fmla="*/ 409883 w 4877875"/>
                <a:gd name="connsiteY248" fmla="*/ 3286125 h 5060875"/>
                <a:gd name="connsiteX249" fmla="*/ 438458 w 4877875"/>
                <a:gd name="connsiteY249" fmla="*/ 3267075 h 5060875"/>
                <a:gd name="connsiteX250" fmla="*/ 476558 w 4877875"/>
                <a:gd name="connsiteY250" fmla="*/ 3238500 h 5060875"/>
                <a:gd name="connsiteX251" fmla="*/ 467033 w 4877875"/>
                <a:gd name="connsiteY251" fmla="*/ 3200400 h 5060875"/>
                <a:gd name="connsiteX252" fmla="*/ 447983 w 4877875"/>
                <a:gd name="connsiteY252" fmla="*/ 3143250 h 5060875"/>
                <a:gd name="connsiteX253" fmla="*/ 419408 w 4877875"/>
                <a:gd name="connsiteY253" fmla="*/ 3124200 h 5060875"/>
                <a:gd name="connsiteX254" fmla="*/ 381308 w 4877875"/>
                <a:gd name="connsiteY254" fmla="*/ 3114675 h 5060875"/>
                <a:gd name="connsiteX255" fmla="*/ 352733 w 4877875"/>
                <a:gd name="connsiteY255" fmla="*/ 3105150 h 5060875"/>
                <a:gd name="connsiteX256" fmla="*/ 343208 w 4877875"/>
                <a:gd name="connsiteY256" fmla="*/ 2981325 h 5060875"/>
                <a:gd name="connsiteX257" fmla="*/ 314633 w 4877875"/>
                <a:gd name="connsiteY257" fmla="*/ 2971800 h 5060875"/>
                <a:gd name="connsiteX258" fmla="*/ 352733 w 4877875"/>
                <a:gd name="connsiteY258" fmla="*/ 2905125 h 5060875"/>
                <a:gd name="connsiteX259" fmla="*/ 371783 w 4877875"/>
                <a:gd name="connsiteY259" fmla="*/ 2876550 h 5060875"/>
                <a:gd name="connsiteX260" fmla="*/ 362258 w 4877875"/>
                <a:gd name="connsiteY260" fmla="*/ 2847975 h 5060875"/>
                <a:gd name="connsiteX261" fmla="*/ 371783 w 4877875"/>
                <a:gd name="connsiteY261" fmla="*/ 2809875 h 5060875"/>
                <a:gd name="connsiteX262" fmla="*/ 324158 w 4877875"/>
                <a:gd name="connsiteY262" fmla="*/ 2752725 h 5060875"/>
                <a:gd name="connsiteX0" fmla="*/ 371783 w 4877875"/>
                <a:gd name="connsiteY0" fmla="*/ 2771775 h 5060875"/>
                <a:gd name="connsiteX1" fmla="*/ 314633 w 4877875"/>
                <a:gd name="connsiteY1" fmla="*/ 2762250 h 5060875"/>
                <a:gd name="connsiteX2" fmla="*/ 152708 w 4877875"/>
                <a:gd name="connsiteY2" fmla="*/ 2781300 h 5060875"/>
                <a:gd name="connsiteX3" fmla="*/ 76508 w 4877875"/>
                <a:gd name="connsiteY3" fmla="*/ 2771775 h 5060875"/>
                <a:gd name="connsiteX4" fmla="*/ 57458 w 4877875"/>
                <a:gd name="connsiteY4" fmla="*/ 2743200 h 5060875"/>
                <a:gd name="connsiteX5" fmla="*/ 28883 w 4877875"/>
                <a:gd name="connsiteY5" fmla="*/ 2724150 h 5060875"/>
                <a:gd name="connsiteX6" fmla="*/ 19358 w 4877875"/>
                <a:gd name="connsiteY6" fmla="*/ 2695575 h 5060875"/>
                <a:gd name="connsiteX7" fmla="*/ 308 w 4877875"/>
                <a:gd name="connsiteY7" fmla="*/ 2667000 h 5060875"/>
                <a:gd name="connsiteX8" fmla="*/ 28883 w 4877875"/>
                <a:gd name="connsiteY8" fmla="*/ 2657475 h 5060875"/>
                <a:gd name="connsiteX9" fmla="*/ 76508 w 4877875"/>
                <a:gd name="connsiteY9" fmla="*/ 2647950 h 5060875"/>
                <a:gd name="connsiteX10" fmla="*/ 190808 w 4877875"/>
                <a:gd name="connsiteY10" fmla="*/ 2638425 h 5060875"/>
                <a:gd name="connsiteX11" fmla="*/ 238433 w 4877875"/>
                <a:gd name="connsiteY11" fmla="*/ 2619375 h 5060875"/>
                <a:gd name="connsiteX12" fmla="*/ 267008 w 4877875"/>
                <a:gd name="connsiteY12" fmla="*/ 2609850 h 5060875"/>
                <a:gd name="connsiteX13" fmla="*/ 324158 w 4877875"/>
                <a:gd name="connsiteY13" fmla="*/ 2581275 h 5060875"/>
                <a:gd name="connsiteX14" fmla="*/ 352733 w 4877875"/>
                <a:gd name="connsiteY14" fmla="*/ 2552700 h 5060875"/>
                <a:gd name="connsiteX15" fmla="*/ 371783 w 4877875"/>
                <a:gd name="connsiteY15" fmla="*/ 2524125 h 5060875"/>
                <a:gd name="connsiteX16" fmla="*/ 378133 w 4877875"/>
                <a:gd name="connsiteY16" fmla="*/ 2492375 h 5060875"/>
                <a:gd name="connsiteX17" fmla="*/ 390833 w 4877875"/>
                <a:gd name="connsiteY17" fmla="*/ 2416175 h 5060875"/>
                <a:gd name="connsiteX18" fmla="*/ 467033 w 4877875"/>
                <a:gd name="connsiteY18" fmla="*/ 2343150 h 5060875"/>
                <a:gd name="connsiteX19" fmla="*/ 495608 w 4877875"/>
                <a:gd name="connsiteY19" fmla="*/ 2305050 h 5060875"/>
                <a:gd name="connsiteX20" fmla="*/ 514658 w 4877875"/>
                <a:gd name="connsiteY20" fmla="*/ 2276475 h 5060875"/>
                <a:gd name="connsiteX21" fmla="*/ 571808 w 4877875"/>
                <a:gd name="connsiteY21" fmla="*/ 2219325 h 5060875"/>
                <a:gd name="connsiteX22" fmla="*/ 619433 w 4877875"/>
                <a:gd name="connsiteY22" fmla="*/ 2171700 h 5060875"/>
                <a:gd name="connsiteX23" fmla="*/ 676583 w 4877875"/>
                <a:gd name="connsiteY23" fmla="*/ 2076450 h 5060875"/>
                <a:gd name="connsiteX24" fmla="*/ 686108 w 4877875"/>
                <a:gd name="connsiteY24" fmla="*/ 2047875 h 5060875"/>
                <a:gd name="connsiteX25" fmla="*/ 705158 w 4877875"/>
                <a:gd name="connsiteY25" fmla="*/ 1981200 h 5060875"/>
                <a:gd name="connsiteX26" fmla="*/ 724208 w 4877875"/>
                <a:gd name="connsiteY26" fmla="*/ 1809750 h 5060875"/>
                <a:gd name="connsiteX27" fmla="*/ 733733 w 4877875"/>
                <a:gd name="connsiteY27" fmla="*/ 1771650 h 5060875"/>
                <a:gd name="connsiteX28" fmla="*/ 762308 w 4877875"/>
                <a:gd name="connsiteY28" fmla="*/ 1743075 h 5060875"/>
                <a:gd name="connsiteX29" fmla="*/ 800408 w 4877875"/>
                <a:gd name="connsiteY29" fmla="*/ 1676400 h 5060875"/>
                <a:gd name="connsiteX30" fmla="*/ 838508 w 4877875"/>
                <a:gd name="connsiteY30" fmla="*/ 1590675 h 5060875"/>
                <a:gd name="connsiteX31" fmla="*/ 867083 w 4877875"/>
                <a:gd name="connsiteY31" fmla="*/ 1571625 h 5060875"/>
                <a:gd name="connsiteX32" fmla="*/ 905183 w 4877875"/>
                <a:gd name="connsiteY32" fmla="*/ 1552575 h 5060875"/>
                <a:gd name="connsiteX33" fmla="*/ 943283 w 4877875"/>
                <a:gd name="connsiteY33" fmla="*/ 1495425 h 5060875"/>
                <a:gd name="connsiteX34" fmla="*/ 971858 w 4877875"/>
                <a:gd name="connsiteY34" fmla="*/ 1466850 h 5060875"/>
                <a:gd name="connsiteX35" fmla="*/ 1009958 w 4877875"/>
                <a:gd name="connsiteY35" fmla="*/ 1409700 h 5060875"/>
                <a:gd name="connsiteX36" fmla="*/ 1019483 w 4877875"/>
                <a:gd name="connsiteY36" fmla="*/ 1381125 h 5060875"/>
                <a:gd name="connsiteX37" fmla="*/ 1048058 w 4877875"/>
                <a:gd name="connsiteY37" fmla="*/ 1352550 h 5060875"/>
                <a:gd name="connsiteX38" fmla="*/ 1067108 w 4877875"/>
                <a:gd name="connsiteY38" fmla="*/ 1314450 h 5060875"/>
                <a:gd name="connsiteX39" fmla="*/ 1114733 w 4877875"/>
                <a:gd name="connsiteY39" fmla="*/ 1247775 h 5060875"/>
                <a:gd name="connsiteX40" fmla="*/ 1171883 w 4877875"/>
                <a:gd name="connsiteY40" fmla="*/ 1162050 h 5060875"/>
                <a:gd name="connsiteX41" fmla="*/ 1190933 w 4877875"/>
                <a:gd name="connsiteY41" fmla="*/ 1104900 h 5060875"/>
                <a:gd name="connsiteX42" fmla="*/ 1209983 w 4877875"/>
                <a:gd name="connsiteY42" fmla="*/ 1047750 h 5060875"/>
                <a:gd name="connsiteX43" fmla="*/ 1257608 w 4877875"/>
                <a:gd name="connsiteY43" fmla="*/ 990600 h 5060875"/>
                <a:gd name="connsiteX44" fmla="*/ 1286183 w 4877875"/>
                <a:gd name="connsiteY44" fmla="*/ 971550 h 5060875"/>
                <a:gd name="connsiteX45" fmla="*/ 1371908 w 4877875"/>
                <a:gd name="connsiteY45" fmla="*/ 962025 h 5060875"/>
                <a:gd name="connsiteX46" fmla="*/ 1467158 w 4877875"/>
                <a:gd name="connsiteY46" fmla="*/ 914400 h 5060875"/>
                <a:gd name="connsiteX47" fmla="*/ 1486208 w 4877875"/>
                <a:gd name="connsiteY47" fmla="*/ 885825 h 5060875"/>
                <a:gd name="connsiteX48" fmla="*/ 1514783 w 4877875"/>
                <a:gd name="connsiteY48" fmla="*/ 866775 h 5060875"/>
                <a:gd name="connsiteX49" fmla="*/ 1562408 w 4877875"/>
                <a:gd name="connsiteY49" fmla="*/ 800100 h 5060875"/>
                <a:gd name="connsiteX50" fmla="*/ 1581458 w 4877875"/>
                <a:gd name="connsiteY50" fmla="*/ 771525 h 5060875"/>
                <a:gd name="connsiteX51" fmla="*/ 1695758 w 4877875"/>
                <a:gd name="connsiteY51" fmla="*/ 714375 h 5060875"/>
                <a:gd name="connsiteX52" fmla="*/ 1724333 w 4877875"/>
                <a:gd name="connsiteY52" fmla="*/ 704850 h 5060875"/>
                <a:gd name="connsiteX53" fmla="*/ 1838633 w 4877875"/>
                <a:gd name="connsiteY53" fmla="*/ 685800 h 5060875"/>
                <a:gd name="connsiteX54" fmla="*/ 1867208 w 4877875"/>
                <a:gd name="connsiteY54" fmla="*/ 666750 h 5060875"/>
                <a:gd name="connsiteX55" fmla="*/ 1924358 w 4877875"/>
                <a:gd name="connsiteY55" fmla="*/ 609600 h 5060875"/>
                <a:gd name="connsiteX56" fmla="*/ 1991033 w 4877875"/>
                <a:gd name="connsiteY56" fmla="*/ 561975 h 5060875"/>
                <a:gd name="connsiteX57" fmla="*/ 2019608 w 4877875"/>
                <a:gd name="connsiteY57" fmla="*/ 523875 h 5060875"/>
                <a:gd name="connsiteX58" fmla="*/ 2086283 w 4877875"/>
                <a:gd name="connsiteY58" fmla="*/ 457200 h 5060875"/>
                <a:gd name="connsiteX59" fmla="*/ 2124383 w 4877875"/>
                <a:gd name="connsiteY59" fmla="*/ 400050 h 5060875"/>
                <a:gd name="connsiteX60" fmla="*/ 2181533 w 4877875"/>
                <a:gd name="connsiteY60" fmla="*/ 323850 h 5060875"/>
                <a:gd name="connsiteX61" fmla="*/ 2191058 w 4877875"/>
                <a:gd name="connsiteY61" fmla="*/ 266700 h 5060875"/>
                <a:gd name="connsiteX62" fmla="*/ 2210108 w 4877875"/>
                <a:gd name="connsiteY62" fmla="*/ 190500 h 5060875"/>
                <a:gd name="connsiteX63" fmla="*/ 2229158 w 4877875"/>
                <a:gd name="connsiteY63" fmla="*/ 161925 h 5060875"/>
                <a:gd name="connsiteX64" fmla="*/ 2286308 w 4877875"/>
                <a:gd name="connsiteY64" fmla="*/ 104775 h 5060875"/>
                <a:gd name="connsiteX65" fmla="*/ 2333933 w 4877875"/>
                <a:gd name="connsiteY65" fmla="*/ 47625 h 5060875"/>
                <a:gd name="connsiteX66" fmla="*/ 2419658 w 4877875"/>
                <a:gd name="connsiteY66" fmla="*/ 19050 h 5060875"/>
                <a:gd name="connsiteX67" fmla="*/ 2448233 w 4877875"/>
                <a:gd name="connsiteY67" fmla="*/ 9525 h 5060875"/>
                <a:gd name="connsiteX68" fmla="*/ 2476808 w 4877875"/>
                <a:gd name="connsiteY68" fmla="*/ 0 h 5060875"/>
                <a:gd name="connsiteX69" fmla="*/ 2600633 w 4877875"/>
                <a:gd name="connsiteY69" fmla="*/ 28575 h 5060875"/>
                <a:gd name="connsiteX70" fmla="*/ 2629208 w 4877875"/>
                <a:gd name="connsiteY70" fmla="*/ 57150 h 5060875"/>
                <a:gd name="connsiteX71" fmla="*/ 2667308 w 4877875"/>
                <a:gd name="connsiteY71" fmla="*/ 123825 h 5060875"/>
                <a:gd name="connsiteX72" fmla="*/ 2686358 w 4877875"/>
                <a:gd name="connsiteY72" fmla="*/ 180975 h 5060875"/>
                <a:gd name="connsiteX73" fmla="*/ 2695883 w 4877875"/>
                <a:gd name="connsiteY73" fmla="*/ 400050 h 5060875"/>
                <a:gd name="connsiteX74" fmla="*/ 2733983 w 4877875"/>
                <a:gd name="connsiteY74" fmla="*/ 457200 h 5060875"/>
                <a:gd name="connsiteX75" fmla="*/ 2972108 w 4877875"/>
                <a:gd name="connsiteY75" fmla="*/ 447675 h 5060875"/>
                <a:gd name="connsiteX76" fmla="*/ 3038783 w 4877875"/>
                <a:gd name="connsiteY76" fmla="*/ 428625 h 5060875"/>
                <a:gd name="connsiteX77" fmla="*/ 3181658 w 4877875"/>
                <a:gd name="connsiteY77" fmla="*/ 438150 h 5060875"/>
                <a:gd name="connsiteX78" fmla="*/ 3229283 w 4877875"/>
                <a:gd name="connsiteY78" fmla="*/ 485775 h 5060875"/>
                <a:gd name="connsiteX79" fmla="*/ 3257858 w 4877875"/>
                <a:gd name="connsiteY79" fmla="*/ 504825 h 5060875"/>
                <a:gd name="connsiteX80" fmla="*/ 3276908 w 4877875"/>
                <a:gd name="connsiteY80" fmla="*/ 561975 h 5060875"/>
                <a:gd name="connsiteX81" fmla="*/ 3295958 w 4877875"/>
                <a:gd name="connsiteY81" fmla="*/ 590550 h 5060875"/>
                <a:gd name="connsiteX82" fmla="*/ 3343583 w 4877875"/>
                <a:gd name="connsiteY82" fmla="*/ 685800 h 5060875"/>
                <a:gd name="connsiteX83" fmla="*/ 3372158 w 4877875"/>
                <a:gd name="connsiteY83" fmla="*/ 695325 h 5060875"/>
                <a:gd name="connsiteX84" fmla="*/ 3429308 w 4877875"/>
                <a:gd name="connsiteY84" fmla="*/ 723900 h 5060875"/>
                <a:gd name="connsiteX85" fmla="*/ 3486458 w 4877875"/>
                <a:gd name="connsiteY85" fmla="*/ 771525 h 5060875"/>
                <a:gd name="connsiteX86" fmla="*/ 3495983 w 4877875"/>
                <a:gd name="connsiteY86" fmla="*/ 800100 h 5060875"/>
                <a:gd name="connsiteX87" fmla="*/ 3581708 w 4877875"/>
                <a:gd name="connsiteY87" fmla="*/ 866775 h 5060875"/>
                <a:gd name="connsiteX88" fmla="*/ 3657908 w 4877875"/>
                <a:gd name="connsiteY88" fmla="*/ 885825 h 5060875"/>
                <a:gd name="connsiteX89" fmla="*/ 3705533 w 4877875"/>
                <a:gd name="connsiteY89" fmla="*/ 923925 h 5060875"/>
                <a:gd name="connsiteX90" fmla="*/ 3838883 w 4877875"/>
                <a:gd name="connsiteY90" fmla="*/ 971550 h 5060875"/>
                <a:gd name="connsiteX91" fmla="*/ 3896033 w 4877875"/>
                <a:gd name="connsiteY91" fmla="*/ 990600 h 5060875"/>
                <a:gd name="connsiteX92" fmla="*/ 3962708 w 4877875"/>
                <a:gd name="connsiteY92" fmla="*/ 1028700 h 5060875"/>
                <a:gd name="connsiteX93" fmla="*/ 4000808 w 4877875"/>
                <a:gd name="connsiteY93" fmla="*/ 1066800 h 5060875"/>
                <a:gd name="connsiteX94" fmla="*/ 4029383 w 4877875"/>
                <a:gd name="connsiteY94" fmla="*/ 1095375 h 5060875"/>
                <a:gd name="connsiteX95" fmla="*/ 4219883 w 4877875"/>
                <a:gd name="connsiteY95" fmla="*/ 1123950 h 5060875"/>
                <a:gd name="connsiteX96" fmla="*/ 4581833 w 4877875"/>
                <a:gd name="connsiteY96" fmla="*/ 1152525 h 5060875"/>
                <a:gd name="connsiteX97" fmla="*/ 4638983 w 4877875"/>
                <a:gd name="connsiteY97" fmla="*/ 1162050 h 5060875"/>
                <a:gd name="connsiteX98" fmla="*/ 4667558 w 4877875"/>
                <a:gd name="connsiteY98" fmla="*/ 1171575 h 5060875"/>
                <a:gd name="connsiteX99" fmla="*/ 4696133 w 4877875"/>
                <a:gd name="connsiteY99" fmla="*/ 1257300 h 5060875"/>
                <a:gd name="connsiteX100" fmla="*/ 4705658 w 4877875"/>
                <a:gd name="connsiteY100" fmla="*/ 1285875 h 5060875"/>
                <a:gd name="connsiteX101" fmla="*/ 4677083 w 4877875"/>
                <a:gd name="connsiteY101" fmla="*/ 1343025 h 5060875"/>
                <a:gd name="connsiteX102" fmla="*/ 4648508 w 4877875"/>
                <a:gd name="connsiteY102" fmla="*/ 1400175 h 5060875"/>
                <a:gd name="connsiteX103" fmla="*/ 4658033 w 4877875"/>
                <a:gd name="connsiteY103" fmla="*/ 1476375 h 5060875"/>
                <a:gd name="connsiteX104" fmla="*/ 4696133 w 4877875"/>
                <a:gd name="connsiteY104" fmla="*/ 1495425 h 5060875"/>
                <a:gd name="connsiteX105" fmla="*/ 4829483 w 4877875"/>
                <a:gd name="connsiteY105" fmla="*/ 1533525 h 5060875"/>
                <a:gd name="connsiteX106" fmla="*/ 4858058 w 4877875"/>
                <a:gd name="connsiteY106" fmla="*/ 1543050 h 5060875"/>
                <a:gd name="connsiteX107" fmla="*/ 4877108 w 4877875"/>
                <a:gd name="connsiteY107" fmla="*/ 1571625 h 5060875"/>
                <a:gd name="connsiteX108" fmla="*/ 4829483 w 4877875"/>
                <a:gd name="connsiteY108" fmla="*/ 1685925 h 5060875"/>
                <a:gd name="connsiteX109" fmla="*/ 4819958 w 4877875"/>
                <a:gd name="connsiteY109" fmla="*/ 1714500 h 5060875"/>
                <a:gd name="connsiteX110" fmla="*/ 4800908 w 4877875"/>
                <a:gd name="connsiteY110" fmla="*/ 1752600 h 5060875"/>
                <a:gd name="connsiteX111" fmla="*/ 4781858 w 4877875"/>
                <a:gd name="connsiteY111" fmla="*/ 1781175 h 5060875"/>
                <a:gd name="connsiteX112" fmla="*/ 4772333 w 4877875"/>
                <a:gd name="connsiteY112" fmla="*/ 1809750 h 5060875"/>
                <a:gd name="connsiteX113" fmla="*/ 4743758 w 4877875"/>
                <a:gd name="connsiteY113" fmla="*/ 1838325 h 5060875"/>
                <a:gd name="connsiteX114" fmla="*/ 4724708 w 4877875"/>
                <a:gd name="connsiteY114" fmla="*/ 1876425 h 5060875"/>
                <a:gd name="connsiteX115" fmla="*/ 4686608 w 4877875"/>
                <a:gd name="connsiteY115" fmla="*/ 1933575 h 5060875"/>
                <a:gd name="connsiteX116" fmla="*/ 4677083 w 4877875"/>
                <a:gd name="connsiteY116" fmla="*/ 1962150 h 5060875"/>
                <a:gd name="connsiteX117" fmla="*/ 4648508 w 4877875"/>
                <a:gd name="connsiteY117" fmla="*/ 1990725 h 5060875"/>
                <a:gd name="connsiteX118" fmla="*/ 4610408 w 4877875"/>
                <a:gd name="connsiteY118" fmla="*/ 2047875 h 5060875"/>
                <a:gd name="connsiteX119" fmla="*/ 4524683 w 4877875"/>
                <a:gd name="connsiteY119" fmla="*/ 2114550 h 5060875"/>
                <a:gd name="connsiteX120" fmla="*/ 4467533 w 4877875"/>
                <a:gd name="connsiteY120" fmla="*/ 2181225 h 5060875"/>
                <a:gd name="connsiteX121" fmla="*/ 4438958 w 4877875"/>
                <a:gd name="connsiteY121" fmla="*/ 2238375 h 5060875"/>
                <a:gd name="connsiteX122" fmla="*/ 4429433 w 4877875"/>
                <a:gd name="connsiteY122" fmla="*/ 2266950 h 5060875"/>
                <a:gd name="connsiteX123" fmla="*/ 4410383 w 4877875"/>
                <a:gd name="connsiteY123" fmla="*/ 2295525 h 5060875"/>
                <a:gd name="connsiteX124" fmla="*/ 4381808 w 4877875"/>
                <a:gd name="connsiteY124" fmla="*/ 2381250 h 5060875"/>
                <a:gd name="connsiteX125" fmla="*/ 4362758 w 4877875"/>
                <a:gd name="connsiteY125" fmla="*/ 2409825 h 5060875"/>
                <a:gd name="connsiteX126" fmla="*/ 4315133 w 4877875"/>
                <a:gd name="connsiteY126" fmla="*/ 2495550 h 5060875"/>
                <a:gd name="connsiteX127" fmla="*/ 4277033 w 4877875"/>
                <a:gd name="connsiteY127" fmla="*/ 2552700 h 5060875"/>
                <a:gd name="connsiteX128" fmla="*/ 4229408 w 4877875"/>
                <a:gd name="connsiteY128" fmla="*/ 2628900 h 5060875"/>
                <a:gd name="connsiteX129" fmla="*/ 4181783 w 4877875"/>
                <a:gd name="connsiteY129" fmla="*/ 2686050 h 5060875"/>
                <a:gd name="connsiteX130" fmla="*/ 4134158 w 4877875"/>
                <a:gd name="connsiteY130" fmla="*/ 2733675 h 5060875"/>
                <a:gd name="connsiteX131" fmla="*/ 4038908 w 4877875"/>
                <a:gd name="connsiteY131" fmla="*/ 2752725 h 5060875"/>
                <a:gd name="connsiteX132" fmla="*/ 3962708 w 4877875"/>
                <a:gd name="connsiteY132" fmla="*/ 2771775 h 5060875"/>
                <a:gd name="connsiteX133" fmla="*/ 3905558 w 4877875"/>
                <a:gd name="connsiteY133" fmla="*/ 2790825 h 5060875"/>
                <a:gd name="connsiteX134" fmla="*/ 3848408 w 4877875"/>
                <a:gd name="connsiteY134" fmla="*/ 2838450 h 5060875"/>
                <a:gd name="connsiteX135" fmla="*/ 3762683 w 4877875"/>
                <a:gd name="connsiteY135" fmla="*/ 2905125 h 5060875"/>
                <a:gd name="connsiteX136" fmla="*/ 3534083 w 4877875"/>
                <a:gd name="connsiteY136" fmla="*/ 2914650 h 5060875"/>
                <a:gd name="connsiteX137" fmla="*/ 3505508 w 4877875"/>
                <a:gd name="connsiteY137" fmla="*/ 2924175 h 5060875"/>
                <a:gd name="connsiteX138" fmla="*/ 3457883 w 4877875"/>
                <a:gd name="connsiteY138" fmla="*/ 2933700 h 5060875"/>
                <a:gd name="connsiteX139" fmla="*/ 3429308 w 4877875"/>
                <a:gd name="connsiteY139" fmla="*/ 2952750 h 5060875"/>
                <a:gd name="connsiteX140" fmla="*/ 3400733 w 4877875"/>
                <a:gd name="connsiteY140" fmla="*/ 2962275 h 5060875"/>
                <a:gd name="connsiteX141" fmla="*/ 3315008 w 4877875"/>
                <a:gd name="connsiteY141" fmla="*/ 3009900 h 5060875"/>
                <a:gd name="connsiteX142" fmla="*/ 3257858 w 4877875"/>
                <a:gd name="connsiteY142" fmla="*/ 3000375 h 5060875"/>
                <a:gd name="connsiteX143" fmla="*/ 3229283 w 4877875"/>
                <a:gd name="connsiteY143" fmla="*/ 2971800 h 5060875"/>
                <a:gd name="connsiteX144" fmla="*/ 3124508 w 4877875"/>
                <a:gd name="connsiteY144" fmla="*/ 2981325 h 5060875"/>
                <a:gd name="connsiteX145" fmla="*/ 3067358 w 4877875"/>
                <a:gd name="connsiteY145" fmla="*/ 3048000 h 5060875"/>
                <a:gd name="connsiteX146" fmla="*/ 3038783 w 4877875"/>
                <a:gd name="connsiteY146" fmla="*/ 3057525 h 5060875"/>
                <a:gd name="connsiteX147" fmla="*/ 2972108 w 4877875"/>
                <a:gd name="connsiteY147" fmla="*/ 3048000 h 5060875"/>
                <a:gd name="connsiteX148" fmla="*/ 2876858 w 4877875"/>
                <a:gd name="connsiteY148" fmla="*/ 3028950 h 5060875"/>
                <a:gd name="connsiteX149" fmla="*/ 2819708 w 4877875"/>
                <a:gd name="connsiteY149" fmla="*/ 3019425 h 5060875"/>
                <a:gd name="connsiteX150" fmla="*/ 2791133 w 4877875"/>
                <a:gd name="connsiteY150" fmla="*/ 3009900 h 5060875"/>
                <a:gd name="connsiteX151" fmla="*/ 2733983 w 4877875"/>
                <a:gd name="connsiteY151" fmla="*/ 2981325 h 5060875"/>
                <a:gd name="connsiteX152" fmla="*/ 2619683 w 4877875"/>
                <a:gd name="connsiteY152" fmla="*/ 3000375 h 5060875"/>
                <a:gd name="connsiteX153" fmla="*/ 2562533 w 4877875"/>
                <a:gd name="connsiteY153" fmla="*/ 3038475 h 5060875"/>
                <a:gd name="connsiteX154" fmla="*/ 2572058 w 4877875"/>
                <a:gd name="connsiteY154" fmla="*/ 3067050 h 5060875"/>
                <a:gd name="connsiteX155" fmla="*/ 2629208 w 4877875"/>
                <a:gd name="connsiteY155" fmla="*/ 3114675 h 5060875"/>
                <a:gd name="connsiteX156" fmla="*/ 2638733 w 4877875"/>
                <a:gd name="connsiteY156" fmla="*/ 3162300 h 5060875"/>
                <a:gd name="connsiteX157" fmla="*/ 2648258 w 4877875"/>
                <a:gd name="connsiteY157" fmla="*/ 3333750 h 5060875"/>
                <a:gd name="connsiteX158" fmla="*/ 2667308 w 4877875"/>
                <a:gd name="connsiteY158" fmla="*/ 3371850 h 5060875"/>
                <a:gd name="connsiteX159" fmla="*/ 2619683 w 4877875"/>
                <a:gd name="connsiteY159" fmla="*/ 3429000 h 5060875"/>
                <a:gd name="connsiteX160" fmla="*/ 2572058 w 4877875"/>
                <a:gd name="connsiteY160" fmla="*/ 3448050 h 5060875"/>
                <a:gd name="connsiteX161" fmla="*/ 2610158 w 4877875"/>
                <a:gd name="connsiteY161" fmla="*/ 3505200 h 5060875"/>
                <a:gd name="connsiteX162" fmla="*/ 2638733 w 4877875"/>
                <a:gd name="connsiteY162" fmla="*/ 3562350 h 5060875"/>
                <a:gd name="connsiteX163" fmla="*/ 2610158 w 4877875"/>
                <a:gd name="connsiteY163" fmla="*/ 3600450 h 5060875"/>
                <a:gd name="connsiteX164" fmla="*/ 2638733 w 4877875"/>
                <a:gd name="connsiteY164" fmla="*/ 3781425 h 5060875"/>
                <a:gd name="connsiteX165" fmla="*/ 2648258 w 4877875"/>
                <a:gd name="connsiteY165" fmla="*/ 3838575 h 5060875"/>
                <a:gd name="connsiteX166" fmla="*/ 2714933 w 4877875"/>
                <a:gd name="connsiteY166" fmla="*/ 3867150 h 5060875"/>
                <a:gd name="connsiteX167" fmla="*/ 2733983 w 4877875"/>
                <a:gd name="connsiteY167" fmla="*/ 3905250 h 5060875"/>
                <a:gd name="connsiteX168" fmla="*/ 2772083 w 4877875"/>
                <a:gd name="connsiteY168" fmla="*/ 3962400 h 5060875"/>
                <a:gd name="connsiteX169" fmla="*/ 2781608 w 4877875"/>
                <a:gd name="connsiteY169" fmla="*/ 4057650 h 5060875"/>
                <a:gd name="connsiteX170" fmla="*/ 2800658 w 4877875"/>
                <a:gd name="connsiteY170" fmla="*/ 4086225 h 5060875"/>
                <a:gd name="connsiteX171" fmla="*/ 2819708 w 4877875"/>
                <a:gd name="connsiteY171" fmla="*/ 4210050 h 5060875"/>
                <a:gd name="connsiteX172" fmla="*/ 2895908 w 4877875"/>
                <a:gd name="connsiteY172" fmla="*/ 4295775 h 5060875"/>
                <a:gd name="connsiteX173" fmla="*/ 2914958 w 4877875"/>
                <a:gd name="connsiteY173" fmla="*/ 4324350 h 5060875"/>
                <a:gd name="connsiteX174" fmla="*/ 2934008 w 4877875"/>
                <a:gd name="connsiteY174" fmla="*/ 4391025 h 5060875"/>
                <a:gd name="connsiteX175" fmla="*/ 2905433 w 4877875"/>
                <a:gd name="connsiteY175" fmla="*/ 4400550 h 5060875"/>
                <a:gd name="connsiteX176" fmla="*/ 2848283 w 4877875"/>
                <a:gd name="connsiteY176" fmla="*/ 4448175 h 5060875"/>
                <a:gd name="connsiteX177" fmla="*/ 2838758 w 4877875"/>
                <a:gd name="connsiteY177" fmla="*/ 4476750 h 5060875"/>
                <a:gd name="connsiteX178" fmla="*/ 2838758 w 4877875"/>
                <a:gd name="connsiteY178" fmla="*/ 4581525 h 5060875"/>
                <a:gd name="connsiteX179" fmla="*/ 2800658 w 4877875"/>
                <a:gd name="connsiteY179" fmla="*/ 4591050 h 5060875"/>
                <a:gd name="connsiteX180" fmla="*/ 2781608 w 4877875"/>
                <a:gd name="connsiteY180" fmla="*/ 4619625 h 5060875"/>
                <a:gd name="connsiteX181" fmla="*/ 2800658 w 4877875"/>
                <a:gd name="connsiteY181" fmla="*/ 4800600 h 5060875"/>
                <a:gd name="connsiteX182" fmla="*/ 2819708 w 4877875"/>
                <a:gd name="connsiteY182" fmla="*/ 4829175 h 5060875"/>
                <a:gd name="connsiteX183" fmla="*/ 2810183 w 4877875"/>
                <a:gd name="connsiteY183" fmla="*/ 4857750 h 5060875"/>
                <a:gd name="connsiteX184" fmla="*/ 2705408 w 4877875"/>
                <a:gd name="connsiteY184" fmla="*/ 4838700 h 5060875"/>
                <a:gd name="connsiteX185" fmla="*/ 2676833 w 4877875"/>
                <a:gd name="connsiteY185" fmla="*/ 4819650 h 5060875"/>
                <a:gd name="connsiteX186" fmla="*/ 2457758 w 4877875"/>
                <a:gd name="connsiteY186" fmla="*/ 4791075 h 5060875"/>
                <a:gd name="connsiteX187" fmla="*/ 2438708 w 4877875"/>
                <a:gd name="connsiteY187" fmla="*/ 4762500 h 5060875"/>
                <a:gd name="connsiteX188" fmla="*/ 2410133 w 4877875"/>
                <a:gd name="connsiteY188" fmla="*/ 4791075 h 5060875"/>
                <a:gd name="connsiteX189" fmla="*/ 2372033 w 4877875"/>
                <a:gd name="connsiteY189" fmla="*/ 4848225 h 5060875"/>
                <a:gd name="connsiteX190" fmla="*/ 2314883 w 4877875"/>
                <a:gd name="connsiteY190" fmla="*/ 4886325 h 5060875"/>
                <a:gd name="connsiteX191" fmla="*/ 2229158 w 4877875"/>
                <a:gd name="connsiteY191" fmla="*/ 4953000 h 5060875"/>
                <a:gd name="connsiteX192" fmla="*/ 2124383 w 4877875"/>
                <a:gd name="connsiteY192" fmla="*/ 4953000 h 5060875"/>
                <a:gd name="connsiteX193" fmla="*/ 2114858 w 4877875"/>
                <a:gd name="connsiteY193" fmla="*/ 4991100 h 5060875"/>
                <a:gd name="connsiteX194" fmla="*/ 2105333 w 4877875"/>
                <a:gd name="connsiteY194" fmla="*/ 5019675 h 5060875"/>
                <a:gd name="connsiteX195" fmla="*/ 2076758 w 4877875"/>
                <a:gd name="connsiteY195" fmla="*/ 5029200 h 5060875"/>
                <a:gd name="connsiteX196" fmla="*/ 1905308 w 4877875"/>
                <a:gd name="connsiteY196" fmla="*/ 5048250 h 5060875"/>
                <a:gd name="connsiteX197" fmla="*/ 1829108 w 4877875"/>
                <a:gd name="connsiteY197" fmla="*/ 5057775 h 5060875"/>
                <a:gd name="connsiteX198" fmla="*/ 1733858 w 4877875"/>
                <a:gd name="connsiteY198" fmla="*/ 5048250 h 5060875"/>
                <a:gd name="connsiteX199" fmla="*/ 1714808 w 4877875"/>
                <a:gd name="connsiteY199" fmla="*/ 4886325 h 5060875"/>
                <a:gd name="connsiteX200" fmla="*/ 1676708 w 4877875"/>
                <a:gd name="connsiteY200" fmla="*/ 4829175 h 5060875"/>
                <a:gd name="connsiteX201" fmla="*/ 1657658 w 4877875"/>
                <a:gd name="connsiteY201" fmla="*/ 4800600 h 5060875"/>
                <a:gd name="connsiteX202" fmla="*/ 1600508 w 4877875"/>
                <a:gd name="connsiteY202" fmla="*/ 4743450 h 5060875"/>
                <a:gd name="connsiteX203" fmla="*/ 1590983 w 4877875"/>
                <a:gd name="connsiteY203" fmla="*/ 4714875 h 5060875"/>
                <a:gd name="connsiteX204" fmla="*/ 1581458 w 4877875"/>
                <a:gd name="connsiteY204" fmla="*/ 4648200 h 5060875"/>
                <a:gd name="connsiteX205" fmla="*/ 1524308 w 4877875"/>
                <a:gd name="connsiteY205" fmla="*/ 4610100 h 5060875"/>
                <a:gd name="connsiteX206" fmla="*/ 1467158 w 4877875"/>
                <a:gd name="connsiteY206" fmla="*/ 4591050 h 5060875"/>
                <a:gd name="connsiteX207" fmla="*/ 1438583 w 4877875"/>
                <a:gd name="connsiteY207" fmla="*/ 4600575 h 5060875"/>
                <a:gd name="connsiteX208" fmla="*/ 1410008 w 4877875"/>
                <a:gd name="connsiteY208" fmla="*/ 4619625 h 5060875"/>
                <a:gd name="connsiteX209" fmla="*/ 1362383 w 4877875"/>
                <a:gd name="connsiteY209" fmla="*/ 4610100 h 5060875"/>
                <a:gd name="connsiteX210" fmla="*/ 1305233 w 4877875"/>
                <a:gd name="connsiteY210" fmla="*/ 4572000 h 5060875"/>
                <a:gd name="connsiteX211" fmla="*/ 1276658 w 4877875"/>
                <a:gd name="connsiteY211" fmla="*/ 4552950 h 5060875"/>
                <a:gd name="connsiteX212" fmla="*/ 1305233 w 4877875"/>
                <a:gd name="connsiteY212" fmla="*/ 4524375 h 5060875"/>
                <a:gd name="connsiteX213" fmla="*/ 1333808 w 4877875"/>
                <a:gd name="connsiteY213" fmla="*/ 4514850 h 5060875"/>
                <a:gd name="connsiteX214" fmla="*/ 1305233 w 4877875"/>
                <a:gd name="connsiteY214" fmla="*/ 4486275 h 5060875"/>
                <a:gd name="connsiteX215" fmla="*/ 1238558 w 4877875"/>
                <a:gd name="connsiteY215" fmla="*/ 4448175 h 5060875"/>
                <a:gd name="connsiteX216" fmla="*/ 1209983 w 4877875"/>
                <a:gd name="connsiteY216" fmla="*/ 4419600 h 5060875"/>
                <a:gd name="connsiteX217" fmla="*/ 1181408 w 4877875"/>
                <a:gd name="connsiteY217" fmla="*/ 4400550 h 5060875"/>
                <a:gd name="connsiteX218" fmla="*/ 1162358 w 4877875"/>
                <a:gd name="connsiteY218" fmla="*/ 4371975 h 5060875"/>
                <a:gd name="connsiteX219" fmla="*/ 1086158 w 4877875"/>
                <a:gd name="connsiteY219" fmla="*/ 4352925 h 5060875"/>
                <a:gd name="connsiteX220" fmla="*/ 1067108 w 4877875"/>
                <a:gd name="connsiteY220" fmla="*/ 4248150 h 5060875"/>
                <a:gd name="connsiteX221" fmla="*/ 1057583 w 4877875"/>
                <a:gd name="connsiteY221" fmla="*/ 4219575 h 5060875"/>
                <a:gd name="connsiteX222" fmla="*/ 1029008 w 4877875"/>
                <a:gd name="connsiteY222" fmla="*/ 4210050 h 5060875"/>
                <a:gd name="connsiteX223" fmla="*/ 962333 w 4877875"/>
                <a:gd name="connsiteY223" fmla="*/ 4133850 h 5060875"/>
                <a:gd name="connsiteX224" fmla="*/ 895658 w 4877875"/>
                <a:gd name="connsiteY224" fmla="*/ 4114800 h 5060875"/>
                <a:gd name="connsiteX225" fmla="*/ 838508 w 4877875"/>
                <a:gd name="connsiteY225" fmla="*/ 4124325 h 5060875"/>
                <a:gd name="connsiteX226" fmla="*/ 809933 w 4877875"/>
                <a:gd name="connsiteY226" fmla="*/ 4143375 h 5060875"/>
                <a:gd name="connsiteX227" fmla="*/ 781358 w 4877875"/>
                <a:gd name="connsiteY227" fmla="*/ 4152900 h 5060875"/>
                <a:gd name="connsiteX228" fmla="*/ 705158 w 4877875"/>
                <a:gd name="connsiteY228" fmla="*/ 4171950 h 5060875"/>
                <a:gd name="connsiteX229" fmla="*/ 676583 w 4877875"/>
                <a:gd name="connsiteY229" fmla="*/ 4191000 h 5060875"/>
                <a:gd name="connsiteX230" fmla="*/ 619433 w 4877875"/>
                <a:gd name="connsiteY230" fmla="*/ 4210050 h 5060875"/>
                <a:gd name="connsiteX231" fmla="*/ 628958 w 4877875"/>
                <a:gd name="connsiteY231" fmla="*/ 4248150 h 5060875"/>
                <a:gd name="connsiteX232" fmla="*/ 609908 w 4877875"/>
                <a:gd name="connsiteY232" fmla="*/ 4219575 h 5060875"/>
                <a:gd name="connsiteX233" fmla="*/ 581333 w 4877875"/>
                <a:gd name="connsiteY233" fmla="*/ 4181475 h 5060875"/>
                <a:gd name="connsiteX234" fmla="*/ 571808 w 4877875"/>
                <a:gd name="connsiteY234" fmla="*/ 4114800 h 5060875"/>
                <a:gd name="connsiteX235" fmla="*/ 562283 w 4877875"/>
                <a:gd name="connsiteY235" fmla="*/ 4086225 h 5060875"/>
                <a:gd name="connsiteX236" fmla="*/ 552758 w 4877875"/>
                <a:gd name="connsiteY236" fmla="*/ 4048125 h 5060875"/>
                <a:gd name="connsiteX237" fmla="*/ 543233 w 4877875"/>
                <a:gd name="connsiteY237" fmla="*/ 4000500 h 5060875"/>
                <a:gd name="connsiteX238" fmla="*/ 514658 w 4877875"/>
                <a:gd name="connsiteY238" fmla="*/ 3971925 h 5060875"/>
                <a:gd name="connsiteX239" fmla="*/ 476558 w 4877875"/>
                <a:gd name="connsiteY239" fmla="*/ 3905250 h 5060875"/>
                <a:gd name="connsiteX240" fmla="*/ 486083 w 4877875"/>
                <a:gd name="connsiteY240" fmla="*/ 3838575 h 5060875"/>
                <a:gd name="connsiteX241" fmla="*/ 495608 w 4877875"/>
                <a:gd name="connsiteY241" fmla="*/ 3810000 h 5060875"/>
                <a:gd name="connsiteX242" fmla="*/ 467033 w 4877875"/>
                <a:gd name="connsiteY242" fmla="*/ 3724275 h 5060875"/>
                <a:gd name="connsiteX243" fmla="*/ 428933 w 4877875"/>
                <a:gd name="connsiteY243" fmla="*/ 3657600 h 5060875"/>
                <a:gd name="connsiteX244" fmla="*/ 419408 w 4877875"/>
                <a:gd name="connsiteY244" fmla="*/ 3629025 h 5060875"/>
                <a:gd name="connsiteX245" fmla="*/ 400358 w 4877875"/>
                <a:gd name="connsiteY245" fmla="*/ 3600450 h 5060875"/>
                <a:gd name="connsiteX246" fmla="*/ 390833 w 4877875"/>
                <a:gd name="connsiteY246" fmla="*/ 3476625 h 5060875"/>
                <a:gd name="connsiteX247" fmla="*/ 400358 w 4877875"/>
                <a:gd name="connsiteY247" fmla="*/ 3314700 h 5060875"/>
                <a:gd name="connsiteX248" fmla="*/ 409883 w 4877875"/>
                <a:gd name="connsiteY248" fmla="*/ 3286125 h 5060875"/>
                <a:gd name="connsiteX249" fmla="*/ 438458 w 4877875"/>
                <a:gd name="connsiteY249" fmla="*/ 3267075 h 5060875"/>
                <a:gd name="connsiteX250" fmla="*/ 476558 w 4877875"/>
                <a:gd name="connsiteY250" fmla="*/ 3238500 h 5060875"/>
                <a:gd name="connsiteX251" fmla="*/ 467033 w 4877875"/>
                <a:gd name="connsiteY251" fmla="*/ 3200400 h 5060875"/>
                <a:gd name="connsiteX252" fmla="*/ 447983 w 4877875"/>
                <a:gd name="connsiteY252" fmla="*/ 3143250 h 5060875"/>
                <a:gd name="connsiteX253" fmla="*/ 419408 w 4877875"/>
                <a:gd name="connsiteY253" fmla="*/ 3124200 h 5060875"/>
                <a:gd name="connsiteX254" fmla="*/ 381308 w 4877875"/>
                <a:gd name="connsiteY254" fmla="*/ 3114675 h 5060875"/>
                <a:gd name="connsiteX255" fmla="*/ 352733 w 4877875"/>
                <a:gd name="connsiteY255" fmla="*/ 3105150 h 5060875"/>
                <a:gd name="connsiteX256" fmla="*/ 343208 w 4877875"/>
                <a:gd name="connsiteY256" fmla="*/ 2981325 h 5060875"/>
                <a:gd name="connsiteX257" fmla="*/ 314633 w 4877875"/>
                <a:gd name="connsiteY257" fmla="*/ 2971800 h 5060875"/>
                <a:gd name="connsiteX258" fmla="*/ 352733 w 4877875"/>
                <a:gd name="connsiteY258" fmla="*/ 2905125 h 5060875"/>
                <a:gd name="connsiteX259" fmla="*/ 371783 w 4877875"/>
                <a:gd name="connsiteY259" fmla="*/ 2876550 h 5060875"/>
                <a:gd name="connsiteX260" fmla="*/ 362258 w 4877875"/>
                <a:gd name="connsiteY260" fmla="*/ 2847975 h 5060875"/>
                <a:gd name="connsiteX261" fmla="*/ 371783 w 4877875"/>
                <a:gd name="connsiteY261" fmla="*/ 2809875 h 5060875"/>
                <a:gd name="connsiteX262" fmla="*/ 324158 w 4877875"/>
                <a:gd name="connsiteY262" fmla="*/ 2752725 h 5060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</a:cxnLst>
              <a:rect l="l" t="t" r="r" b="b"/>
              <a:pathLst>
                <a:path w="4877875" h="5060875">
                  <a:moveTo>
                    <a:pt x="371783" y="2771775"/>
                  </a:moveTo>
                  <a:cubicBezTo>
                    <a:pt x="352733" y="2768600"/>
                    <a:pt x="333946" y="2762250"/>
                    <a:pt x="314633" y="2762250"/>
                  </a:cubicBezTo>
                  <a:cubicBezTo>
                    <a:pt x="238547" y="2762250"/>
                    <a:pt x="214809" y="2768880"/>
                    <a:pt x="152708" y="2781300"/>
                  </a:cubicBezTo>
                  <a:cubicBezTo>
                    <a:pt x="127308" y="2778125"/>
                    <a:pt x="100275" y="2781282"/>
                    <a:pt x="76508" y="2771775"/>
                  </a:cubicBezTo>
                  <a:cubicBezTo>
                    <a:pt x="65879" y="2767523"/>
                    <a:pt x="65553" y="2751295"/>
                    <a:pt x="57458" y="2743200"/>
                  </a:cubicBezTo>
                  <a:cubicBezTo>
                    <a:pt x="49363" y="2735105"/>
                    <a:pt x="38408" y="2730500"/>
                    <a:pt x="28883" y="2724150"/>
                  </a:cubicBezTo>
                  <a:cubicBezTo>
                    <a:pt x="25708" y="2714625"/>
                    <a:pt x="23848" y="2704555"/>
                    <a:pt x="19358" y="2695575"/>
                  </a:cubicBezTo>
                  <a:cubicBezTo>
                    <a:pt x="14238" y="2685336"/>
                    <a:pt x="-2468" y="2678106"/>
                    <a:pt x="308" y="2667000"/>
                  </a:cubicBezTo>
                  <a:cubicBezTo>
                    <a:pt x="2743" y="2657260"/>
                    <a:pt x="19143" y="2659910"/>
                    <a:pt x="28883" y="2657475"/>
                  </a:cubicBezTo>
                  <a:cubicBezTo>
                    <a:pt x="44589" y="2653548"/>
                    <a:pt x="60430" y="2649842"/>
                    <a:pt x="76508" y="2647950"/>
                  </a:cubicBezTo>
                  <a:cubicBezTo>
                    <a:pt x="114478" y="2643483"/>
                    <a:pt x="152708" y="2641600"/>
                    <a:pt x="190808" y="2638425"/>
                  </a:cubicBezTo>
                  <a:cubicBezTo>
                    <a:pt x="206683" y="2632075"/>
                    <a:pt x="222424" y="2625378"/>
                    <a:pt x="238433" y="2619375"/>
                  </a:cubicBezTo>
                  <a:cubicBezTo>
                    <a:pt x="247834" y="2615850"/>
                    <a:pt x="258028" y="2614340"/>
                    <a:pt x="267008" y="2609850"/>
                  </a:cubicBezTo>
                  <a:cubicBezTo>
                    <a:pt x="340866" y="2572921"/>
                    <a:pt x="252334" y="2605216"/>
                    <a:pt x="324158" y="2581275"/>
                  </a:cubicBezTo>
                  <a:cubicBezTo>
                    <a:pt x="333683" y="2571750"/>
                    <a:pt x="344109" y="2563048"/>
                    <a:pt x="352733" y="2552700"/>
                  </a:cubicBezTo>
                  <a:cubicBezTo>
                    <a:pt x="360062" y="2543906"/>
                    <a:pt x="367550" y="2534179"/>
                    <a:pt x="371783" y="2524125"/>
                  </a:cubicBezTo>
                  <a:cubicBezTo>
                    <a:pt x="376016" y="2514071"/>
                    <a:pt x="368608" y="2498725"/>
                    <a:pt x="378133" y="2492375"/>
                  </a:cubicBezTo>
                  <a:cubicBezTo>
                    <a:pt x="410039" y="2444516"/>
                    <a:pt x="376016" y="2441046"/>
                    <a:pt x="390833" y="2416175"/>
                  </a:cubicBezTo>
                  <a:cubicBezTo>
                    <a:pt x="405650" y="2391304"/>
                    <a:pt x="449571" y="2361671"/>
                    <a:pt x="467033" y="2343150"/>
                  </a:cubicBezTo>
                  <a:cubicBezTo>
                    <a:pt x="484496" y="2324629"/>
                    <a:pt x="486381" y="2317968"/>
                    <a:pt x="495608" y="2305050"/>
                  </a:cubicBezTo>
                  <a:cubicBezTo>
                    <a:pt x="502262" y="2295735"/>
                    <a:pt x="507053" y="2285031"/>
                    <a:pt x="514658" y="2276475"/>
                  </a:cubicBezTo>
                  <a:cubicBezTo>
                    <a:pt x="532556" y="2256339"/>
                    <a:pt x="552758" y="2238375"/>
                    <a:pt x="571808" y="2219325"/>
                  </a:cubicBezTo>
                  <a:cubicBezTo>
                    <a:pt x="635308" y="2155825"/>
                    <a:pt x="543233" y="2222500"/>
                    <a:pt x="619433" y="2171700"/>
                  </a:cubicBezTo>
                  <a:cubicBezTo>
                    <a:pt x="648722" y="2113122"/>
                    <a:pt x="630607" y="2145414"/>
                    <a:pt x="676583" y="2076450"/>
                  </a:cubicBezTo>
                  <a:cubicBezTo>
                    <a:pt x="682152" y="2068096"/>
                    <a:pt x="683223" y="2057492"/>
                    <a:pt x="686108" y="2047875"/>
                  </a:cubicBezTo>
                  <a:cubicBezTo>
                    <a:pt x="692750" y="2025735"/>
                    <a:pt x="698808" y="2003425"/>
                    <a:pt x="705158" y="1981200"/>
                  </a:cubicBezTo>
                  <a:cubicBezTo>
                    <a:pt x="713271" y="1875733"/>
                    <a:pt x="707602" y="1884476"/>
                    <a:pt x="724208" y="1809750"/>
                  </a:cubicBezTo>
                  <a:cubicBezTo>
                    <a:pt x="727048" y="1796971"/>
                    <a:pt x="727238" y="1783016"/>
                    <a:pt x="733733" y="1771650"/>
                  </a:cubicBezTo>
                  <a:cubicBezTo>
                    <a:pt x="740416" y="1759954"/>
                    <a:pt x="752783" y="1752600"/>
                    <a:pt x="762308" y="1743075"/>
                  </a:cubicBezTo>
                  <a:cubicBezTo>
                    <a:pt x="791441" y="1655675"/>
                    <a:pt x="742743" y="1791730"/>
                    <a:pt x="800408" y="1676400"/>
                  </a:cubicBezTo>
                  <a:cubicBezTo>
                    <a:pt x="819271" y="1638674"/>
                    <a:pt x="810490" y="1618693"/>
                    <a:pt x="838508" y="1590675"/>
                  </a:cubicBezTo>
                  <a:cubicBezTo>
                    <a:pt x="846603" y="1582580"/>
                    <a:pt x="857144" y="1577305"/>
                    <a:pt x="867083" y="1571625"/>
                  </a:cubicBezTo>
                  <a:cubicBezTo>
                    <a:pt x="879411" y="1564580"/>
                    <a:pt x="892483" y="1558925"/>
                    <a:pt x="905183" y="1552575"/>
                  </a:cubicBezTo>
                  <a:cubicBezTo>
                    <a:pt x="917883" y="1533525"/>
                    <a:pt x="927094" y="1511614"/>
                    <a:pt x="943283" y="1495425"/>
                  </a:cubicBezTo>
                  <a:cubicBezTo>
                    <a:pt x="952808" y="1485900"/>
                    <a:pt x="963588" y="1477483"/>
                    <a:pt x="971858" y="1466850"/>
                  </a:cubicBezTo>
                  <a:cubicBezTo>
                    <a:pt x="985914" y="1448778"/>
                    <a:pt x="1002718" y="1431420"/>
                    <a:pt x="1009958" y="1409700"/>
                  </a:cubicBezTo>
                  <a:cubicBezTo>
                    <a:pt x="1013133" y="1400175"/>
                    <a:pt x="1013914" y="1389479"/>
                    <a:pt x="1019483" y="1381125"/>
                  </a:cubicBezTo>
                  <a:cubicBezTo>
                    <a:pt x="1026955" y="1369917"/>
                    <a:pt x="1040228" y="1363511"/>
                    <a:pt x="1048058" y="1352550"/>
                  </a:cubicBezTo>
                  <a:cubicBezTo>
                    <a:pt x="1056311" y="1340996"/>
                    <a:pt x="1060063" y="1326778"/>
                    <a:pt x="1067108" y="1314450"/>
                  </a:cubicBezTo>
                  <a:cubicBezTo>
                    <a:pt x="1080871" y="1290364"/>
                    <a:pt x="1098833" y="1270490"/>
                    <a:pt x="1114733" y="1247775"/>
                  </a:cubicBezTo>
                  <a:cubicBezTo>
                    <a:pt x="1134427" y="1219640"/>
                    <a:pt x="1152833" y="1190625"/>
                    <a:pt x="1171883" y="1162050"/>
                  </a:cubicBezTo>
                  <a:cubicBezTo>
                    <a:pt x="1183022" y="1145342"/>
                    <a:pt x="1184583" y="1123950"/>
                    <a:pt x="1190933" y="1104900"/>
                  </a:cubicBezTo>
                  <a:lnTo>
                    <a:pt x="1209983" y="1047750"/>
                  </a:lnTo>
                  <a:cubicBezTo>
                    <a:pt x="1215746" y="1030460"/>
                    <a:pt x="1245365" y="1000803"/>
                    <a:pt x="1257608" y="990600"/>
                  </a:cubicBezTo>
                  <a:cubicBezTo>
                    <a:pt x="1266402" y="983271"/>
                    <a:pt x="1275077" y="974326"/>
                    <a:pt x="1286183" y="971550"/>
                  </a:cubicBezTo>
                  <a:cubicBezTo>
                    <a:pt x="1314075" y="964577"/>
                    <a:pt x="1343333" y="965200"/>
                    <a:pt x="1371908" y="962025"/>
                  </a:cubicBezTo>
                  <a:cubicBezTo>
                    <a:pt x="1404365" y="949042"/>
                    <a:pt x="1439908" y="937757"/>
                    <a:pt x="1467158" y="914400"/>
                  </a:cubicBezTo>
                  <a:cubicBezTo>
                    <a:pt x="1475850" y="906950"/>
                    <a:pt x="1478113" y="893920"/>
                    <a:pt x="1486208" y="885825"/>
                  </a:cubicBezTo>
                  <a:cubicBezTo>
                    <a:pt x="1494303" y="877730"/>
                    <a:pt x="1505258" y="873125"/>
                    <a:pt x="1514783" y="866775"/>
                  </a:cubicBezTo>
                  <a:cubicBezTo>
                    <a:pt x="1552291" y="773006"/>
                    <a:pt x="1510095" y="852413"/>
                    <a:pt x="1562408" y="800100"/>
                  </a:cubicBezTo>
                  <a:cubicBezTo>
                    <a:pt x="1570503" y="792005"/>
                    <a:pt x="1572843" y="779063"/>
                    <a:pt x="1581458" y="771525"/>
                  </a:cubicBezTo>
                  <a:cubicBezTo>
                    <a:pt x="1626909" y="731755"/>
                    <a:pt x="1641802" y="732360"/>
                    <a:pt x="1695758" y="714375"/>
                  </a:cubicBezTo>
                  <a:cubicBezTo>
                    <a:pt x="1705283" y="711200"/>
                    <a:pt x="1714370" y="706095"/>
                    <a:pt x="1724333" y="704850"/>
                  </a:cubicBezTo>
                  <a:cubicBezTo>
                    <a:pt x="1813523" y="693701"/>
                    <a:pt x="1775700" y="701533"/>
                    <a:pt x="1838633" y="685800"/>
                  </a:cubicBezTo>
                  <a:cubicBezTo>
                    <a:pt x="1848158" y="679450"/>
                    <a:pt x="1858652" y="674355"/>
                    <a:pt x="1867208" y="666750"/>
                  </a:cubicBezTo>
                  <a:cubicBezTo>
                    <a:pt x="1887344" y="648852"/>
                    <a:pt x="1901942" y="624544"/>
                    <a:pt x="1924358" y="609600"/>
                  </a:cubicBezTo>
                  <a:cubicBezTo>
                    <a:pt x="1940583" y="598783"/>
                    <a:pt x="1979218" y="573790"/>
                    <a:pt x="1991033" y="561975"/>
                  </a:cubicBezTo>
                  <a:cubicBezTo>
                    <a:pt x="2002258" y="550750"/>
                    <a:pt x="2008929" y="535622"/>
                    <a:pt x="2019608" y="523875"/>
                  </a:cubicBezTo>
                  <a:cubicBezTo>
                    <a:pt x="2040751" y="500618"/>
                    <a:pt x="2064058" y="479425"/>
                    <a:pt x="2086283" y="457200"/>
                  </a:cubicBezTo>
                  <a:cubicBezTo>
                    <a:pt x="2102472" y="441011"/>
                    <a:pt x="2108194" y="416239"/>
                    <a:pt x="2124383" y="400050"/>
                  </a:cubicBezTo>
                  <a:cubicBezTo>
                    <a:pt x="2166049" y="358384"/>
                    <a:pt x="2146028" y="383026"/>
                    <a:pt x="2181533" y="323850"/>
                  </a:cubicBezTo>
                  <a:cubicBezTo>
                    <a:pt x="2184708" y="304800"/>
                    <a:pt x="2187603" y="285701"/>
                    <a:pt x="2191058" y="266700"/>
                  </a:cubicBezTo>
                  <a:cubicBezTo>
                    <a:pt x="2194163" y="249621"/>
                    <a:pt x="2200666" y="209384"/>
                    <a:pt x="2210108" y="190500"/>
                  </a:cubicBezTo>
                  <a:cubicBezTo>
                    <a:pt x="2215228" y="180261"/>
                    <a:pt x="2221553" y="170481"/>
                    <a:pt x="2229158" y="161925"/>
                  </a:cubicBezTo>
                  <a:cubicBezTo>
                    <a:pt x="2247056" y="141789"/>
                    <a:pt x="2271364" y="127191"/>
                    <a:pt x="2286308" y="104775"/>
                  </a:cubicBezTo>
                  <a:cubicBezTo>
                    <a:pt x="2298165" y="86990"/>
                    <a:pt x="2314520" y="58410"/>
                    <a:pt x="2333933" y="47625"/>
                  </a:cubicBezTo>
                  <a:lnTo>
                    <a:pt x="2419658" y="19050"/>
                  </a:lnTo>
                  <a:lnTo>
                    <a:pt x="2448233" y="9525"/>
                  </a:lnTo>
                  <a:lnTo>
                    <a:pt x="2476808" y="0"/>
                  </a:lnTo>
                  <a:cubicBezTo>
                    <a:pt x="2548528" y="7172"/>
                    <a:pt x="2558037" y="-6922"/>
                    <a:pt x="2600633" y="28575"/>
                  </a:cubicBezTo>
                  <a:cubicBezTo>
                    <a:pt x="2610981" y="37199"/>
                    <a:pt x="2619683" y="47625"/>
                    <a:pt x="2629208" y="57150"/>
                  </a:cubicBezTo>
                  <a:cubicBezTo>
                    <a:pt x="2655369" y="161796"/>
                    <a:pt x="2615719" y="30966"/>
                    <a:pt x="2667308" y="123825"/>
                  </a:cubicBezTo>
                  <a:cubicBezTo>
                    <a:pt x="2677060" y="141378"/>
                    <a:pt x="2686358" y="180975"/>
                    <a:pt x="2686358" y="180975"/>
                  </a:cubicBezTo>
                  <a:cubicBezTo>
                    <a:pt x="2689533" y="254000"/>
                    <a:pt x="2683464" y="328019"/>
                    <a:pt x="2695883" y="400050"/>
                  </a:cubicBezTo>
                  <a:cubicBezTo>
                    <a:pt x="2699773" y="422612"/>
                    <a:pt x="2733983" y="457200"/>
                    <a:pt x="2733983" y="457200"/>
                  </a:cubicBezTo>
                  <a:cubicBezTo>
                    <a:pt x="2813358" y="454025"/>
                    <a:pt x="2892858" y="453141"/>
                    <a:pt x="2972108" y="447675"/>
                  </a:cubicBezTo>
                  <a:cubicBezTo>
                    <a:pt x="2987188" y="446635"/>
                    <a:pt x="3022915" y="433914"/>
                    <a:pt x="3038783" y="428625"/>
                  </a:cubicBezTo>
                  <a:cubicBezTo>
                    <a:pt x="3086408" y="431800"/>
                    <a:pt x="3134577" y="430303"/>
                    <a:pt x="3181658" y="438150"/>
                  </a:cubicBezTo>
                  <a:cubicBezTo>
                    <a:pt x="3212138" y="443230"/>
                    <a:pt x="3211503" y="467995"/>
                    <a:pt x="3229283" y="485775"/>
                  </a:cubicBezTo>
                  <a:cubicBezTo>
                    <a:pt x="3237378" y="493870"/>
                    <a:pt x="3248333" y="498475"/>
                    <a:pt x="3257858" y="504825"/>
                  </a:cubicBezTo>
                  <a:cubicBezTo>
                    <a:pt x="3264208" y="523875"/>
                    <a:pt x="3265769" y="545267"/>
                    <a:pt x="3276908" y="561975"/>
                  </a:cubicBezTo>
                  <a:cubicBezTo>
                    <a:pt x="3283258" y="571500"/>
                    <a:pt x="3291309" y="580089"/>
                    <a:pt x="3295958" y="590550"/>
                  </a:cubicBezTo>
                  <a:cubicBezTo>
                    <a:pt x="3314635" y="632574"/>
                    <a:pt x="3307223" y="655500"/>
                    <a:pt x="3343583" y="685800"/>
                  </a:cubicBezTo>
                  <a:cubicBezTo>
                    <a:pt x="3351296" y="692228"/>
                    <a:pt x="3362633" y="692150"/>
                    <a:pt x="3372158" y="695325"/>
                  </a:cubicBezTo>
                  <a:cubicBezTo>
                    <a:pt x="3454050" y="749920"/>
                    <a:pt x="3350438" y="684465"/>
                    <a:pt x="3429308" y="723900"/>
                  </a:cubicBezTo>
                  <a:cubicBezTo>
                    <a:pt x="3455830" y="737161"/>
                    <a:pt x="3465392" y="750459"/>
                    <a:pt x="3486458" y="771525"/>
                  </a:cubicBezTo>
                  <a:cubicBezTo>
                    <a:pt x="3489633" y="781050"/>
                    <a:pt x="3489819" y="792175"/>
                    <a:pt x="3495983" y="800100"/>
                  </a:cubicBezTo>
                  <a:cubicBezTo>
                    <a:pt x="3533420" y="848234"/>
                    <a:pt x="3537567" y="854737"/>
                    <a:pt x="3581708" y="866775"/>
                  </a:cubicBezTo>
                  <a:cubicBezTo>
                    <a:pt x="3606967" y="873664"/>
                    <a:pt x="3657908" y="885825"/>
                    <a:pt x="3657908" y="885825"/>
                  </a:cubicBezTo>
                  <a:cubicBezTo>
                    <a:pt x="3693107" y="938623"/>
                    <a:pt x="3656819" y="896862"/>
                    <a:pt x="3705533" y="923925"/>
                  </a:cubicBezTo>
                  <a:cubicBezTo>
                    <a:pt x="3804226" y="978755"/>
                    <a:pt x="3717330" y="956356"/>
                    <a:pt x="3838883" y="971550"/>
                  </a:cubicBezTo>
                  <a:cubicBezTo>
                    <a:pt x="3857933" y="977900"/>
                    <a:pt x="3878480" y="980848"/>
                    <a:pt x="3896033" y="990600"/>
                  </a:cubicBezTo>
                  <a:cubicBezTo>
                    <a:pt x="3988892" y="1042189"/>
                    <a:pt x="3858062" y="1002539"/>
                    <a:pt x="3962708" y="1028700"/>
                  </a:cubicBezTo>
                  <a:cubicBezTo>
                    <a:pt x="3980851" y="1083129"/>
                    <a:pt x="3957265" y="1037771"/>
                    <a:pt x="4000808" y="1066800"/>
                  </a:cubicBezTo>
                  <a:cubicBezTo>
                    <a:pt x="4012016" y="1074272"/>
                    <a:pt x="4019035" y="1086751"/>
                    <a:pt x="4029383" y="1095375"/>
                  </a:cubicBezTo>
                  <a:cubicBezTo>
                    <a:pt x="4087116" y="1143486"/>
                    <a:pt x="4121296" y="1118151"/>
                    <a:pt x="4219883" y="1123950"/>
                  </a:cubicBezTo>
                  <a:cubicBezTo>
                    <a:pt x="4342119" y="1205440"/>
                    <a:pt x="4225737" y="1135154"/>
                    <a:pt x="4581833" y="1152525"/>
                  </a:cubicBezTo>
                  <a:cubicBezTo>
                    <a:pt x="4601123" y="1153466"/>
                    <a:pt x="4619933" y="1158875"/>
                    <a:pt x="4638983" y="1162050"/>
                  </a:cubicBezTo>
                  <a:cubicBezTo>
                    <a:pt x="4648508" y="1165225"/>
                    <a:pt x="4659718" y="1165303"/>
                    <a:pt x="4667558" y="1171575"/>
                  </a:cubicBezTo>
                  <a:cubicBezTo>
                    <a:pt x="4694431" y="1193074"/>
                    <a:pt x="4689601" y="1227906"/>
                    <a:pt x="4696133" y="1257300"/>
                  </a:cubicBezTo>
                  <a:cubicBezTo>
                    <a:pt x="4698311" y="1267101"/>
                    <a:pt x="4702483" y="1276350"/>
                    <a:pt x="4705658" y="1285875"/>
                  </a:cubicBezTo>
                  <a:cubicBezTo>
                    <a:pt x="4651063" y="1367767"/>
                    <a:pt x="4716518" y="1264155"/>
                    <a:pt x="4677083" y="1343025"/>
                  </a:cubicBezTo>
                  <a:cubicBezTo>
                    <a:pt x="4640154" y="1416883"/>
                    <a:pt x="4672449" y="1328351"/>
                    <a:pt x="4648508" y="1400175"/>
                  </a:cubicBezTo>
                  <a:cubicBezTo>
                    <a:pt x="4651683" y="1425575"/>
                    <a:pt x="4646585" y="1453480"/>
                    <a:pt x="4658033" y="1476375"/>
                  </a:cubicBezTo>
                  <a:cubicBezTo>
                    <a:pt x="4664383" y="1489075"/>
                    <a:pt x="4682950" y="1490152"/>
                    <a:pt x="4696133" y="1495425"/>
                  </a:cubicBezTo>
                  <a:cubicBezTo>
                    <a:pt x="4787863" y="1532117"/>
                    <a:pt x="4721100" y="1497397"/>
                    <a:pt x="4829483" y="1533525"/>
                  </a:cubicBezTo>
                  <a:lnTo>
                    <a:pt x="4858058" y="1543050"/>
                  </a:lnTo>
                  <a:cubicBezTo>
                    <a:pt x="4864408" y="1552575"/>
                    <a:pt x="4875844" y="1560247"/>
                    <a:pt x="4877108" y="1571625"/>
                  </a:cubicBezTo>
                  <a:cubicBezTo>
                    <a:pt x="4882803" y="1622882"/>
                    <a:pt x="4855790" y="1646464"/>
                    <a:pt x="4829483" y="1685925"/>
                  </a:cubicBezTo>
                  <a:cubicBezTo>
                    <a:pt x="4823914" y="1694279"/>
                    <a:pt x="4823913" y="1705272"/>
                    <a:pt x="4819958" y="1714500"/>
                  </a:cubicBezTo>
                  <a:cubicBezTo>
                    <a:pt x="4814365" y="1727551"/>
                    <a:pt x="4807953" y="1740272"/>
                    <a:pt x="4800908" y="1752600"/>
                  </a:cubicBezTo>
                  <a:cubicBezTo>
                    <a:pt x="4795228" y="1762539"/>
                    <a:pt x="4786978" y="1770936"/>
                    <a:pt x="4781858" y="1781175"/>
                  </a:cubicBezTo>
                  <a:cubicBezTo>
                    <a:pt x="4777368" y="1790155"/>
                    <a:pt x="4777902" y="1801396"/>
                    <a:pt x="4772333" y="1809750"/>
                  </a:cubicBezTo>
                  <a:cubicBezTo>
                    <a:pt x="4764861" y="1820958"/>
                    <a:pt x="4751588" y="1827364"/>
                    <a:pt x="4743758" y="1838325"/>
                  </a:cubicBezTo>
                  <a:cubicBezTo>
                    <a:pt x="4735505" y="1849879"/>
                    <a:pt x="4732013" y="1864249"/>
                    <a:pt x="4724708" y="1876425"/>
                  </a:cubicBezTo>
                  <a:cubicBezTo>
                    <a:pt x="4712928" y="1896058"/>
                    <a:pt x="4693848" y="1911855"/>
                    <a:pt x="4686608" y="1933575"/>
                  </a:cubicBezTo>
                  <a:cubicBezTo>
                    <a:pt x="4683433" y="1943100"/>
                    <a:pt x="4682652" y="1953796"/>
                    <a:pt x="4677083" y="1962150"/>
                  </a:cubicBezTo>
                  <a:cubicBezTo>
                    <a:pt x="4669611" y="1973358"/>
                    <a:pt x="4656778" y="1980092"/>
                    <a:pt x="4648508" y="1990725"/>
                  </a:cubicBezTo>
                  <a:cubicBezTo>
                    <a:pt x="4634452" y="2008797"/>
                    <a:pt x="4623108" y="2028825"/>
                    <a:pt x="4610408" y="2047875"/>
                  </a:cubicBezTo>
                  <a:cubicBezTo>
                    <a:pt x="4592502" y="2074734"/>
                    <a:pt x="4547390" y="2099412"/>
                    <a:pt x="4524683" y="2114550"/>
                  </a:cubicBezTo>
                  <a:cubicBezTo>
                    <a:pt x="4504783" y="2127817"/>
                    <a:pt x="4480738" y="2163619"/>
                    <a:pt x="4467533" y="2181225"/>
                  </a:cubicBezTo>
                  <a:cubicBezTo>
                    <a:pt x="4443592" y="2253049"/>
                    <a:pt x="4475887" y="2164517"/>
                    <a:pt x="4438958" y="2238375"/>
                  </a:cubicBezTo>
                  <a:cubicBezTo>
                    <a:pt x="4434468" y="2247355"/>
                    <a:pt x="4433923" y="2257970"/>
                    <a:pt x="4429433" y="2266950"/>
                  </a:cubicBezTo>
                  <a:cubicBezTo>
                    <a:pt x="4424313" y="2277189"/>
                    <a:pt x="4415032" y="2285064"/>
                    <a:pt x="4410383" y="2295525"/>
                  </a:cubicBezTo>
                  <a:lnTo>
                    <a:pt x="4381808" y="2381250"/>
                  </a:lnTo>
                  <a:cubicBezTo>
                    <a:pt x="4378188" y="2392110"/>
                    <a:pt x="4367407" y="2399364"/>
                    <a:pt x="4362758" y="2409825"/>
                  </a:cubicBezTo>
                  <a:cubicBezTo>
                    <a:pt x="4325462" y="2493740"/>
                    <a:pt x="4367289" y="2443394"/>
                    <a:pt x="4315133" y="2495550"/>
                  </a:cubicBezTo>
                  <a:cubicBezTo>
                    <a:pt x="4283621" y="2590085"/>
                    <a:pt x="4336491" y="2445676"/>
                    <a:pt x="4277033" y="2552700"/>
                  </a:cubicBezTo>
                  <a:cubicBezTo>
                    <a:pt x="4230359" y="2636713"/>
                    <a:pt x="4288375" y="2589589"/>
                    <a:pt x="4229408" y="2628900"/>
                  </a:cubicBezTo>
                  <a:cubicBezTo>
                    <a:pt x="4182110" y="2699846"/>
                    <a:pt x="4242899" y="2612711"/>
                    <a:pt x="4181783" y="2686050"/>
                  </a:cubicBezTo>
                  <a:cubicBezTo>
                    <a:pt x="4158264" y="2714272"/>
                    <a:pt x="4170377" y="2718153"/>
                    <a:pt x="4134158" y="2733675"/>
                  </a:cubicBezTo>
                  <a:cubicBezTo>
                    <a:pt x="4114132" y="2742258"/>
                    <a:pt x="4054666" y="2749348"/>
                    <a:pt x="4038908" y="2752725"/>
                  </a:cubicBezTo>
                  <a:cubicBezTo>
                    <a:pt x="4013307" y="2758211"/>
                    <a:pt x="3988108" y="2765425"/>
                    <a:pt x="3962708" y="2771775"/>
                  </a:cubicBezTo>
                  <a:cubicBezTo>
                    <a:pt x="3943227" y="2776645"/>
                    <a:pt x="3905558" y="2790825"/>
                    <a:pt x="3905558" y="2790825"/>
                  </a:cubicBezTo>
                  <a:cubicBezTo>
                    <a:pt x="3822076" y="2874307"/>
                    <a:pt x="3927974" y="2772145"/>
                    <a:pt x="3848408" y="2838450"/>
                  </a:cubicBezTo>
                  <a:cubicBezTo>
                    <a:pt x="3758879" y="2913057"/>
                    <a:pt x="3907126" y="2808830"/>
                    <a:pt x="3762683" y="2905125"/>
                  </a:cubicBezTo>
                  <a:cubicBezTo>
                    <a:pt x="3699226" y="2947430"/>
                    <a:pt x="3610283" y="2911475"/>
                    <a:pt x="3534083" y="2914650"/>
                  </a:cubicBezTo>
                  <a:cubicBezTo>
                    <a:pt x="3524558" y="2917825"/>
                    <a:pt x="3515248" y="2921740"/>
                    <a:pt x="3505508" y="2924175"/>
                  </a:cubicBezTo>
                  <a:cubicBezTo>
                    <a:pt x="3489802" y="2928102"/>
                    <a:pt x="3473042" y="2928016"/>
                    <a:pt x="3457883" y="2933700"/>
                  </a:cubicBezTo>
                  <a:cubicBezTo>
                    <a:pt x="3447164" y="2937720"/>
                    <a:pt x="3439547" y="2947630"/>
                    <a:pt x="3429308" y="2952750"/>
                  </a:cubicBezTo>
                  <a:cubicBezTo>
                    <a:pt x="3420328" y="2957240"/>
                    <a:pt x="3410258" y="2959100"/>
                    <a:pt x="3400733" y="2962275"/>
                  </a:cubicBezTo>
                  <a:cubicBezTo>
                    <a:pt x="3335229" y="3005944"/>
                    <a:pt x="3365303" y="2993135"/>
                    <a:pt x="3315008" y="3009900"/>
                  </a:cubicBezTo>
                  <a:cubicBezTo>
                    <a:pt x="3295958" y="3006725"/>
                    <a:pt x="3275506" y="3008219"/>
                    <a:pt x="3257858" y="3000375"/>
                  </a:cubicBezTo>
                  <a:cubicBezTo>
                    <a:pt x="3245549" y="2994904"/>
                    <a:pt x="3242618" y="2973705"/>
                    <a:pt x="3229283" y="2971800"/>
                  </a:cubicBezTo>
                  <a:cubicBezTo>
                    <a:pt x="3194566" y="2966840"/>
                    <a:pt x="3159433" y="2978150"/>
                    <a:pt x="3124508" y="2981325"/>
                  </a:cubicBezTo>
                  <a:cubicBezTo>
                    <a:pt x="3111303" y="2998931"/>
                    <a:pt x="3087258" y="3034733"/>
                    <a:pt x="3067358" y="3048000"/>
                  </a:cubicBezTo>
                  <a:cubicBezTo>
                    <a:pt x="3059004" y="3053569"/>
                    <a:pt x="3048308" y="3054350"/>
                    <a:pt x="3038783" y="3057525"/>
                  </a:cubicBezTo>
                  <a:cubicBezTo>
                    <a:pt x="3016558" y="3054350"/>
                    <a:pt x="2994217" y="3051902"/>
                    <a:pt x="2972108" y="3048000"/>
                  </a:cubicBezTo>
                  <a:cubicBezTo>
                    <a:pt x="2940222" y="3042373"/>
                    <a:pt x="2908796" y="3034273"/>
                    <a:pt x="2876858" y="3028950"/>
                  </a:cubicBezTo>
                  <a:lnTo>
                    <a:pt x="2819708" y="3019425"/>
                  </a:lnTo>
                  <a:cubicBezTo>
                    <a:pt x="2810183" y="3016250"/>
                    <a:pt x="2800113" y="3014390"/>
                    <a:pt x="2791133" y="3009900"/>
                  </a:cubicBezTo>
                  <a:cubicBezTo>
                    <a:pt x="2717275" y="2972971"/>
                    <a:pt x="2805807" y="3005266"/>
                    <a:pt x="2733983" y="2981325"/>
                  </a:cubicBezTo>
                  <a:cubicBezTo>
                    <a:pt x="2695883" y="2987675"/>
                    <a:pt x="2656326" y="2988161"/>
                    <a:pt x="2619683" y="3000375"/>
                  </a:cubicBezTo>
                  <a:cubicBezTo>
                    <a:pt x="2597963" y="3007615"/>
                    <a:pt x="2562533" y="3038475"/>
                    <a:pt x="2562533" y="3038475"/>
                  </a:cubicBezTo>
                  <a:cubicBezTo>
                    <a:pt x="2565708" y="3048000"/>
                    <a:pt x="2566489" y="3058696"/>
                    <a:pt x="2572058" y="3067050"/>
                  </a:cubicBezTo>
                  <a:cubicBezTo>
                    <a:pt x="2586726" y="3089052"/>
                    <a:pt x="2608123" y="3100618"/>
                    <a:pt x="2629208" y="3114675"/>
                  </a:cubicBezTo>
                  <a:cubicBezTo>
                    <a:pt x="2632383" y="3130550"/>
                    <a:pt x="2637331" y="3146171"/>
                    <a:pt x="2638733" y="3162300"/>
                  </a:cubicBezTo>
                  <a:cubicBezTo>
                    <a:pt x="2643692" y="3219323"/>
                    <a:pt x="2640524" y="3277037"/>
                    <a:pt x="2648258" y="3333750"/>
                  </a:cubicBezTo>
                  <a:cubicBezTo>
                    <a:pt x="2650176" y="3347819"/>
                    <a:pt x="2660958" y="3359150"/>
                    <a:pt x="2667308" y="3371850"/>
                  </a:cubicBezTo>
                  <a:cubicBezTo>
                    <a:pt x="2654142" y="3391600"/>
                    <a:pt x="2640637" y="3415904"/>
                    <a:pt x="2619683" y="3429000"/>
                  </a:cubicBezTo>
                  <a:cubicBezTo>
                    <a:pt x="2605184" y="3438062"/>
                    <a:pt x="2587933" y="3441700"/>
                    <a:pt x="2572058" y="3448050"/>
                  </a:cubicBezTo>
                  <a:cubicBezTo>
                    <a:pt x="2588797" y="3498268"/>
                    <a:pt x="2570520" y="3457634"/>
                    <a:pt x="2610158" y="3505200"/>
                  </a:cubicBezTo>
                  <a:cubicBezTo>
                    <a:pt x="2630674" y="3529819"/>
                    <a:pt x="2629187" y="3533711"/>
                    <a:pt x="2638733" y="3562350"/>
                  </a:cubicBezTo>
                  <a:cubicBezTo>
                    <a:pt x="2629208" y="3575050"/>
                    <a:pt x="2612013" y="3584684"/>
                    <a:pt x="2610158" y="3600450"/>
                  </a:cubicBezTo>
                  <a:cubicBezTo>
                    <a:pt x="2600536" y="3682236"/>
                    <a:pt x="2616627" y="3715106"/>
                    <a:pt x="2638733" y="3781425"/>
                  </a:cubicBezTo>
                  <a:cubicBezTo>
                    <a:pt x="2644840" y="3799747"/>
                    <a:pt x="2639621" y="3821301"/>
                    <a:pt x="2648258" y="3838575"/>
                  </a:cubicBezTo>
                  <a:cubicBezTo>
                    <a:pt x="2657655" y="3857369"/>
                    <a:pt x="2700114" y="3863445"/>
                    <a:pt x="2714933" y="3867150"/>
                  </a:cubicBezTo>
                  <a:cubicBezTo>
                    <a:pt x="2721283" y="3879850"/>
                    <a:pt x="2725730" y="3893696"/>
                    <a:pt x="2733983" y="3905250"/>
                  </a:cubicBezTo>
                  <a:cubicBezTo>
                    <a:pt x="2778576" y="3967680"/>
                    <a:pt x="2751651" y="3901103"/>
                    <a:pt x="2772083" y="3962400"/>
                  </a:cubicBezTo>
                  <a:cubicBezTo>
                    <a:pt x="2775258" y="3994150"/>
                    <a:pt x="2774433" y="4026559"/>
                    <a:pt x="2781608" y="4057650"/>
                  </a:cubicBezTo>
                  <a:cubicBezTo>
                    <a:pt x="2784182" y="4068804"/>
                    <a:pt x="2797038" y="4075365"/>
                    <a:pt x="2800658" y="4086225"/>
                  </a:cubicBezTo>
                  <a:cubicBezTo>
                    <a:pt x="2810906" y="4116970"/>
                    <a:pt x="2810901" y="4180694"/>
                    <a:pt x="2819708" y="4210050"/>
                  </a:cubicBezTo>
                  <a:cubicBezTo>
                    <a:pt x="2827269" y="4235253"/>
                    <a:pt x="2892871" y="4291219"/>
                    <a:pt x="2895908" y="4295775"/>
                  </a:cubicBezTo>
                  <a:cubicBezTo>
                    <a:pt x="2902258" y="4305300"/>
                    <a:pt x="2909838" y="4314111"/>
                    <a:pt x="2914958" y="4324350"/>
                  </a:cubicBezTo>
                  <a:cubicBezTo>
                    <a:pt x="2921790" y="4338015"/>
                    <a:pt x="2930956" y="4378818"/>
                    <a:pt x="2934008" y="4391025"/>
                  </a:cubicBezTo>
                  <a:cubicBezTo>
                    <a:pt x="2924483" y="4394200"/>
                    <a:pt x="2914413" y="4396060"/>
                    <a:pt x="2905433" y="4400550"/>
                  </a:cubicBezTo>
                  <a:cubicBezTo>
                    <a:pt x="2878911" y="4413811"/>
                    <a:pt x="2869349" y="4427109"/>
                    <a:pt x="2848283" y="4448175"/>
                  </a:cubicBezTo>
                  <a:cubicBezTo>
                    <a:pt x="2845108" y="4457700"/>
                    <a:pt x="2838758" y="4466710"/>
                    <a:pt x="2838758" y="4476750"/>
                  </a:cubicBezTo>
                  <a:cubicBezTo>
                    <a:pt x="2838758" y="4490740"/>
                    <a:pt x="2860362" y="4559921"/>
                    <a:pt x="2838758" y="4581525"/>
                  </a:cubicBezTo>
                  <a:cubicBezTo>
                    <a:pt x="2829501" y="4590782"/>
                    <a:pt x="2813358" y="4587875"/>
                    <a:pt x="2800658" y="4591050"/>
                  </a:cubicBezTo>
                  <a:cubicBezTo>
                    <a:pt x="2794308" y="4600575"/>
                    <a:pt x="2782210" y="4608193"/>
                    <a:pt x="2781608" y="4619625"/>
                  </a:cubicBezTo>
                  <a:cubicBezTo>
                    <a:pt x="2781025" y="4630693"/>
                    <a:pt x="2777155" y="4753593"/>
                    <a:pt x="2800658" y="4800600"/>
                  </a:cubicBezTo>
                  <a:cubicBezTo>
                    <a:pt x="2805778" y="4810839"/>
                    <a:pt x="2813358" y="4819650"/>
                    <a:pt x="2819708" y="4829175"/>
                  </a:cubicBezTo>
                  <a:cubicBezTo>
                    <a:pt x="2816533" y="4838700"/>
                    <a:pt x="2819837" y="4854992"/>
                    <a:pt x="2810183" y="4857750"/>
                  </a:cubicBezTo>
                  <a:cubicBezTo>
                    <a:pt x="2805165" y="4859184"/>
                    <a:pt x="2714883" y="4840595"/>
                    <a:pt x="2705408" y="4838700"/>
                  </a:cubicBezTo>
                  <a:cubicBezTo>
                    <a:pt x="2695883" y="4832350"/>
                    <a:pt x="2686772" y="4825330"/>
                    <a:pt x="2676833" y="4819650"/>
                  </a:cubicBezTo>
                  <a:cubicBezTo>
                    <a:pt x="2597387" y="4774252"/>
                    <a:pt x="2598946" y="4798506"/>
                    <a:pt x="2457758" y="4791075"/>
                  </a:cubicBezTo>
                  <a:cubicBezTo>
                    <a:pt x="2451408" y="4781550"/>
                    <a:pt x="2450156" y="4762500"/>
                    <a:pt x="2438708" y="4762500"/>
                  </a:cubicBezTo>
                  <a:cubicBezTo>
                    <a:pt x="2425238" y="4762500"/>
                    <a:pt x="2418403" y="4780442"/>
                    <a:pt x="2410133" y="4791075"/>
                  </a:cubicBezTo>
                  <a:cubicBezTo>
                    <a:pt x="2396077" y="4809147"/>
                    <a:pt x="2384733" y="4829175"/>
                    <a:pt x="2372033" y="4848225"/>
                  </a:cubicBezTo>
                  <a:cubicBezTo>
                    <a:pt x="2359333" y="4867275"/>
                    <a:pt x="2333933" y="4873625"/>
                    <a:pt x="2314883" y="4886325"/>
                  </a:cubicBezTo>
                  <a:cubicBezTo>
                    <a:pt x="2186384" y="4971991"/>
                    <a:pt x="2307236" y="4926974"/>
                    <a:pt x="2229158" y="4953000"/>
                  </a:cubicBezTo>
                  <a:cubicBezTo>
                    <a:pt x="2199308" y="4947030"/>
                    <a:pt x="2153707" y="4932054"/>
                    <a:pt x="2124383" y="4953000"/>
                  </a:cubicBezTo>
                  <a:cubicBezTo>
                    <a:pt x="2113731" y="4960609"/>
                    <a:pt x="2118454" y="4978513"/>
                    <a:pt x="2114858" y="4991100"/>
                  </a:cubicBezTo>
                  <a:cubicBezTo>
                    <a:pt x="2112100" y="5000754"/>
                    <a:pt x="2112433" y="5012575"/>
                    <a:pt x="2105333" y="5019675"/>
                  </a:cubicBezTo>
                  <a:cubicBezTo>
                    <a:pt x="2098233" y="5026775"/>
                    <a:pt x="2086697" y="5027780"/>
                    <a:pt x="2076758" y="5029200"/>
                  </a:cubicBezTo>
                  <a:cubicBezTo>
                    <a:pt x="2019834" y="5037332"/>
                    <a:pt x="1962431" y="5041659"/>
                    <a:pt x="1905308" y="5048250"/>
                  </a:cubicBezTo>
                  <a:lnTo>
                    <a:pt x="1829108" y="5057775"/>
                  </a:lnTo>
                  <a:cubicBezTo>
                    <a:pt x="1797358" y="5054600"/>
                    <a:pt x="1755419" y="5071771"/>
                    <a:pt x="1733858" y="5048250"/>
                  </a:cubicBezTo>
                  <a:cubicBezTo>
                    <a:pt x="1731565" y="5045749"/>
                    <a:pt x="1725153" y="4911152"/>
                    <a:pt x="1714808" y="4886325"/>
                  </a:cubicBezTo>
                  <a:cubicBezTo>
                    <a:pt x="1706002" y="4865191"/>
                    <a:pt x="1689408" y="4848225"/>
                    <a:pt x="1676708" y="4829175"/>
                  </a:cubicBezTo>
                  <a:cubicBezTo>
                    <a:pt x="1670358" y="4819650"/>
                    <a:pt x="1665753" y="4808695"/>
                    <a:pt x="1657658" y="4800600"/>
                  </a:cubicBezTo>
                  <a:lnTo>
                    <a:pt x="1600508" y="4743450"/>
                  </a:lnTo>
                  <a:cubicBezTo>
                    <a:pt x="1597333" y="4733925"/>
                    <a:pt x="1592952" y="4724720"/>
                    <a:pt x="1590983" y="4714875"/>
                  </a:cubicBezTo>
                  <a:cubicBezTo>
                    <a:pt x="1586580" y="4692860"/>
                    <a:pt x="1593511" y="4667141"/>
                    <a:pt x="1581458" y="4648200"/>
                  </a:cubicBezTo>
                  <a:cubicBezTo>
                    <a:pt x="1569166" y="4628884"/>
                    <a:pt x="1546028" y="4617340"/>
                    <a:pt x="1524308" y="4610100"/>
                  </a:cubicBezTo>
                  <a:lnTo>
                    <a:pt x="1467158" y="4591050"/>
                  </a:lnTo>
                  <a:cubicBezTo>
                    <a:pt x="1457633" y="4594225"/>
                    <a:pt x="1447563" y="4596085"/>
                    <a:pt x="1438583" y="4600575"/>
                  </a:cubicBezTo>
                  <a:cubicBezTo>
                    <a:pt x="1428344" y="4605695"/>
                    <a:pt x="1421367" y="4618205"/>
                    <a:pt x="1410008" y="4619625"/>
                  </a:cubicBezTo>
                  <a:cubicBezTo>
                    <a:pt x="1393944" y="4621633"/>
                    <a:pt x="1378258" y="4613275"/>
                    <a:pt x="1362383" y="4610100"/>
                  </a:cubicBezTo>
                  <a:lnTo>
                    <a:pt x="1305233" y="4572000"/>
                  </a:lnTo>
                  <a:lnTo>
                    <a:pt x="1276658" y="4552950"/>
                  </a:lnTo>
                  <a:cubicBezTo>
                    <a:pt x="1286183" y="4543425"/>
                    <a:pt x="1294025" y="4531847"/>
                    <a:pt x="1305233" y="4524375"/>
                  </a:cubicBezTo>
                  <a:cubicBezTo>
                    <a:pt x="1313587" y="4518806"/>
                    <a:pt x="1333808" y="4524890"/>
                    <a:pt x="1333808" y="4514850"/>
                  </a:cubicBezTo>
                  <a:cubicBezTo>
                    <a:pt x="1333808" y="4501380"/>
                    <a:pt x="1315581" y="4494899"/>
                    <a:pt x="1305233" y="4486275"/>
                  </a:cubicBezTo>
                  <a:cubicBezTo>
                    <a:pt x="1251239" y="4441280"/>
                    <a:pt x="1303772" y="4494756"/>
                    <a:pt x="1238558" y="4448175"/>
                  </a:cubicBezTo>
                  <a:cubicBezTo>
                    <a:pt x="1227597" y="4440345"/>
                    <a:pt x="1220331" y="4428224"/>
                    <a:pt x="1209983" y="4419600"/>
                  </a:cubicBezTo>
                  <a:cubicBezTo>
                    <a:pt x="1201189" y="4412271"/>
                    <a:pt x="1190933" y="4406900"/>
                    <a:pt x="1181408" y="4400550"/>
                  </a:cubicBezTo>
                  <a:cubicBezTo>
                    <a:pt x="1175058" y="4391025"/>
                    <a:pt x="1171297" y="4379126"/>
                    <a:pt x="1162358" y="4371975"/>
                  </a:cubicBezTo>
                  <a:cubicBezTo>
                    <a:pt x="1152595" y="4364165"/>
                    <a:pt x="1088530" y="4353399"/>
                    <a:pt x="1086158" y="4352925"/>
                  </a:cubicBezTo>
                  <a:cubicBezTo>
                    <a:pt x="1057921" y="4239977"/>
                    <a:pt x="1101237" y="4418795"/>
                    <a:pt x="1067108" y="4248150"/>
                  </a:cubicBezTo>
                  <a:cubicBezTo>
                    <a:pt x="1065139" y="4238305"/>
                    <a:pt x="1064683" y="4226675"/>
                    <a:pt x="1057583" y="4219575"/>
                  </a:cubicBezTo>
                  <a:cubicBezTo>
                    <a:pt x="1050483" y="4212475"/>
                    <a:pt x="1038533" y="4213225"/>
                    <a:pt x="1029008" y="4210050"/>
                  </a:cubicBezTo>
                  <a:cubicBezTo>
                    <a:pt x="1009779" y="4184411"/>
                    <a:pt x="988893" y="4152821"/>
                    <a:pt x="962333" y="4133850"/>
                  </a:cubicBezTo>
                  <a:cubicBezTo>
                    <a:pt x="954975" y="4128594"/>
                    <a:pt x="899642" y="4115796"/>
                    <a:pt x="895658" y="4114800"/>
                  </a:cubicBezTo>
                  <a:cubicBezTo>
                    <a:pt x="876608" y="4117975"/>
                    <a:pt x="856830" y="4118218"/>
                    <a:pt x="838508" y="4124325"/>
                  </a:cubicBezTo>
                  <a:cubicBezTo>
                    <a:pt x="827648" y="4127945"/>
                    <a:pt x="820172" y="4138255"/>
                    <a:pt x="809933" y="4143375"/>
                  </a:cubicBezTo>
                  <a:cubicBezTo>
                    <a:pt x="800953" y="4147865"/>
                    <a:pt x="791044" y="4150258"/>
                    <a:pt x="781358" y="4152900"/>
                  </a:cubicBezTo>
                  <a:cubicBezTo>
                    <a:pt x="756099" y="4159789"/>
                    <a:pt x="705158" y="4171950"/>
                    <a:pt x="705158" y="4171950"/>
                  </a:cubicBezTo>
                  <a:cubicBezTo>
                    <a:pt x="695633" y="4178300"/>
                    <a:pt x="687044" y="4186351"/>
                    <a:pt x="676583" y="4191000"/>
                  </a:cubicBezTo>
                  <a:cubicBezTo>
                    <a:pt x="658233" y="4199155"/>
                    <a:pt x="619433" y="4210050"/>
                    <a:pt x="619433" y="4210050"/>
                  </a:cubicBezTo>
                  <a:cubicBezTo>
                    <a:pt x="622608" y="4222750"/>
                    <a:pt x="638215" y="4238893"/>
                    <a:pt x="628958" y="4248150"/>
                  </a:cubicBezTo>
                  <a:cubicBezTo>
                    <a:pt x="620863" y="4256245"/>
                    <a:pt x="616562" y="4228890"/>
                    <a:pt x="609908" y="4219575"/>
                  </a:cubicBezTo>
                  <a:cubicBezTo>
                    <a:pt x="600681" y="4206657"/>
                    <a:pt x="590858" y="4194175"/>
                    <a:pt x="581333" y="4181475"/>
                  </a:cubicBezTo>
                  <a:cubicBezTo>
                    <a:pt x="578158" y="4159250"/>
                    <a:pt x="576211" y="4136815"/>
                    <a:pt x="571808" y="4114800"/>
                  </a:cubicBezTo>
                  <a:cubicBezTo>
                    <a:pt x="569839" y="4104955"/>
                    <a:pt x="565041" y="4095879"/>
                    <a:pt x="562283" y="4086225"/>
                  </a:cubicBezTo>
                  <a:cubicBezTo>
                    <a:pt x="558687" y="4073638"/>
                    <a:pt x="555598" y="4060904"/>
                    <a:pt x="552758" y="4048125"/>
                  </a:cubicBezTo>
                  <a:cubicBezTo>
                    <a:pt x="549246" y="4032321"/>
                    <a:pt x="550473" y="4014980"/>
                    <a:pt x="543233" y="4000500"/>
                  </a:cubicBezTo>
                  <a:cubicBezTo>
                    <a:pt x="537209" y="3988452"/>
                    <a:pt x="523282" y="3982273"/>
                    <a:pt x="514658" y="3971925"/>
                  </a:cubicBezTo>
                  <a:cubicBezTo>
                    <a:pt x="497829" y="3951730"/>
                    <a:pt x="488203" y="3928541"/>
                    <a:pt x="476558" y="3905250"/>
                  </a:cubicBezTo>
                  <a:cubicBezTo>
                    <a:pt x="479733" y="3883025"/>
                    <a:pt x="481680" y="3860590"/>
                    <a:pt x="486083" y="3838575"/>
                  </a:cubicBezTo>
                  <a:cubicBezTo>
                    <a:pt x="488052" y="3828730"/>
                    <a:pt x="495608" y="3820040"/>
                    <a:pt x="495608" y="3810000"/>
                  </a:cubicBezTo>
                  <a:cubicBezTo>
                    <a:pt x="495608" y="3767182"/>
                    <a:pt x="482527" y="3760427"/>
                    <a:pt x="467033" y="3724275"/>
                  </a:cubicBezTo>
                  <a:cubicBezTo>
                    <a:pt x="442791" y="3667711"/>
                    <a:pt x="478864" y="3724175"/>
                    <a:pt x="428933" y="3657600"/>
                  </a:cubicBezTo>
                  <a:cubicBezTo>
                    <a:pt x="425758" y="3648075"/>
                    <a:pt x="423898" y="3638005"/>
                    <a:pt x="419408" y="3629025"/>
                  </a:cubicBezTo>
                  <a:cubicBezTo>
                    <a:pt x="414288" y="3618786"/>
                    <a:pt x="402468" y="3611702"/>
                    <a:pt x="400358" y="3600450"/>
                  </a:cubicBezTo>
                  <a:cubicBezTo>
                    <a:pt x="392729" y="3559762"/>
                    <a:pt x="394008" y="3517900"/>
                    <a:pt x="390833" y="3476625"/>
                  </a:cubicBezTo>
                  <a:cubicBezTo>
                    <a:pt x="394008" y="3422650"/>
                    <a:pt x="394978" y="3368500"/>
                    <a:pt x="400358" y="3314700"/>
                  </a:cubicBezTo>
                  <a:cubicBezTo>
                    <a:pt x="401357" y="3304710"/>
                    <a:pt x="403611" y="3293965"/>
                    <a:pt x="409883" y="3286125"/>
                  </a:cubicBezTo>
                  <a:cubicBezTo>
                    <a:pt x="417034" y="3277186"/>
                    <a:pt x="429143" y="3273729"/>
                    <a:pt x="438458" y="3267075"/>
                  </a:cubicBezTo>
                  <a:cubicBezTo>
                    <a:pt x="451376" y="3257848"/>
                    <a:pt x="463858" y="3248025"/>
                    <a:pt x="476558" y="3238500"/>
                  </a:cubicBezTo>
                  <a:cubicBezTo>
                    <a:pt x="473383" y="3225800"/>
                    <a:pt x="470795" y="3212939"/>
                    <a:pt x="467033" y="3200400"/>
                  </a:cubicBezTo>
                  <a:cubicBezTo>
                    <a:pt x="461263" y="3181166"/>
                    <a:pt x="454333" y="3162300"/>
                    <a:pt x="447983" y="3143250"/>
                  </a:cubicBezTo>
                  <a:cubicBezTo>
                    <a:pt x="444363" y="3132390"/>
                    <a:pt x="429930" y="3128709"/>
                    <a:pt x="419408" y="3124200"/>
                  </a:cubicBezTo>
                  <a:cubicBezTo>
                    <a:pt x="407376" y="3119043"/>
                    <a:pt x="393895" y="3118271"/>
                    <a:pt x="381308" y="3114675"/>
                  </a:cubicBezTo>
                  <a:cubicBezTo>
                    <a:pt x="371654" y="3111917"/>
                    <a:pt x="362258" y="3108325"/>
                    <a:pt x="352733" y="3105150"/>
                  </a:cubicBezTo>
                  <a:cubicBezTo>
                    <a:pt x="349558" y="3063875"/>
                    <a:pt x="354581" y="3021129"/>
                    <a:pt x="343208" y="2981325"/>
                  </a:cubicBezTo>
                  <a:cubicBezTo>
                    <a:pt x="340450" y="2971671"/>
                    <a:pt x="318362" y="2981122"/>
                    <a:pt x="314633" y="2971800"/>
                  </a:cubicBezTo>
                  <a:cubicBezTo>
                    <a:pt x="302965" y="2942630"/>
                    <a:pt x="340070" y="2920320"/>
                    <a:pt x="352733" y="2905125"/>
                  </a:cubicBezTo>
                  <a:cubicBezTo>
                    <a:pt x="360062" y="2896331"/>
                    <a:pt x="365433" y="2886075"/>
                    <a:pt x="371783" y="2876550"/>
                  </a:cubicBezTo>
                  <a:cubicBezTo>
                    <a:pt x="368608" y="2867025"/>
                    <a:pt x="362258" y="2858015"/>
                    <a:pt x="362258" y="2847975"/>
                  </a:cubicBezTo>
                  <a:cubicBezTo>
                    <a:pt x="362258" y="2834884"/>
                    <a:pt x="375545" y="2822414"/>
                    <a:pt x="371783" y="2809875"/>
                  </a:cubicBezTo>
                  <a:cubicBezTo>
                    <a:pt x="353845" y="2750083"/>
                    <a:pt x="353538" y="2752725"/>
                    <a:pt x="324158" y="2752725"/>
                  </a:cubicBezTo>
                </a:path>
              </a:pathLst>
            </a:custGeom>
            <a:solidFill>
              <a:srgbClr val="EDDD32"/>
            </a:solidFill>
            <a:ln w="9525" cap="flat" cmpd="sng" algn="ctr">
              <a:solidFill>
                <a:srgbClr val="4866A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8383">
                <a:buClr>
                  <a:srgbClr val="000000"/>
                </a:buClr>
                <a:buSzPct val="100000"/>
              </a:pPr>
              <a:endParaRPr lang="pt-BR" sz="102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65" name="Freeform 29"/>
            <p:cNvSpPr/>
            <p:nvPr/>
          </p:nvSpPr>
          <p:spPr bwMode="auto">
            <a:xfrm>
              <a:off x="12821572" y="2898021"/>
              <a:ext cx="172293" cy="203594"/>
            </a:xfrm>
            <a:custGeom>
              <a:avLst/>
              <a:gdLst>
                <a:gd name="connsiteX0" fmla="*/ 166802 w 581761"/>
                <a:gd name="connsiteY0" fmla="*/ 23813 h 676275"/>
                <a:gd name="connsiteX1" fmla="*/ 119177 w 581761"/>
                <a:gd name="connsiteY1" fmla="*/ 28575 h 676275"/>
                <a:gd name="connsiteX2" fmla="*/ 90602 w 581761"/>
                <a:gd name="connsiteY2" fmla="*/ 38100 h 676275"/>
                <a:gd name="connsiteX3" fmla="*/ 76314 w 581761"/>
                <a:gd name="connsiteY3" fmla="*/ 42863 h 676275"/>
                <a:gd name="connsiteX4" fmla="*/ 47739 w 581761"/>
                <a:gd name="connsiteY4" fmla="*/ 76200 h 676275"/>
                <a:gd name="connsiteX5" fmla="*/ 42977 w 581761"/>
                <a:gd name="connsiteY5" fmla="*/ 95250 h 676275"/>
                <a:gd name="connsiteX6" fmla="*/ 38214 w 581761"/>
                <a:gd name="connsiteY6" fmla="*/ 109538 h 676275"/>
                <a:gd name="connsiteX7" fmla="*/ 33452 w 581761"/>
                <a:gd name="connsiteY7" fmla="*/ 152400 h 676275"/>
                <a:gd name="connsiteX8" fmla="*/ 23927 w 581761"/>
                <a:gd name="connsiteY8" fmla="*/ 166688 h 676275"/>
                <a:gd name="connsiteX9" fmla="*/ 19164 w 581761"/>
                <a:gd name="connsiteY9" fmla="*/ 185738 h 676275"/>
                <a:gd name="connsiteX10" fmla="*/ 14402 w 581761"/>
                <a:gd name="connsiteY10" fmla="*/ 200025 h 676275"/>
                <a:gd name="connsiteX11" fmla="*/ 9639 w 581761"/>
                <a:gd name="connsiteY11" fmla="*/ 266700 h 676275"/>
                <a:gd name="connsiteX12" fmla="*/ 114 w 581761"/>
                <a:gd name="connsiteY12" fmla="*/ 285750 h 676275"/>
                <a:gd name="connsiteX13" fmla="*/ 19164 w 581761"/>
                <a:gd name="connsiteY13" fmla="*/ 314325 h 676275"/>
                <a:gd name="connsiteX14" fmla="*/ 33452 w 581761"/>
                <a:gd name="connsiteY14" fmla="*/ 319088 h 676275"/>
                <a:gd name="connsiteX15" fmla="*/ 62027 w 581761"/>
                <a:gd name="connsiteY15" fmla="*/ 338138 h 676275"/>
                <a:gd name="connsiteX16" fmla="*/ 85839 w 581761"/>
                <a:gd name="connsiteY16" fmla="*/ 366713 h 676275"/>
                <a:gd name="connsiteX17" fmla="*/ 100127 w 581761"/>
                <a:gd name="connsiteY17" fmla="*/ 395288 h 676275"/>
                <a:gd name="connsiteX18" fmla="*/ 104889 w 581761"/>
                <a:gd name="connsiteY18" fmla="*/ 428625 h 676275"/>
                <a:gd name="connsiteX19" fmla="*/ 109652 w 581761"/>
                <a:gd name="connsiteY19" fmla="*/ 442913 h 676275"/>
                <a:gd name="connsiteX20" fmla="*/ 114414 w 581761"/>
                <a:gd name="connsiteY20" fmla="*/ 466725 h 676275"/>
                <a:gd name="connsiteX21" fmla="*/ 119177 w 581761"/>
                <a:gd name="connsiteY21" fmla="*/ 561975 h 676275"/>
                <a:gd name="connsiteX22" fmla="*/ 123939 w 581761"/>
                <a:gd name="connsiteY22" fmla="*/ 576263 h 676275"/>
                <a:gd name="connsiteX23" fmla="*/ 133464 w 581761"/>
                <a:gd name="connsiteY23" fmla="*/ 642938 h 676275"/>
                <a:gd name="connsiteX24" fmla="*/ 142989 w 581761"/>
                <a:gd name="connsiteY24" fmla="*/ 657225 h 676275"/>
                <a:gd name="connsiteX25" fmla="*/ 157277 w 581761"/>
                <a:gd name="connsiteY25" fmla="*/ 671513 h 676275"/>
                <a:gd name="connsiteX26" fmla="*/ 171564 w 581761"/>
                <a:gd name="connsiteY26" fmla="*/ 676275 h 676275"/>
                <a:gd name="connsiteX27" fmla="*/ 195377 w 581761"/>
                <a:gd name="connsiteY27" fmla="*/ 666750 h 676275"/>
                <a:gd name="connsiteX28" fmla="*/ 214427 w 581761"/>
                <a:gd name="connsiteY28" fmla="*/ 657225 h 676275"/>
                <a:gd name="connsiteX29" fmla="*/ 233477 w 581761"/>
                <a:gd name="connsiteY29" fmla="*/ 652463 h 676275"/>
                <a:gd name="connsiteX30" fmla="*/ 247764 w 581761"/>
                <a:gd name="connsiteY30" fmla="*/ 647700 h 676275"/>
                <a:gd name="connsiteX31" fmla="*/ 281102 w 581761"/>
                <a:gd name="connsiteY31" fmla="*/ 642938 h 676275"/>
                <a:gd name="connsiteX32" fmla="*/ 319202 w 581761"/>
                <a:gd name="connsiteY32" fmla="*/ 633413 h 676275"/>
                <a:gd name="connsiteX33" fmla="*/ 333489 w 581761"/>
                <a:gd name="connsiteY33" fmla="*/ 619125 h 676275"/>
                <a:gd name="connsiteX34" fmla="*/ 347777 w 581761"/>
                <a:gd name="connsiteY34" fmla="*/ 614363 h 676275"/>
                <a:gd name="connsiteX35" fmla="*/ 357302 w 581761"/>
                <a:gd name="connsiteY35" fmla="*/ 600075 h 676275"/>
                <a:gd name="connsiteX36" fmla="*/ 385877 w 581761"/>
                <a:gd name="connsiteY36" fmla="*/ 595313 h 676275"/>
                <a:gd name="connsiteX37" fmla="*/ 443027 w 581761"/>
                <a:gd name="connsiteY37" fmla="*/ 585788 h 676275"/>
                <a:gd name="connsiteX38" fmla="*/ 462077 w 581761"/>
                <a:gd name="connsiteY38" fmla="*/ 552450 h 676275"/>
                <a:gd name="connsiteX39" fmla="*/ 476364 w 581761"/>
                <a:gd name="connsiteY39" fmla="*/ 538163 h 676275"/>
                <a:gd name="connsiteX40" fmla="*/ 485889 w 581761"/>
                <a:gd name="connsiteY40" fmla="*/ 523875 h 676275"/>
                <a:gd name="connsiteX41" fmla="*/ 471602 w 581761"/>
                <a:gd name="connsiteY41" fmla="*/ 514350 h 676275"/>
                <a:gd name="connsiteX42" fmla="*/ 452552 w 581761"/>
                <a:gd name="connsiteY42" fmla="*/ 504825 h 676275"/>
                <a:gd name="connsiteX43" fmla="*/ 457314 w 581761"/>
                <a:gd name="connsiteY43" fmla="*/ 485775 h 676275"/>
                <a:gd name="connsiteX44" fmla="*/ 462077 w 581761"/>
                <a:gd name="connsiteY44" fmla="*/ 471488 h 676275"/>
                <a:gd name="connsiteX45" fmla="*/ 466839 w 581761"/>
                <a:gd name="connsiteY45" fmla="*/ 452438 h 676275"/>
                <a:gd name="connsiteX46" fmla="*/ 481127 w 581761"/>
                <a:gd name="connsiteY46" fmla="*/ 433388 h 676275"/>
                <a:gd name="connsiteX47" fmla="*/ 485889 w 581761"/>
                <a:gd name="connsiteY47" fmla="*/ 395288 h 676275"/>
                <a:gd name="connsiteX48" fmla="*/ 490652 w 581761"/>
                <a:gd name="connsiteY48" fmla="*/ 352425 h 676275"/>
                <a:gd name="connsiteX49" fmla="*/ 495414 w 581761"/>
                <a:gd name="connsiteY49" fmla="*/ 333375 h 676275"/>
                <a:gd name="connsiteX50" fmla="*/ 509702 w 581761"/>
                <a:gd name="connsiteY50" fmla="*/ 323850 h 676275"/>
                <a:gd name="connsiteX51" fmla="*/ 557327 w 581761"/>
                <a:gd name="connsiteY51" fmla="*/ 285750 h 676275"/>
                <a:gd name="connsiteX52" fmla="*/ 566852 w 581761"/>
                <a:gd name="connsiteY52" fmla="*/ 271463 h 676275"/>
                <a:gd name="connsiteX53" fmla="*/ 581139 w 581761"/>
                <a:gd name="connsiteY53" fmla="*/ 257175 h 676275"/>
                <a:gd name="connsiteX54" fmla="*/ 576377 w 581761"/>
                <a:gd name="connsiteY54" fmla="*/ 238125 h 676275"/>
                <a:gd name="connsiteX55" fmla="*/ 533514 w 581761"/>
                <a:gd name="connsiteY55" fmla="*/ 214313 h 676275"/>
                <a:gd name="connsiteX56" fmla="*/ 500177 w 581761"/>
                <a:gd name="connsiteY56" fmla="*/ 171450 h 676275"/>
                <a:gd name="connsiteX57" fmla="*/ 490652 w 581761"/>
                <a:gd name="connsiteY57" fmla="*/ 157163 h 676275"/>
                <a:gd name="connsiteX58" fmla="*/ 481127 w 581761"/>
                <a:gd name="connsiteY58" fmla="*/ 142875 h 676275"/>
                <a:gd name="connsiteX59" fmla="*/ 443027 w 581761"/>
                <a:gd name="connsiteY59" fmla="*/ 147638 h 676275"/>
                <a:gd name="connsiteX60" fmla="*/ 423977 w 581761"/>
                <a:gd name="connsiteY60" fmla="*/ 152400 h 676275"/>
                <a:gd name="connsiteX61" fmla="*/ 400164 w 581761"/>
                <a:gd name="connsiteY61" fmla="*/ 147638 h 676275"/>
                <a:gd name="connsiteX62" fmla="*/ 385877 w 581761"/>
                <a:gd name="connsiteY62" fmla="*/ 133350 h 676275"/>
                <a:gd name="connsiteX63" fmla="*/ 371589 w 581761"/>
                <a:gd name="connsiteY63" fmla="*/ 114300 h 676275"/>
                <a:gd name="connsiteX64" fmla="*/ 343014 w 581761"/>
                <a:gd name="connsiteY64" fmla="*/ 100013 h 676275"/>
                <a:gd name="connsiteX65" fmla="*/ 314439 w 581761"/>
                <a:gd name="connsiteY65" fmla="*/ 80963 h 676275"/>
                <a:gd name="connsiteX66" fmla="*/ 295389 w 581761"/>
                <a:gd name="connsiteY66" fmla="*/ 76200 h 676275"/>
                <a:gd name="connsiteX67" fmla="*/ 233477 w 581761"/>
                <a:gd name="connsiteY67" fmla="*/ 66675 h 676275"/>
                <a:gd name="connsiteX68" fmla="*/ 214427 w 581761"/>
                <a:gd name="connsiteY68" fmla="*/ 61913 h 676275"/>
                <a:gd name="connsiteX69" fmla="*/ 200139 w 581761"/>
                <a:gd name="connsiteY69" fmla="*/ 52388 h 676275"/>
                <a:gd name="connsiteX70" fmla="*/ 181089 w 581761"/>
                <a:gd name="connsiteY70" fmla="*/ 42863 h 676275"/>
                <a:gd name="connsiteX71" fmla="*/ 166802 w 581761"/>
                <a:gd name="connsiteY71" fmla="*/ 28575 h 676275"/>
                <a:gd name="connsiteX72" fmla="*/ 147752 w 581761"/>
                <a:gd name="connsiteY72" fmla="*/ 0 h 676275"/>
                <a:gd name="connsiteX73" fmla="*/ 133464 w 581761"/>
                <a:gd name="connsiteY73" fmla="*/ 4763 h 676275"/>
                <a:gd name="connsiteX74" fmla="*/ 166802 w 581761"/>
                <a:gd name="connsiteY74" fmla="*/ 23813 h 676275"/>
                <a:gd name="connsiteX0" fmla="*/ 166802 w 581761"/>
                <a:gd name="connsiteY0" fmla="*/ 23813 h 676275"/>
                <a:gd name="connsiteX1" fmla="*/ 119177 w 581761"/>
                <a:gd name="connsiteY1" fmla="*/ 28575 h 676275"/>
                <a:gd name="connsiteX2" fmla="*/ 90602 w 581761"/>
                <a:gd name="connsiteY2" fmla="*/ 38100 h 676275"/>
                <a:gd name="connsiteX3" fmla="*/ 76314 w 581761"/>
                <a:gd name="connsiteY3" fmla="*/ 42863 h 676275"/>
                <a:gd name="connsiteX4" fmla="*/ 47739 w 581761"/>
                <a:gd name="connsiteY4" fmla="*/ 76200 h 676275"/>
                <a:gd name="connsiteX5" fmla="*/ 42977 w 581761"/>
                <a:gd name="connsiteY5" fmla="*/ 95250 h 676275"/>
                <a:gd name="connsiteX6" fmla="*/ 38214 w 581761"/>
                <a:gd name="connsiteY6" fmla="*/ 109538 h 676275"/>
                <a:gd name="connsiteX7" fmla="*/ 33452 w 581761"/>
                <a:gd name="connsiteY7" fmla="*/ 152400 h 676275"/>
                <a:gd name="connsiteX8" fmla="*/ 23927 w 581761"/>
                <a:gd name="connsiteY8" fmla="*/ 166688 h 676275"/>
                <a:gd name="connsiteX9" fmla="*/ 19164 w 581761"/>
                <a:gd name="connsiteY9" fmla="*/ 185738 h 676275"/>
                <a:gd name="connsiteX10" fmla="*/ 14402 w 581761"/>
                <a:gd name="connsiteY10" fmla="*/ 200025 h 676275"/>
                <a:gd name="connsiteX11" fmla="*/ 9639 w 581761"/>
                <a:gd name="connsiteY11" fmla="*/ 266700 h 676275"/>
                <a:gd name="connsiteX12" fmla="*/ 114 w 581761"/>
                <a:gd name="connsiteY12" fmla="*/ 285750 h 676275"/>
                <a:gd name="connsiteX13" fmla="*/ 19164 w 581761"/>
                <a:gd name="connsiteY13" fmla="*/ 314325 h 676275"/>
                <a:gd name="connsiteX14" fmla="*/ 33452 w 581761"/>
                <a:gd name="connsiteY14" fmla="*/ 319088 h 676275"/>
                <a:gd name="connsiteX15" fmla="*/ 42977 w 581761"/>
                <a:gd name="connsiteY15" fmla="*/ 357188 h 676275"/>
                <a:gd name="connsiteX16" fmla="*/ 85839 w 581761"/>
                <a:gd name="connsiteY16" fmla="*/ 366713 h 676275"/>
                <a:gd name="connsiteX17" fmla="*/ 100127 w 581761"/>
                <a:gd name="connsiteY17" fmla="*/ 395288 h 676275"/>
                <a:gd name="connsiteX18" fmla="*/ 104889 w 581761"/>
                <a:gd name="connsiteY18" fmla="*/ 428625 h 676275"/>
                <a:gd name="connsiteX19" fmla="*/ 109652 w 581761"/>
                <a:gd name="connsiteY19" fmla="*/ 442913 h 676275"/>
                <a:gd name="connsiteX20" fmla="*/ 114414 w 581761"/>
                <a:gd name="connsiteY20" fmla="*/ 466725 h 676275"/>
                <a:gd name="connsiteX21" fmla="*/ 119177 w 581761"/>
                <a:gd name="connsiteY21" fmla="*/ 561975 h 676275"/>
                <a:gd name="connsiteX22" fmla="*/ 123939 w 581761"/>
                <a:gd name="connsiteY22" fmla="*/ 576263 h 676275"/>
                <a:gd name="connsiteX23" fmla="*/ 133464 w 581761"/>
                <a:gd name="connsiteY23" fmla="*/ 642938 h 676275"/>
                <a:gd name="connsiteX24" fmla="*/ 142989 w 581761"/>
                <a:gd name="connsiteY24" fmla="*/ 657225 h 676275"/>
                <a:gd name="connsiteX25" fmla="*/ 157277 w 581761"/>
                <a:gd name="connsiteY25" fmla="*/ 671513 h 676275"/>
                <a:gd name="connsiteX26" fmla="*/ 171564 w 581761"/>
                <a:gd name="connsiteY26" fmla="*/ 676275 h 676275"/>
                <a:gd name="connsiteX27" fmla="*/ 195377 w 581761"/>
                <a:gd name="connsiteY27" fmla="*/ 666750 h 676275"/>
                <a:gd name="connsiteX28" fmla="*/ 214427 w 581761"/>
                <a:gd name="connsiteY28" fmla="*/ 657225 h 676275"/>
                <a:gd name="connsiteX29" fmla="*/ 233477 w 581761"/>
                <a:gd name="connsiteY29" fmla="*/ 652463 h 676275"/>
                <a:gd name="connsiteX30" fmla="*/ 247764 w 581761"/>
                <a:gd name="connsiteY30" fmla="*/ 647700 h 676275"/>
                <a:gd name="connsiteX31" fmla="*/ 281102 w 581761"/>
                <a:gd name="connsiteY31" fmla="*/ 642938 h 676275"/>
                <a:gd name="connsiteX32" fmla="*/ 319202 w 581761"/>
                <a:gd name="connsiteY32" fmla="*/ 633413 h 676275"/>
                <a:gd name="connsiteX33" fmla="*/ 333489 w 581761"/>
                <a:gd name="connsiteY33" fmla="*/ 619125 h 676275"/>
                <a:gd name="connsiteX34" fmla="*/ 347777 w 581761"/>
                <a:gd name="connsiteY34" fmla="*/ 614363 h 676275"/>
                <a:gd name="connsiteX35" fmla="*/ 357302 w 581761"/>
                <a:gd name="connsiteY35" fmla="*/ 600075 h 676275"/>
                <a:gd name="connsiteX36" fmla="*/ 385877 w 581761"/>
                <a:gd name="connsiteY36" fmla="*/ 595313 h 676275"/>
                <a:gd name="connsiteX37" fmla="*/ 443027 w 581761"/>
                <a:gd name="connsiteY37" fmla="*/ 585788 h 676275"/>
                <a:gd name="connsiteX38" fmla="*/ 462077 w 581761"/>
                <a:gd name="connsiteY38" fmla="*/ 552450 h 676275"/>
                <a:gd name="connsiteX39" fmla="*/ 476364 w 581761"/>
                <a:gd name="connsiteY39" fmla="*/ 538163 h 676275"/>
                <a:gd name="connsiteX40" fmla="*/ 485889 w 581761"/>
                <a:gd name="connsiteY40" fmla="*/ 523875 h 676275"/>
                <a:gd name="connsiteX41" fmla="*/ 471602 w 581761"/>
                <a:gd name="connsiteY41" fmla="*/ 514350 h 676275"/>
                <a:gd name="connsiteX42" fmla="*/ 452552 w 581761"/>
                <a:gd name="connsiteY42" fmla="*/ 504825 h 676275"/>
                <a:gd name="connsiteX43" fmla="*/ 457314 w 581761"/>
                <a:gd name="connsiteY43" fmla="*/ 485775 h 676275"/>
                <a:gd name="connsiteX44" fmla="*/ 462077 w 581761"/>
                <a:gd name="connsiteY44" fmla="*/ 471488 h 676275"/>
                <a:gd name="connsiteX45" fmla="*/ 466839 w 581761"/>
                <a:gd name="connsiteY45" fmla="*/ 452438 h 676275"/>
                <a:gd name="connsiteX46" fmla="*/ 481127 w 581761"/>
                <a:gd name="connsiteY46" fmla="*/ 433388 h 676275"/>
                <a:gd name="connsiteX47" fmla="*/ 485889 w 581761"/>
                <a:gd name="connsiteY47" fmla="*/ 395288 h 676275"/>
                <a:gd name="connsiteX48" fmla="*/ 490652 w 581761"/>
                <a:gd name="connsiteY48" fmla="*/ 352425 h 676275"/>
                <a:gd name="connsiteX49" fmla="*/ 495414 w 581761"/>
                <a:gd name="connsiteY49" fmla="*/ 333375 h 676275"/>
                <a:gd name="connsiteX50" fmla="*/ 509702 w 581761"/>
                <a:gd name="connsiteY50" fmla="*/ 323850 h 676275"/>
                <a:gd name="connsiteX51" fmla="*/ 557327 w 581761"/>
                <a:gd name="connsiteY51" fmla="*/ 285750 h 676275"/>
                <a:gd name="connsiteX52" fmla="*/ 566852 w 581761"/>
                <a:gd name="connsiteY52" fmla="*/ 271463 h 676275"/>
                <a:gd name="connsiteX53" fmla="*/ 581139 w 581761"/>
                <a:gd name="connsiteY53" fmla="*/ 257175 h 676275"/>
                <a:gd name="connsiteX54" fmla="*/ 576377 w 581761"/>
                <a:gd name="connsiteY54" fmla="*/ 238125 h 676275"/>
                <a:gd name="connsiteX55" fmla="*/ 533514 w 581761"/>
                <a:gd name="connsiteY55" fmla="*/ 214313 h 676275"/>
                <a:gd name="connsiteX56" fmla="*/ 500177 w 581761"/>
                <a:gd name="connsiteY56" fmla="*/ 171450 h 676275"/>
                <a:gd name="connsiteX57" fmla="*/ 490652 w 581761"/>
                <a:gd name="connsiteY57" fmla="*/ 157163 h 676275"/>
                <a:gd name="connsiteX58" fmla="*/ 481127 w 581761"/>
                <a:gd name="connsiteY58" fmla="*/ 142875 h 676275"/>
                <a:gd name="connsiteX59" fmla="*/ 443027 w 581761"/>
                <a:gd name="connsiteY59" fmla="*/ 147638 h 676275"/>
                <a:gd name="connsiteX60" fmla="*/ 423977 w 581761"/>
                <a:gd name="connsiteY60" fmla="*/ 152400 h 676275"/>
                <a:gd name="connsiteX61" fmla="*/ 400164 w 581761"/>
                <a:gd name="connsiteY61" fmla="*/ 147638 h 676275"/>
                <a:gd name="connsiteX62" fmla="*/ 385877 w 581761"/>
                <a:gd name="connsiteY62" fmla="*/ 133350 h 676275"/>
                <a:gd name="connsiteX63" fmla="*/ 371589 w 581761"/>
                <a:gd name="connsiteY63" fmla="*/ 114300 h 676275"/>
                <a:gd name="connsiteX64" fmla="*/ 343014 w 581761"/>
                <a:gd name="connsiteY64" fmla="*/ 100013 h 676275"/>
                <a:gd name="connsiteX65" fmla="*/ 314439 w 581761"/>
                <a:gd name="connsiteY65" fmla="*/ 80963 h 676275"/>
                <a:gd name="connsiteX66" fmla="*/ 295389 w 581761"/>
                <a:gd name="connsiteY66" fmla="*/ 76200 h 676275"/>
                <a:gd name="connsiteX67" fmla="*/ 233477 w 581761"/>
                <a:gd name="connsiteY67" fmla="*/ 66675 h 676275"/>
                <a:gd name="connsiteX68" fmla="*/ 214427 w 581761"/>
                <a:gd name="connsiteY68" fmla="*/ 61913 h 676275"/>
                <a:gd name="connsiteX69" fmla="*/ 200139 w 581761"/>
                <a:gd name="connsiteY69" fmla="*/ 52388 h 676275"/>
                <a:gd name="connsiteX70" fmla="*/ 181089 w 581761"/>
                <a:gd name="connsiteY70" fmla="*/ 42863 h 676275"/>
                <a:gd name="connsiteX71" fmla="*/ 166802 w 581761"/>
                <a:gd name="connsiteY71" fmla="*/ 28575 h 676275"/>
                <a:gd name="connsiteX72" fmla="*/ 147752 w 581761"/>
                <a:gd name="connsiteY72" fmla="*/ 0 h 676275"/>
                <a:gd name="connsiteX73" fmla="*/ 133464 w 581761"/>
                <a:gd name="connsiteY73" fmla="*/ 4763 h 676275"/>
                <a:gd name="connsiteX74" fmla="*/ 166802 w 581761"/>
                <a:gd name="connsiteY74" fmla="*/ 23813 h 676275"/>
                <a:gd name="connsiteX0" fmla="*/ 166802 w 581761"/>
                <a:gd name="connsiteY0" fmla="*/ 23813 h 676275"/>
                <a:gd name="connsiteX1" fmla="*/ 119177 w 581761"/>
                <a:gd name="connsiteY1" fmla="*/ 28575 h 676275"/>
                <a:gd name="connsiteX2" fmla="*/ 90602 w 581761"/>
                <a:gd name="connsiteY2" fmla="*/ 38100 h 676275"/>
                <a:gd name="connsiteX3" fmla="*/ 76314 w 581761"/>
                <a:gd name="connsiteY3" fmla="*/ 42863 h 676275"/>
                <a:gd name="connsiteX4" fmla="*/ 47739 w 581761"/>
                <a:gd name="connsiteY4" fmla="*/ 76200 h 676275"/>
                <a:gd name="connsiteX5" fmla="*/ 42977 w 581761"/>
                <a:gd name="connsiteY5" fmla="*/ 95250 h 676275"/>
                <a:gd name="connsiteX6" fmla="*/ 38214 w 581761"/>
                <a:gd name="connsiteY6" fmla="*/ 109538 h 676275"/>
                <a:gd name="connsiteX7" fmla="*/ 33452 w 581761"/>
                <a:gd name="connsiteY7" fmla="*/ 152400 h 676275"/>
                <a:gd name="connsiteX8" fmla="*/ 23927 w 581761"/>
                <a:gd name="connsiteY8" fmla="*/ 166688 h 676275"/>
                <a:gd name="connsiteX9" fmla="*/ 19164 w 581761"/>
                <a:gd name="connsiteY9" fmla="*/ 185738 h 676275"/>
                <a:gd name="connsiteX10" fmla="*/ 14402 w 581761"/>
                <a:gd name="connsiteY10" fmla="*/ 200025 h 676275"/>
                <a:gd name="connsiteX11" fmla="*/ 9639 w 581761"/>
                <a:gd name="connsiteY11" fmla="*/ 266700 h 676275"/>
                <a:gd name="connsiteX12" fmla="*/ 114 w 581761"/>
                <a:gd name="connsiteY12" fmla="*/ 285750 h 676275"/>
                <a:gd name="connsiteX13" fmla="*/ 19164 w 581761"/>
                <a:gd name="connsiteY13" fmla="*/ 314325 h 676275"/>
                <a:gd name="connsiteX14" fmla="*/ 33452 w 581761"/>
                <a:gd name="connsiteY14" fmla="*/ 319088 h 676275"/>
                <a:gd name="connsiteX15" fmla="*/ 42977 w 581761"/>
                <a:gd name="connsiteY15" fmla="*/ 357188 h 676275"/>
                <a:gd name="connsiteX16" fmla="*/ 66789 w 581761"/>
                <a:gd name="connsiteY16" fmla="*/ 385763 h 676275"/>
                <a:gd name="connsiteX17" fmla="*/ 100127 w 581761"/>
                <a:gd name="connsiteY17" fmla="*/ 395288 h 676275"/>
                <a:gd name="connsiteX18" fmla="*/ 104889 w 581761"/>
                <a:gd name="connsiteY18" fmla="*/ 428625 h 676275"/>
                <a:gd name="connsiteX19" fmla="*/ 109652 w 581761"/>
                <a:gd name="connsiteY19" fmla="*/ 442913 h 676275"/>
                <a:gd name="connsiteX20" fmla="*/ 114414 w 581761"/>
                <a:gd name="connsiteY20" fmla="*/ 466725 h 676275"/>
                <a:gd name="connsiteX21" fmla="*/ 119177 w 581761"/>
                <a:gd name="connsiteY21" fmla="*/ 561975 h 676275"/>
                <a:gd name="connsiteX22" fmla="*/ 123939 w 581761"/>
                <a:gd name="connsiteY22" fmla="*/ 576263 h 676275"/>
                <a:gd name="connsiteX23" fmla="*/ 133464 w 581761"/>
                <a:gd name="connsiteY23" fmla="*/ 642938 h 676275"/>
                <a:gd name="connsiteX24" fmla="*/ 142989 w 581761"/>
                <a:gd name="connsiteY24" fmla="*/ 657225 h 676275"/>
                <a:gd name="connsiteX25" fmla="*/ 157277 w 581761"/>
                <a:gd name="connsiteY25" fmla="*/ 671513 h 676275"/>
                <a:gd name="connsiteX26" fmla="*/ 171564 w 581761"/>
                <a:gd name="connsiteY26" fmla="*/ 676275 h 676275"/>
                <a:gd name="connsiteX27" fmla="*/ 195377 w 581761"/>
                <a:gd name="connsiteY27" fmla="*/ 666750 h 676275"/>
                <a:gd name="connsiteX28" fmla="*/ 214427 w 581761"/>
                <a:gd name="connsiteY28" fmla="*/ 657225 h 676275"/>
                <a:gd name="connsiteX29" fmla="*/ 233477 w 581761"/>
                <a:gd name="connsiteY29" fmla="*/ 652463 h 676275"/>
                <a:gd name="connsiteX30" fmla="*/ 247764 w 581761"/>
                <a:gd name="connsiteY30" fmla="*/ 647700 h 676275"/>
                <a:gd name="connsiteX31" fmla="*/ 281102 w 581761"/>
                <a:gd name="connsiteY31" fmla="*/ 642938 h 676275"/>
                <a:gd name="connsiteX32" fmla="*/ 319202 w 581761"/>
                <a:gd name="connsiteY32" fmla="*/ 633413 h 676275"/>
                <a:gd name="connsiteX33" fmla="*/ 333489 w 581761"/>
                <a:gd name="connsiteY33" fmla="*/ 619125 h 676275"/>
                <a:gd name="connsiteX34" fmla="*/ 347777 w 581761"/>
                <a:gd name="connsiteY34" fmla="*/ 614363 h 676275"/>
                <a:gd name="connsiteX35" fmla="*/ 357302 w 581761"/>
                <a:gd name="connsiteY35" fmla="*/ 600075 h 676275"/>
                <a:gd name="connsiteX36" fmla="*/ 385877 w 581761"/>
                <a:gd name="connsiteY36" fmla="*/ 595313 h 676275"/>
                <a:gd name="connsiteX37" fmla="*/ 443027 w 581761"/>
                <a:gd name="connsiteY37" fmla="*/ 585788 h 676275"/>
                <a:gd name="connsiteX38" fmla="*/ 462077 w 581761"/>
                <a:gd name="connsiteY38" fmla="*/ 552450 h 676275"/>
                <a:gd name="connsiteX39" fmla="*/ 476364 w 581761"/>
                <a:gd name="connsiteY39" fmla="*/ 538163 h 676275"/>
                <a:gd name="connsiteX40" fmla="*/ 485889 w 581761"/>
                <a:gd name="connsiteY40" fmla="*/ 523875 h 676275"/>
                <a:gd name="connsiteX41" fmla="*/ 471602 w 581761"/>
                <a:gd name="connsiteY41" fmla="*/ 514350 h 676275"/>
                <a:gd name="connsiteX42" fmla="*/ 452552 w 581761"/>
                <a:gd name="connsiteY42" fmla="*/ 504825 h 676275"/>
                <a:gd name="connsiteX43" fmla="*/ 457314 w 581761"/>
                <a:gd name="connsiteY43" fmla="*/ 485775 h 676275"/>
                <a:gd name="connsiteX44" fmla="*/ 462077 w 581761"/>
                <a:gd name="connsiteY44" fmla="*/ 471488 h 676275"/>
                <a:gd name="connsiteX45" fmla="*/ 466839 w 581761"/>
                <a:gd name="connsiteY45" fmla="*/ 452438 h 676275"/>
                <a:gd name="connsiteX46" fmla="*/ 481127 w 581761"/>
                <a:gd name="connsiteY46" fmla="*/ 433388 h 676275"/>
                <a:gd name="connsiteX47" fmla="*/ 485889 w 581761"/>
                <a:gd name="connsiteY47" fmla="*/ 395288 h 676275"/>
                <a:gd name="connsiteX48" fmla="*/ 490652 w 581761"/>
                <a:gd name="connsiteY48" fmla="*/ 352425 h 676275"/>
                <a:gd name="connsiteX49" fmla="*/ 495414 w 581761"/>
                <a:gd name="connsiteY49" fmla="*/ 333375 h 676275"/>
                <a:gd name="connsiteX50" fmla="*/ 509702 w 581761"/>
                <a:gd name="connsiteY50" fmla="*/ 323850 h 676275"/>
                <a:gd name="connsiteX51" fmla="*/ 557327 w 581761"/>
                <a:gd name="connsiteY51" fmla="*/ 285750 h 676275"/>
                <a:gd name="connsiteX52" fmla="*/ 566852 w 581761"/>
                <a:gd name="connsiteY52" fmla="*/ 271463 h 676275"/>
                <a:gd name="connsiteX53" fmla="*/ 581139 w 581761"/>
                <a:gd name="connsiteY53" fmla="*/ 257175 h 676275"/>
                <a:gd name="connsiteX54" fmla="*/ 576377 w 581761"/>
                <a:gd name="connsiteY54" fmla="*/ 238125 h 676275"/>
                <a:gd name="connsiteX55" fmla="*/ 533514 w 581761"/>
                <a:gd name="connsiteY55" fmla="*/ 214313 h 676275"/>
                <a:gd name="connsiteX56" fmla="*/ 500177 w 581761"/>
                <a:gd name="connsiteY56" fmla="*/ 171450 h 676275"/>
                <a:gd name="connsiteX57" fmla="*/ 490652 w 581761"/>
                <a:gd name="connsiteY57" fmla="*/ 157163 h 676275"/>
                <a:gd name="connsiteX58" fmla="*/ 481127 w 581761"/>
                <a:gd name="connsiteY58" fmla="*/ 142875 h 676275"/>
                <a:gd name="connsiteX59" fmla="*/ 443027 w 581761"/>
                <a:gd name="connsiteY59" fmla="*/ 147638 h 676275"/>
                <a:gd name="connsiteX60" fmla="*/ 423977 w 581761"/>
                <a:gd name="connsiteY60" fmla="*/ 152400 h 676275"/>
                <a:gd name="connsiteX61" fmla="*/ 400164 w 581761"/>
                <a:gd name="connsiteY61" fmla="*/ 147638 h 676275"/>
                <a:gd name="connsiteX62" fmla="*/ 385877 w 581761"/>
                <a:gd name="connsiteY62" fmla="*/ 133350 h 676275"/>
                <a:gd name="connsiteX63" fmla="*/ 371589 w 581761"/>
                <a:gd name="connsiteY63" fmla="*/ 114300 h 676275"/>
                <a:gd name="connsiteX64" fmla="*/ 343014 w 581761"/>
                <a:gd name="connsiteY64" fmla="*/ 100013 h 676275"/>
                <a:gd name="connsiteX65" fmla="*/ 314439 w 581761"/>
                <a:gd name="connsiteY65" fmla="*/ 80963 h 676275"/>
                <a:gd name="connsiteX66" fmla="*/ 295389 w 581761"/>
                <a:gd name="connsiteY66" fmla="*/ 76200 h 676275"/>
                <a:gd name="connsiteX67" fmla="*/ 233477 w 581761"/>
                <a:gd name="connsiteY67" fmla="*/ 66675 h 676275"/>
                <a:gd name="connsiteX68" fmla="*/ 214427 w 581761"/>
                <a:gd name="connsiteY68" fmla="*/ 61913 h 676275"/>
                <a:gd name="connsiteX69" fmla="*/ 200139 w 581761"/>
                <a:gd name="connsiteY69" fmla="*/ 52388 h 676275"/>
                <a:gd name="connsiteX70" fmla="*/ 181089 w 581761"/>
                <a:gd name="connsiteY70" fmla="*/ 42863 h 676275"/>
                <a:gd name="connsiteX71" fmla="*/ 166802 w 581761"/>
                <a:gd name="connsiteY71" fmla="*/ 28575 h 676275"/>
                <a:gd name="connsiteX72" fmla="*/ 147752 w 581761"/>
                <a:gd name="connsiteY72" fmla="*/ 0 h 676275"/>
                <a:gd name="connsiteX73" fmla="*/ 133464 w 581761"/>
                <a:gd name="connsiteY73" fmla="*/ 4763 h 676275"/>
                <a:gd name="connsiteX74" fmla="*/ 166802 w 581761"/>
                <a:gd name="connsiteY74" fmla="*/ 23813 h 676275"/>
                <a:gd name="connsiteX0" fmla="*/ 166802 w 581761"/>
                <a:gd name="connsiteY0" fmla="*/ 23813 h 676275"/>
                <a:gd name="connsiteX1" fmla="*/ 119177 w 581761"/>
                <a:gd name="connsiteY1" fmla="*/ 28575 h 676275"/>
                <a:gd name="connsiteX2" fmla="*/ 90602 w 581761"/>
                <a:gd name="connsiteY2" fmla="*/ 38100 h 676275"/>
                <a:gd name="connsiteX3" fmla="*/ 76314 w 581761"/>
                <a:gd name="connsiteY3" fmla="*/ 42863 h 676275"/>
                <a:gd name="connsiteX4" fmla="*/ 47739 w 581761"/>
                <a:gd name="connsiteY4" fmla="*/ 76200 h 676275"/>
                <a:gd name="connsiteX5" fmla="*/ 42977 w 581761"/>
                <a:gd name="connsiteY5" fmla="*/ 95250 h 676275"/>
                <a:gd name="connsiteX6" fmla="*/ 38214 w 581761"/>
                <a:gd name="connsiteY6" fmla="*/ 109538 h 676275"/>
                <a:gd name="connsiteX7" fmla="*/ 33452 w 581761"/>
                <a:gd name="connsiteY7" fmla="*/ 152400 h 676275"/>
                <a:gd name="connsiteX8" fmla="*/ 23927 w 581761"/>
                <a:gd name="connsiteY8" fmla="*/ 166688 h 676275"/>
                <a:gd name="connsiteX9" fmla="*/ 19164 w 581761"/>
                <a:gd name="connsiteY9" fmla="*/ 185738 h 676275"/>
                <a:gd name="connsiteX10" fmla="*/ 14402 w 581761"/>
                <a:gd name="connsiteY10" fmla="*/ 200025 h 676275"/>
                <a:gd name="connsiteX11" fmla="*/ 9639 w 581761"/>
                <a:gd name="connsiteY11" fmla="*/ 266700 h 676275"/>
                <a:gd name="connsiteX12" fmla="*/ 114 w 581761"/>
                <a:gd name="connsiteY12" fmla="*/ 285750 h 676275"/>
                <a:gd name="connsiteX13" fmla="*/ 19164 w 581761"/>
                <a:gd name="connsiteY13" fmla="*/ 314325 h 676275"/>
                <a:gd name="connsiteX14" fmla="*/ 33452 w 581761"/>
                <a:gd name="connsiteY14" fmla="*/ 319088 h 676275"/>
                <a:gd name="connsiteX15" fmla="*/ 42977 w 581761"/>
                <a:gd name="connsiteY15" fmla="*/ 357188 h 676275"/>
                <a:gd name="connsiteX16" fmla="*/ 66789 w 581761"/>
                <a:gd name="connsiteY16" fmla="*/ 385763 h 676275"/>
                <a:gd name="connsiteX17" fmla="*/ 81077 w 581761"/>
                <a:gd name="connsiteY17" fmla="*/ 409575 h 676275"/>
                <a:gd name="connsiteX18" fmla="*/ 104889 w 581761"/>
                <a:gd name="connsiteY18" fmla="*/ 428625 h 676275"/>
                <a:gd name="connsiteX19" fmla="*/ 109652 w 581761"/>
                <a:gd name="connsiteY19" fmla="*/ 442913 h 676275"/>
                <a:gd name="connsiteX20" fmla="*/ 114414 w 581761"/>
                <a:gd name="connsiteY20" fmla="*/ 466725 h 676275"/>
                <a:gd name="connsiteX21" fmla="*/ 119177 w 581761"/>
                <a:gd name="connsiteY21" fmla="*/ 561975 h 676275"/>
                <a:gd name="connsiteX22" fmla="*/ 123939 w 581761"/>
                <a:gd name="connsiteY22" fmla="*/ 576263 h 676275"/>
                <a:gd name="connsiteX23" fmla="*/ 133464 w 581761"/>
                <a:gd name="connsiteY23" fmla="*/ 642938 h 676275"/>
                <a:gd name="connsiteX24" fmla="*/ 142989 w 581761"/>
                <a:gd name="connsiteY24" fmla="*/ 657225 h 676275"/>
                <a:gd name="connsiteX25" fmla="*/ 157277 w 581761"/>
                <a:gd name="connsiteY25" fmla="*/ 671513 h 676275"/>
                <a:gd name="connsiteX26" fmla="*/ 171564 w 581761"/>
                <a:gd name="connsiteY26" fmla="*/ 676275 h 676275"/>
                <a:gd name="connsiteX27" fmla="*/ 195377 w 581761"/>
                <a:gd name="connsiteY27" fmla="*/ 666750 h 676275"/>
                <a:gd name="connsiteX28" fmla="*/ 214427 w 581761"/>
                <a:gd name="connsiteY28" fmla="*/ 657225 h 676275"/>
                <a:gd name="connsiteX29" fmla="*/ 233477 w 581761"/>
                <a:gd name="connsiteY29" fmla="*/ 652463 h 676275"/>
                <a:gd name="connsiteX30" fmla="*/ 247764 w 581761"/>
                <a:gd name="connsiteY30" fmla="*/ 647700 h 676275"/>
                <a:gd name="connsiteX31" fmla="*/ 281102 w 581761"/>
                <a:gd name="connsiteY31" fmla="*/ 642938 h 676275"/>
                <a:gd name="connsiteX32" fmla="*/ 319202 w 581761"/>
                <a:gd name="connsiteY32" fmla="*/ 633413 h 676275"/>
                <a:gd name="connsiteX33" fmla="*/ 333489 w 581761"/>
                <a:gd name="connsiteY33" fmla="*/ 619125 h 676275"/>
                <a:gd name="connsiteX34" fmla="*/ 347777 w 581761"/>
                <a:gd name="connsiteY34" fmla="*/ 614363 h 676275"/>
                <a:gd name="connsiteX35" fmla="*/ 357302 w 581761"/>
                <a:gd name="connsiteY35" fmla="*/ 600075 h 676275"/>
                <a:gd name="connsiteX36" fmla="*/ 385877 w 581761"/>
                <a:gd name="connsiteY36" fmla="*/ 595313 h 676275"/>
                <a:gd name="connsiteX37" fmla="*/ 443027 w 581761"/>
                <a:gd name="connsiteY37" fmla="*/ 585788 h 676275"/>
                <a:gd name="connsiteX38" fmla="*/ 462077 w 581761"/>
                <a:gd name="connsiteY38" fmla="*/ 552450 h 676275"/>
                <a:gd name="connsiteX39" fmla="*/ 476364 w 581761"/>
                <a:gd name="connsiteY39" fmla="*/ 538163 h 676275"/>
                <a:gd name="connsiteX40" fmla="*/ 485889 w 581761"/>
                <a:gd name="connsiteY40" fmla="*/ 523875 h 676275"/>
                <a:gd name="connsiteX41" fmla="*/ 471602 w 581761"/>
                <a:gd name="connsiteY41" fmla="*/ 514350 h 676275"/>
                <a:gd name="connsiteX42" fmla="*/ 452552 w 581761"/>
                <a:gd name="connsiteY42" fmla="*/ 504825 h 676275"/>
                <a:gd name="connsiteX43" fmla="*/ 457314 w 581761"/>
                <a:gd name="connsiteY43" fmla="*/ 485775 h 676275"/>
                <a:gd name="connsiteX44" fmla="*/ 462077 w 581761"/>
                <a:gd name="connsiteY44" fmla="*/ 471488 h 676275"/>
                <a:gd name="connsiteX45" fmla="*/ 466839 w 581761"/>
                <a:gd name="connsiteY45" fmla="*/ 452438 h 676275"/>
                <a:gd name="connsiteX46" fmla="*/ 481127 w 581761"/>
                <a:gd name="connsiteY46" fmla="*/ 433388 h 676275"/>
                <a:gd name="connsiteX47" fmla="*/ 485889 w 581761"/>
                <a:gd name="connsiteY47" fmla="*/ 395288 h 676275"/>
                <a:gd name="connsiteX48" fmla="*/ 490652 w 581761"/>
                <a:gd name="connsiteY48" fmla="*/ 352425 h 676275"/>
                <a:gd name="connsiteX49" fmla="*/ 495414 w 581761"/>
                <a:gd name="connsiteY49" fmla="*/ 333375 h 676275"/>
                <a:gd name="connsiteX50" fmla="*/ 509702 w 581761"/>
                <a:gd name="connsiteY50" fmla="*/ 323850 h 676275"/>
                <a:gd name="connsiteX51" fmla="*/ 557327 w 581761"/>
                <a:gd name="connsiteY51" fmla="*/ 285750 h 676275"/>
                <a:gd name="connsiteX52" fmla="*/ 566852 w 581761"/>
                <a:gd name="connsiteY52" fmla="*/ 271463 h 676275"/>
                <a:gd name="connsiteX53" fmla="*/ 581139 w 581761"/>
                <a:gd name="connsiteY53" fmla="*/ 257175 h 676275"/>
                <a:gd name="connsiteX54" fmla="*/ 576377 w 581761"/>
                <a:gd name="connsiteY54" fmla="*/ 238125 h 676275"/>
                <a:gd name="connsiteX55" fmla="*/ 533514 w 581761"/>
                <a:gd name="connsiteY55" fmla="*/ 214313 h 676275"/>
                <a:gd name="connsiteX56" fmla="*/ 500177 w 581761"/>
                <a:gd name="connsiteY56" fmla="*/ 171450 h 676275"/>
                <a:gd name="connsiteX57" fmla="*/ 490652 w 581761"/>
                <a:gd name="connsiteY57" fmla="*/ 157163 h 676275"/>
                <a:gd name="connsiteX58" fmla="*/ 481127 w 581761"/>
                <a:gd name="connsiteY58" fmla="*/ 142875 h 676275"/>
                <a:gd name="connsiteX59" fmla="*/ 443027 w 581761"/>
                <a:gd name="connsiteY59" fmla="*/ 147638 h 676275"/>
                <a:gd name="connsiteX60" fmla="*/ 423977 w 581761"/>
                <a:gd name="connsiteY60" fmla="*/ 152400 h 676275"/>
                <a:gd name="connsiteX61" fmla="*/ 400164 w 581761"/>
                <a:gd name="connsiteY61" fmla="*/ 147638 h 676275"/>
                <a:gd name="connsiteX62" fmla="*/ 385877 w 581761"/>
                <a:gd name="connsiteY62" fmla="*/ 133350 h 676275"/>
                <a:gd name="connsiteX63" fmla="*/ 371589 w 581761"/>
                <a:gd name="connsiteY63" fmla="*/ 114300 h 676275"/>
                <a:gd name="connsiteX64" fmla="*/ 343014 w 581761"/>
                <a:gd name="connsiteY64" fmla="*/ 100013 h 676275"/>
                <a:gd name="connsiteX65" fmla="*/ 314439 w 581761"/>
                <a:gd name="connsiteY65" fmla="*/ 80963 h 676275"/>
                <a:gd name="connsiteX66" fmla="*/ 295389 w 581761"/>
                <a:gd name="connsiteY66" fmla="*/ 76200 h 676275"/>
                <a:gd name="connsiteX67" fmla="*/ 233477 w 581761"/>
                <a:gd name="connsiteY67" fmla="*/ 66675 h 676275"/>
                <a:gd name="connsiteX68" fmla="*/ 214427 w 581761"/>
                <a:gd name="connsiteY68" fmla="*/ 61913 h 676275"/>
                <a:gd name="connsiteX69" fmla="*/ 200139 w 581761"/>
                <a:gd name="connsiteY69" fmla="*/ 52388 h 676275"/>
                <a:gd name="connsiteX70" fmla="*/ 181089 w 581761"/>
                <a:gd name="connsiteY70" fmla="*/ 42863 h 676275"/>
                <a:gd name="connsiteX71" fmla="*/ 166802 w 581761"/>
                <a:gd name="connsiteY71" fmla="*/ 28575 h 676275"/>
                <a:gd name="connsiteX72" fmla="*/ 147752 w 581761"/>
                <a:gd name="connsiteY72" fmla="*/ 0 h 676275"/>
                <a:gd name="connsiteX73" fmla="*/ 133464 w 581761"/>
                <a:gd name="connsiteY73" fmla="*/ 4763 h 676275"/>
                <a:gd name="connsiteX74" fmla="*/ 166802 w 581761"/>
                <a:gd name="connsiteY74" fmla="*/ 23813 h 676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581761" h="676275">
                  <a:moveTo>
                    <a:pt x="166802" y="23813"/>
                  </a:moveTo>
                  <a:cubicBezTo>
                    <a:pt x="164421" y="27782"/>
                    <a:pt x="134858" y="25635"/>
                    <a:pt x="119177" y="28575"/>
                  </a:cubicBezTo>
                  <a:cubicBezTo>
                    <a:pt x="109309" y="30425"/>
                    <a:pt x="100127" y="34925"/>
                    <a:pt x="90602" y="38100"/>
                  </a:cubicBezTo>
                  <a:lnTo>
                    <a:pt x="76314" y="42863"/>
                  </a:lnTo>
                  <a:cubicBezTo>
                    <a:pt x="66783" y="52394"/>
                    <a:pt x="53848" y="63982"/>
                    <a:pt x="47739" y="76200"/>
                  </a:cubicBezTo>
                  <a:cubicBezTo>
                    <a:pt x="44812" y="82054"/>
                    <a:pt x="44775" y="88956"/>
                    <a:pt x="42977" y="95250"/>
                  </a:cubicBezTo>
                  <a:cubicBezTo>
                    <a:pt x="41598" y="100077"/>
                    <a:pt x="39802" y="104775"/>
                    <a:pt x="38214" y="109538"/>
                  </a:cubicBezTo>
                  <a:cubicBezTo>
                    <a:pt x="36627" y="123825"/>
                    <a:pt x="36938" y="138454"/>
                    <a:pt x="33452" y="152400"/>
                  </a:cubicBezTo>
                  <a:cubicBezTo>
                    <a:pt x="32064" y="157953"/>
                    <a:pt x="26182" y="161427"/>
                    <a:pt x="23927" y="166688"/>
                  </a:cubicBezTo>
                  <a:cubicBezTo>
                    <a:pt x="21349" y="172704"/>
                    <a:pt x="20962" y="179444"/>
                    <a:pt x="19164" y="185738"/>
                  </a:cubicBezTo>
                  <a:cubicBezTo>
                    <a:pt x="17785" y="190565"/>
                    <a:pt x="15989" y="195263"/>
                    <a:pt x="14402" y="200025"/>
                  </a:cubicBezTo>
                  <a:cubicBezTo>
                    <a:pt x="12814" y="222250"/>
                    <a:pt x="13302" y="244722"/>
                    <a:pt x="9639" y="266700"/>
                  </a:cubicBezTo>
                  <a:cubicBezTo>
                    <a:pt x="8472" y="273703"/>
                    <a:pt x="1118" y="278722"/>
                    <a:pt x="114" y="285750"/>
                  </a:cubicBezTo>
                  <a:cubicBezTo>
                    <a:pt x="-1405" y="296387"/>
                    <a:pt x="12613" y="309957"/>
                    <a:pt x="19164" y="314325"/>
                  </a:cubicBezTo>
                  <a:cubicBezTo>
                    <a:pt x="23341" y="317110"/>
                    <a:pt x="29483" y="311944"/>
                    <a:pt x="33452" y="319088"/>
                  </a:cubicBezTo>
                  <a:cubicBezTo>
                    <a:pt x="37421" y="326232"/>
                    <a:pt x="37421" y="346076"/>
                    <a:pt x="42977" y="357188"/>
                  </a:cubicBezTo>
                  <a:cubicBezTo>
                    <a:pt x="48533" y="368301"/>
                    <a:pt x="60439" y="377032"/>
                    <a:pt x="66789" y="385763"/>
                  </a:cubicBezTo>
                  <a:cubicBezTo>
                    <a:pt x="73139" y="394494"/>
                    <a:pt x="53779" y="368626"/>
                    <a:pt x="81077" y="409575"/>
                  </a:cubicBezTo>
                  <a:cubicBezTo>
                    <a:pt x="82664" y="420687"/>
                    <a:pt x="100127" y="423069"/>
                    <a:pt x="104889" y="428625"/>
                  </a:cubicBezTo>
                  <a:cubicBezTo>
                    <a:pt x="109652" y="434181"/>
                    <a:pt x="108434" y="438043"/>
                    <a:pt x="109652" y="442913"/>
                  </a:cubicBezTo>
                  <a:cubicBezTo>
                    <a:pt x="111615" y="450766"/>
                    <a:pt x="112827" y="458788"/>
                    <a:pt x="114414" y="466725"/>
                  </a:cubicBezTo>
                  <a:cubicBezTo>
                    <a:pt x="116002" y="498475"/>
                    <a:pt x="116423" y="530305"/>
                    <a:pt x="119177" y="561975"/>
                  </a:cubicBezTo>
                  <a:cubicBezTo>
                    <a:pt x="119612" y="566976"/>
                    <a:pt x="123176" y="571301"/>
                    <a:pt x="123939" y="576263"/>
                  </a:cubicBezTo>
                  <a:cubicBezTo>
                    <a:pt x="125483" y="586298"/>
                    <a:pt x="126421" y="626504"/>
                    <a:pt x="133464" y="642938"/>
                  </a:cubicBezTo>
                  <a:cubicBezTo>
                    <a:pt x="135719" y="648199"/>
                    <a:pt x="139325" y="652828"/>
                    <a:pt x="142989" y="657225"/>
                  </a:cubicBezTo>
                  <a:cubicBezTo>
                    <a:pt x="147301" y="662399"/>
                    <a:pt x="151673" y="667777"/>
                    <a:pt x="157277" y="671513"/>
                  </a:cubicBezTo>
                  <a:cubicBezTo>
                    <a:pt x="161454" y="674298"/>
                    <a:pt x="166802" y="674688"/>
                    <a:pt x="171564" y="676275"/>
                  </a:cubicBezTo>
                  <a:cubicBezTo>
                    <a:pt x="179502" y="673100"/>
                    <a:pt x="187565" y="670222"/>
                    <a:pt x="195377" y="666750"/>
                  </a:cubicBezTo>
                  <a:cubicBezTo>
                    <a:pt x="201865" y="663867"/>
                    <a:pt x="207779" y="659718"/>
                    <a:pt x="214427" y="657225"/>
                  </a:cubicBezTo>
                  <a:cubicBezTo>
                    <a:pt x="220556" y="654927"/>
                    <a:pt x="227183" y="654261"/>
                    <a:pt x="233477" y="652463"/>
                  </a:cubicBezTo>
                  <a:cubicBezTo>
                    <a:pt x="238304" y="651084"/>
                    <a:pt x="242841" y="648685"/>
                    <a:pt x="247764" y="647700"/>
                  </a:cubicBezTo>
                  <a:cubicBezTo>
                    <a:pt x="258771" y="645499"/>
                    <a:pt x="270029" y="644783"/>
                    <a:pt x="281102" y="642938"/>
                  </a:cubicBezTo>
                  <a:cubicBezTo>
                    <a:pt x="304084" y="639108"/>
                    <a:pt x="300803" y="639545"/>
                    <a:pt x="319202" y="633413"/>
                  </a:cubicBezTo>
                  <a:cubicBezTo>
                    <a:pt x="323964" y="628650"/>
                    <a:pt x="327885" y="622861"/>
                    <a:pt x="333489" y="619125"/>
                  </a:cubicBezTo>
                  <a:cubicBezTo>
                    <a:pt x="337666" y="616340"/>
                    <a:pt x="343857" y="617499"/>
                    <a:pt x="347777" y="614363"/>
                  </a:cubicBezTo>
                  <a:cubicBezTo>
                    <a:pt x="352247" y="610787"/>
                    <a:pt x="352182" y="602635"/>
                    <a:pt x="357302" y="600075"/>
                  </a:cubicBezTo>
                  <a:cubicBezTo>
                    <a:pt x="365939" y="595757"/>
                    <a:pt x="376408" y="597207"/>
                    <a:pt x="385877" y="595313"/>
                  </a:cubicBezTo>
                  <a:cubicBezTo>
                    <a:pt x="438329" y="584823"/>
                    <a:pt x="357398" y="596490"/>
                    <a:pt x="443027" y="585788"/>
                  </a:cubicBezTo>
                  <a:cubicBezTo>
                    <a:pt x="481688" y="547125"/>
                    <a:pt x="436491" y="597225"/>
                    <a:pt x="462077" y="552450"/>
                  </a:cubicBezTo>
                  <a:cubicBezTo>
                    <a:pt x="465419" y="546602"/>
                    <a:pt x="472052" y="543337"/>
                    <a:pt x="476364" y="538163"/>
                  </a:cubicBezTo>
                  <a:cubicBezTo>
                    <a:pt x="480028" y="533766"/>
                    <a:pt x="482714" y="528638"/>
                    <a:pt x="485889" y="523875"/>
                  </a:cubicBezTo>
                  <a:cubicBezTo>
                    <a:pt x="481127" y="520700"/>
                    <a:pt x="476572" y="517190"/>
                    <a:pt x="471602" y="514350"/>
                  </a:cubicBezTo>
                  <a:cubicBezTo>
                    <a:pt x="465438" y="510828"/>
                    <a:pt x="455727" y="511175"/>
                    <a:pt x="452552" y="504825"/>
                  </a:cubicBezTo>
                  <a:cubicBezTo>
                    <a:pt x="449625" y="498971"/>
                    <a:pt x="455516" y="492069"/>
                    <a:pt x="457314" y="485775"/>
                  </a:cubicBezTo>
                  <a:cubicBezTo>
                    <a:pt x="458693" y="480948"/>
                    <a:pt x="460698" y="476315"/>
                    <a:pt x="462077" y="471488"/>
                  </a:cubicBezTo>
                  <a:cubicBezTo>
                    <a:pt x="463875" y="465194"/>
                    <a:pt x="463912" y="458292"/>
                    <a:pt x="466839" y="452438"/>
                  </a:cubicBezTo>
                  <a:cubicBezTo>
                    <a:pt x="470389" y="445338"/>
                    <a:pt x="476364" y="439738"/>
                    <a:pt x="481127" y="433388"/>
                  </a:cubicBezTo>
                  <a:cubicBezTo>
                    <a:pt x="482714" y="420688"/>
                    <a:pt x="484394" y="407999"/>
                    <a:pt x="485889" y="395288"/>
                  </a:cubicBezTo>
                  <a:cubicBezTo>
                    <a:pt x="487569" y="381011"/>
                    <a:pt x="488466" y="366633"/>
                    <a:pt x="490652" y="352425"/>
                  </a:cubicBezTo>
                  <a:cubicBezTo>
                    <a:pt x="491647" y="345956"/>
                    <a:pt x="491783" y="338821"/>
                    <a:pt x="495414" y="333375"/>
                  </a:cubicBezTo>
                  <a:cubicBezTo>
                    <a:pt x="498589" y="328612"/>
                    <a:pt x="505447" y="327679"/>
                    <a:pt x="509702" y="323850"/>
                  </a:cubicBezTo>
                  <a:cubicBezTo>
                    <a:pt x="553099" y="284793"/>
                    <a:pt x="526051" y="296176"/>
                    <a:pt x="557327" y="285750"/>
                  </a:cubicBezTo>
                  <a:cubicBezTo>
                    <a:pt x="560502" y="280988"/>
                    <a:pt x="563188" y="275860"/>
                    <a:pt x="566852" y="271463"/>
                  </a:cubicBezTo>
                  <a:cubicBezTo>
                    <a:pt x="571164" y="266289"/>
                    <a:pt x="579289" y="263651"/>
                    <a:pt x="581139" y="257175"/>
                  </a:cubicBezTo>
                  <a:cubicBezTo>
                    <a:pt x="582937" y="250881"/>
                    <a:pt x="580687" y="243051"/>
                    <a:pt x="576377" y="238125"/>
                  </a:cubicBezTo>
                  <a:cubicBezTo>
                    <a:pt x="562890" y="222711"/>
                    <a:pt x="550214" y="219879"/>
                    <a:pt x="533514" y="214313"/>
                  </a:cubicBezTo>
                  <a:cubicBezTo>
                    <a:pt x="511132" y="191930"/>
                    <a:pt x="522964" y="205630"/>
                    <a:pt x="500177" y="171450"/>
                  </a:cubicBezTo>
                  <a:lnTo>
                    <a:pt x="490652" y="157163"/>
                  </a:lnTo>
                  <a:lnTo>
                    <a:pt x="481127" y="142875"/>
                  </a:lnTo>
                  <a:cubicBezTo>
                    <a:pt x="468427" y="144463"/>
                    <a:pt x="455652" y="145534"/>
                    <a:pt x="443027" y="147638"/>
                  </a:cubicBezTo>
                  <a:cubicBezTo>
                    <a:pt x="436571" y="148714"/>
                    <a:pt x="430522" y="152400"/>
                    <a:pt x="423977" y="152400"/>
                  </a:cubicBezTo>
                  <a:cubicBezTo>
                    <a:pt x="415882" y="152400"/>
                    <a:pt x="408102" y="149225"/>
                    <a:pt x="400164" y="147638"/>
                  </a:cubicBezTo>
                  <a:cubicBezTo>
                    <a:pt x="395402" y="142875"/>
                    <a:pt x="390260" y="138464"/>
                    <a:pt x="385877" y="133350"/>
                  </a:cubicBezTo>
                  <a:cubicBezTo>
                    <a:pt x="380711" y="127323"/>
                    <a:pt x="377202" y="119913"/>
                    <a:pt x="371589" y="114300"/>
                  </a:cubicBezTo>
                  <a:cubicBezTo>
                    <a:pt x="362356" y="105067"/>
                    <a:pt x="354636" y="103886"/>
                    <a:pt x="343014" y="100013"/>
                  </a:cubicBezTo>
                  <a:lnTo>
                    <a:pt x="314439" y="80963"/>
                  </a:lnTo>
                  <a:cubicBezTo>
                    <a:pt x="308993" y="77332"/>
                    <a:pt x="301683" y="77998"/>
                    <a:pt x="295389" y="76200"/>
                  </a:cubicBezTo>
                  <a:cubicBezTo>
                    <a:pt x="258426" y="65639"/>
                    <a:pt x="310061" y="74334"/>
                    <a:pt x="233477" y="66675"/>
                  </a:cubicBezTo>
                  <a:cubicBezTo>
                    <a:pt x="227127" y="65088"/>
                    <a:pt x="220443" y="64491"/>
                    <a:pt x="214427" y="61913"/>
                  </a:cubicBezTo>
                  <a:cubicBezTo>
                    <a:pt x="209166" y="59658"/>
                    <a:pt x="205109" y="55228"/>
                    <a:pt x="200139" y="52388"/>
                  </a:cubicBezTo>
                  <a:cubicBezTo>
                    <a:pt x="193975" y="48866"/>
                    <a:pt x="187439" y="46038"/>
                    <a:pt x="181089" y="42863"/>
                  </a:cubicBezTo>
                  <a:cubicBezTo>
                    <a:pt x="176327" y="38100"/>
                    <a:pt x="170144" y="34423"/>
                    <a:pt x="166802" y="28575"/>
                  </a:cubicBezTo>
                  <a:cubicBezTo>
                    <a:pt x="147877" y="-4544"/>
                    <a:pt x="178655" y="20602"/>
                    <a:pt x="147752" y="0"/>
                  </a:cubicBezTo>
                  <a:cubicBezTo>
                    <a:pt x="142989" y="1588"/>
                    <a:pt x="135709" y="273"/>
                    <a:pt x="133464" y="4763"/>
                  </a:cubicBezTo>
                  <a:cubicBezTo>
                    <a:pt x="129343" y="13005"/>
                    <a:pt x="169183" y="19844"/>
                    <a:pt x="166802" y="23813"/>
                  </a:cubicBezTo>
                  <a:close/>
                </a:path>
              </a:pathLst>
            </a:custGeom>
            <a:solidFill>
              <a:srgbClr val="EDDD32"/>
            </a:solidFill>
            <a:ln w="9525" cap="flat" cmpd="sng" algn="ctr">
              <a:solidFill>
                <a:srgbClr val="4866A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8383">
                <a:buClr>
                  <a:srgbClr val="000000"/>
                </a:buClr>
                <a:buSzPct val="100000"/>
              </a:pPr>
              <a:endParaRPr lang="pt-BR" sz="102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66" name="Freeform 30"/>
            <p:cNvSpPr/>
            <p:nvPr/>
          </p:nvSpPr>
          <p:spPr bwMode="auto">
            <a:xfrm>
              <a:off x="12862508" y="2745492"/>
              <a:ext cx="435828" cy="607160"/>
            </a:xfrm>
            <a:custGeom>
              <a:avLst/>
              <a:gdLst>
                <a:gd name="connsiteX0" fmla="*/ 628650 w 1471612"/>
                <a:gd name="connsiteY0" fmla="*/ 1140065 h 2016796"/>
                <a:gd name="connsiteX1" fmla="*/ 590550 w 1471612"/>
                <a:gd name="connsiteY1" fmla="*/ 1101965 h 2016796"/>
                <a:gd name="connsiteX2" fmla="*/ 571500 w 1471612"/>
                <a:gd name="connsiteY2" fmla="*/ 1106727 h 2016796"/>
                <a:gd name="connsiteX3" fmla="*/ 547687 w 1471612"/>
                <a:gd name="connsiteY3" fmla="*/ 1130540 h 2016796"/>
                <a:gd name="connsiteX4" fmla="*/ 542925 w 1471612"/>
                <a:gd name="connsiteY4" fmla="*/ 1159115 h 2016796"/>
                <a:gd name="connsiteX5" fmla="*/ 500062 w 1471612"/>
                <a:gd name="connsiteY5" fmla="*/ 1182927 h 2016796"/>
                <a:gd name="connsiteX6" fmla="*/ 423862 w 1471612"/>
                <a:gd name="connsiteY6" fmla="*/ 1187690 h 2016796"/>
                <a:gd name="connsiteX7" fmla="*/ 400050 w 1471612"/>
                <a:gd name="connsiteY7" fmla="*/ 1182927 h 2016796"/>
                <a:gd name="connsiteX8" fmla="*/ 385762 w 1471612"/>
                <a:gd name="connsiteY8" fmla="*/ 1154352 h 2016796"/>
                <a:gd name="connsiteX9" fmla="*/ 361950 w 1471612"/>
                <a:gd name="connsiteY9" fmla="*/ 1125777 h 2016796"/>
                <a:gd name="connsiteX10" fmla="*/ 323850 w 1471612"/>
                <a:gd name="connsiteY10" fmla="*/ 1101965 h 2016796"/>
                <a:gd name="connsiteX11" fmla="*/ 295275 w 1471612"/>
                <a:gd name="connsiteY11" fmla="*/ 1092440 h 2016796"/>
                <a:gd name="connsiteX12" fmla="*/ 300037 w 1471612"/>
                <a:gd name="connsiteY12" fmla="*/ 1068627 h 2016796"/>
                <a:gd name="connsiteX13" fmla="*/ 314325 w 1471612"/>
                <a:gd name="connsiteY13" fmla="*/ 1054340 h 2016796"/>
                <a:gd name="connsiteX14" fmla="*/ 319087 w 1471612"/>
                <a:gd name="connsiteY14" fmla="*/ 1040052 h 2016796"/>
                <a:gd name="connsiteX15" fmla="*/ 309562 w 1471612"/>
                <a:gd name="connsiteY15" fmla="*/ 1011477 h 2016796"/>
                <a:gd name="connsiteX16" fmla="*/ 304800 w 1471612"/>
                <a:gd name="connsiteY16" fmla="*/ 992427 h 2016796"/>
                <a:gd name="connsiteX17" fmla="*/ 295275 w 1471612"/>
                <a:gd name="connsiteY17" fmla="*/ 978140 h 2016796"/>
                <a:gd name="connsiteX18" fmla="*/ 300037 w 1471612"/>
                <a:gd name="connsiteY18" fmla="*/ 963852 h 2016796"/>
                <a:gd name="connsiteX19" fmla="*/ 309562 w 1471612"/>
                <a:gd name="connsiteY19" fmla="*/ 949565 h 2016796"/>
                <a:gd name="connsiteX20" fmla="*/ 328612 w 1471612"/>
                <a:gd name="connsiteY20" fmla="*/ 882890 h 2016796"/>
                <a:gd name="connsiteX21" fmla="*/ 333375 w 1471612"/>
                <a:gd name="connsiteY21" fmla="*/ 868602 h 2016796"/>
                <a:gd name="connsiteX22" fmla="*/ 352425 w 1471612"/>
                <a:gd name="connsiteY22" fmla="*/ 840027 h 2016796"/>
                <a:gd name="connsiteX23" fmla="*/ 357187 w 1471612"/>
                <a:gd name="connsiteY23" fmla="*/ 825740 h 2016796"/>
                <a:gd name="connsiteX24" fmla="*/ 409575 w 1471612"/>
                <a:gd name="connsiteY24" fmla="*/ 797165 h 2016796"/>
                <a:gd name="connsiteX25" fmla="*/ 423862 w 1471612"/>
                <a:gd name="connsiteY25" fmla="*/ 782877 h 2016796"/>
                <a:gd name="connsiteX26" fmla="*/ 428625 w 1471612"/>
                <a:gd name="connsiteY26" fmla="*/ 768590 h 2016796"/>
                <a:gd name="connsiteX27" fmla="*/ 409575 w 1471612"/>
                <a:gd name="connsiteY27" fmla="*/ 740015 h 2016796"/>
                <a:gd name="connsiteX28" fmla="*/ 381000 w 1471612"/>
                <a:gd name="connsiteY28" fmla="*/ 725727 h 2016796"/>
                <a:gd name="connsiteX29" fmla="*/ 333375 w 1471612"/>
                <a:gd name="connsiteY29" fmla="*/ 668577 h 2016796"/>
                <a:gd name="connsiteX30" fmla="*/ 328612 w 1471612"/>
                <a:gd name="connsiteY30" fmla="*/ 654290 h 2016796"/>
                <a:gd name="connsiteX31" fmla="*/ 309562 w 1471612"/>
                <a:gd name="connsiteY31" fmla="*/ 659052 h 2016796"/>
                <a:gd name="connsiteX32" fmla="*/ 257175 w 1471612"/>
                <a:gd name="connsiteY32" fmla="*/ 654290 h 2016796"/>
                <a:gd name="connsiteX33" fmla="*/ 242887 w 1471612"/>
                <a:gd name="connsiteY33" fmla="*/ 649527 h 2016796"/>
                <a:gd name="connsiteX34" fmla="*/ 209550 w 1471612"/>
                <a:gd name="connsiteY34" fmla="*/ 640002 h 2016796"/>
                <a:gd name="connsiteX35" fmla="*/ 176212 w 1471612"/>
                <a:gd name="connsiteY35" fmla="*/ 606665 h 2016796"/>
                <a:gd name="connsiteX36" fmla="*/ 161925 w 1471612"/>
                <a:gd name="connsiteY36" fmla="*/ 587615 h 2016796"/>
                <a:gd name="connsiteX37" fmla="*/ 147637 w 1471612"/>
                <a:gd name="connsiteY37" fmla="*/ 582852 h 2016796"/>
                <a:gd name="connsiteX38" fmla="*/ 119062 w 1471612"/>
                <a:gd name="connsiteY38" fmla="*/ 587615 h 2016796"/>
                <a:gd name="connsiteX39" fmla="*/ 57150 w 1471612"/>
                <a:gd name="connsiteY39" fmla="*/ 559040 h 2016796"/>
                <a:gd name="connsiteX40" fmla="*/ 38100 w 1471612"/>
                <a:gd name="connsiteY40" fmla="*/ 554277 h 2016796"/>
                <a:gd name="connsiteX41" fmla="*/ 0 w 1471612"/>
                <a:gd name="connsiteY41" fmla="*/ 544752 h 2016796"/>
                <a:gd name="connsiteX42" fmla="*/ 9525 w 1471612"/>
                <a:gd name="connsiteY42" fmla="*/ 525702 h 2016796"/>
                <a:gd name="connsiteX43" fmla="*/ 38100 w 1471612"/>
                <a:gd name="connsiteY43" fmla="*/ 482840 h 2016796"/>
                <a:gd name="connsiteX44" fmla="*/ 52387 w 1471612"/>
                <a:gd name="connsiteY44" fmla="*/ 473315 h 2016796"/>
                <a:gd name="connsiteX45" fmla="*/ 66675 w 1471612"/>
                <a:gd name="connsiteY45" fmla="*/ 459027 h 2016796"/>
                <a:gd name="connsiteX46" fmla="*/ 85725 w 1471612"/>
                <a:gd name="connsiteY46" fmla="*/ 444740 h 2016796"/>
                <a:gd name="connsiteX47" fmla="*/ 95250 w 1471612"/>
                <a:gd name="connsiteY47" fmla="*/ 416165 h 2016796"/>
                <a:gd name="connsiteX48" fmla="*/ 109537 w 1471612"/>
                <a:gd name="connsiteY48" fmla="*/ 401877 h 2016796"/>
                <a:gd name="connsiteX49" fmla="*/ 119062 w 1471612"/>
                <a:gd name="connsiteY49" fmla="*/ 387590 h 2016796"/>
                <a:gd name="connsiteX50" fmla="*/ 133350 w 1471612"/>
                <a:gd name="connsiteY50" fmla="*/ 349490 h 2016796"/>
                <a:gd name="connsiteX51" fmla="*/ 157162 w 1471612"/>
                <a:gd name="connsiteY51" fmla="*/ 320915 h 2016796"/>
                <a:gd name="connsiteX52" fmla="*/ 176212 w 1471612"/>
                <a:gd name="connsiteY52" fmla="*/ 292340 h 2016796"/>
                <a:gd name="connsiteX53" fmla="*/ 195262 w 1471612"/>
                <a:gd name="connsiteY53" fmla="*/ 249477 h 2016796"/>
                <a:gd name="connsiteX54" fmla="*/ 209550 w 1471612"/>
                <a:gd name="connsiteY54" fmla="*/ 235190 h 2016796"/>
                <a:gd name="connsiteX55" fmla="*/ 228600 w 1471612"/>
                <a:gd name="connsiteY55" fmla="*/ 201852 h 2016796"/>
                <a:gd name="connsiteX56" fmla="*/ 238125 w 1471612"/>
                <a:gd name="connsiteY56" fmla="*/ 182802 h 2016796"/>
                <a:gd name="connsiteX57" fmla="*/ 242887 w 1471612"/>
                <a:gd name="connsiteY57" fmla="*/ 168515 h 2016796"/>
                <a:gd name="connsiteX58" fmla="*/ 261937 w 1471612"/>
                <a:gd name="connsiteY58" fmla="*/ 139940 h 2016796"/>
                <a:gd name="connsiteX59" fmla="*/ 280987 w 1471612"/>
                <a:gd name="connsiteY59" fmla="*/ 111365 h 2016796"/>
                <a:gd name="connsiteX60" fmla="*/ 290512 w 1471612"/>
                <a:gd name="connsiteY60" fmla="*/ 73265 h 2016796"/>
                <a:gd name="connsiteX61" fmla="*/ 314325 w 1471612"/>
                <a:gd name="connsiteY61" fmla="*/ 49452 h 2016796"/>
                <a:gd name="connsiteX62" fmla="*/ 452437 w 1471612"/>
                <a:gd name="connsiteY62" fmla="*/ 54215 h 2016796"/>
                <a:gd name="connsiteX63" fmla="*/ 466725 w 1471612"/>
                <a:gd name="connsiteY63" fmla="*/ 63740 h 2016796"/>
                <a:gd name="connsiteX64" fmla="*/ 514350 w 1471612"/>
                <a:gd name="connsiteY64" fmla="*/ 78027 h 2016796"/>
                <a:gd name="connsiteX65" fmla="*/ 528637 w 1471612"/>
                <a:gd name="connsiteY65" fmla="*/ 87552 h 2016796"/>
                <a:gd name="connsiteX66" fmla="*/ 566737 w 1471612"/>
                <a:gd name="connsiteY66" fmla="*/ 97077 h 2016796"/>
                <a:gd name="connsiteX67" fmla="*/ 609600 w 1471612"/>
                <a:gd name="connsiteY67" fmla="*/ 106602 h 2016796"/>
                <a:gd name="connsiteX68" fmla="*/ 666750 w 1471612"/>
                <a:gd name="connsiteY68" fmla="*/ 101840 h 2016796"/>
                <a:gd name="connsiteX69" fmla="*/ 695325 w 1471612"/>
                <a:gd name="connsiteY69" fmla="*/ 73265 h 2016796"/>
                <a:gd name="connsiteX70" fmla="*/ 709612 w 1471612"/>
                <a:gd name="connsiteY70" fmla="*/ 68502 h 2016796"/>
                <a:gd name="connsiteX71" fmla="*/ 728662 w 1471612"/>
                <a:gd name="connsiteY71" fmla="*/ 54215 h 2016796"/>
                <a:gd name="connsiteX72" fmla="*/ 738187 w 1471612"/>
                <a:gd name="connsiteY72" fmla="*/ 39927 h 2016796"/>
                <a:gd name="connsiteX73" fmla="*/ 752475 w 1471612"/>
                <a:gd name="connsiteY73" fmla="*/ 25640 h 2016796"/>
                <a:gd name="connsiteX74" fmla="*/ 762000 w 1471612"/>
                <a:gd name="connsiteY74" fmla="*/ 6590 h 2016796"/>
                <a:gd name="connsiteX75" fmla="*/ 781050 w 1471612"/>
                <a:gd name="connsiteY75" fmla="*/ 16115 h 2016796"/>
                <a:gd name="connsiteX76" fmla="*/ 785812 w 1471612"/>
                <a:gd name="connsiteY76" fmla="*/ 39927 h 2016796"/>
                <a:gd name="connsiteX77" fmla="*/ 814387 w 1471612"/>
                <a:gd name="connsiteY77" fmla="*/ 58977 h 2016796"/>
                <a:gd name="connsiteX78" fmla="*/ 842962 w 1471612"/>
                <a:gd name="connsiteY78" fmla="*/ 54215 h 2016796"/>
                <a:gd name="connsiteX79" fmla="*/ 852487 w 1471612"/>
                <a:gd name="connsiteY79" fmla="*/ 35165 h 2016796"/>
                <a:gd name="connsiteX80" fmla="*/ 866775 w 1471612"/>
                <a:gd name="connsiteY80" fmla="*/ 20877 h 2016796"/>
                <a:gd name="connsiteX81" fmla="*/ 876300 w 1471612"/>
                <a:gd name="connsiteY81" fmla="*/ 35165 h 2016796"/>
                <a:gd name="connsiteX82" fmla="*/ 923925 w 1471612"/>
                <a:gd name="connsiteY82" fmla="*/ 35165 h 2016796"/>
                <a:gd name="connsiteX83" fmla="*/ 938212 w 1471612"/>
                <a:gd name="connsiteY83" fmla="*/ 25640 h 2016796"/>
                <a:gd name="connsiteX84" fmla="*/ 957262 w 1471612"/>
                <a:gd name="connsiteY84" fmla="*/ 11352 h 2016796"/>
                <a:gd name="connsiteX85" fmla="*/ 976312 w 1471612"/>
                <a:gd name="connsiteY85" fmla="*/ 1827 h 2016796"/>
                <a:gd name="connsiteX86" fmla="*/ 1019175 w 1471612"/>
                <a:gd name="connsiteY86" fmla="*/ 20877 h 2016796"/>
                <a:gd name="connsiteX87" fmla="*/ 1033462 w 1471612"/>
                <a:gd name="connsiteY87" fmla="*/ 49452 h 2016796"/>
                <a:gd name="connsiteX88" fmla="*/ 1066800 w 1471612"/>
                <a:gd name="connsiteY88" fmla="*/ 63740 h 2016796"/>
                <a:gd name="connsiteX89" fmla="*/ 1057275 w 1471612"/>
                <a:gd name="connsiteY89" fmla="*/ 116127 h 2016796"/>
                <a:gd name="connsiteX90" fmla="*/ 1052512 w 1471612"/>
                <a:gd name="connsiteY90" fmla="*/ 130415 h 2016796"/>
                <a:gd name="connsiteX91" fmla="*/ 1057275 w 1471612"/>
                <a:gd name="connsiteY91" fmla="*/ 168515 h 2016796"/>
                <a:gd name="connsiteX92" fmla="*/ 1081087 w 1471612"/>
                <a:gd name="connsiteY92" fmla="*/ 163752 h 2016796"/>
                <a:gd name="connsiteX93" fmla="*/ 1109662 w 1471612"/>
                <a:gd name="connsiteY93" fmla="*/ 144702 h 2016796"/>
                <a:gd name="connsiteX94" fmla="*/ 1114425 w 1471612"/>
                <a:gd name="connsiteY94" fmla="*/ 130415 h 2016796"/>
                <a:gd name="connsiteX95" fmla="*/ 1119187 w 1471612"/>
                <a:gd name="connsiteY95" fmla="*/ 111365 h 2016796"/>
                <a:gd name="connsiteX96" fmla="*/ 1133475 w 1471612"/>
                <a:gd name="connsiteY96" fmla="*/ 97077 h 2016796"/>
                <a:gd name="connsiteX97" fmla="*/ 1138237 w 1471612"/>
                <a:gd name="connsiteY97" fmla="*/ 30402 h 2016796"/>
                <a:gd name="connsiteX98" fmla="*/ 1162050 w 1471612"/>
                <a:gd name="connsiteY98" fmla="*/ 39927 h 2016796"/>
                <a:gd name="connsiteX99" fmla="*/ 1166812 w 1471612"/>
                <a:gd name="connsiteY99" fmla="*/ 54215 h 2016796"/>
                <a:gd name="connsiteX100" fmla="*/ 1181100 w 1471612"/>
                <a:gd name="connsiteY100" fmla="*/ 68502 h 2016796"/>
                <a:gd name="connsiteX101" fmla="*/ 1233487 w 1471612"/>
                <a:gd name="connsiteY101" fmla="*/ 58977 h 2016796"/>
                <a:gd name="connsiteX102" fmla="*/ 1247775 w 1471612"/>
                <a:gd name="connsiteY102" fmla="*/ 49452 h 2016796"/>
                <a:gd name="connsiteX103" fmla="*/ 1262062 w 1471612"/>
                <a:gd name="connsiteY103" fmla="*/ 44690 h 2016796"/>
                <a:gd name="connsiteX104" fmla="*/ 1323975 w 1471612"/>
                <a:gd name="connsiteY104" fmla="*/ 68502 h 2016796"/>
                <a:gd name="connsiteX105" fmla="*/ 1309687 w 1471612"/>
                <a:gd name="connsiteY105" fmla="*/ 82790 h 2016796"/>
                <a:gd name="connsiteX106" fmla="*/ 1304925 w 1471612"/>
                <a:gd name="connsiteY106" fmla="*/ 101840 h 2016796"/>
                <a:gd name="connsiteX107" fmla="*/ 1319212 w 1471612"/>
                <a:gd name="connsiteY107" fmla="*/ 139940 h 2016796"/>
                <a:gd name="connsiteX108" fmla="*/ 1352550 w 1471612"/>
                <a:gd name="connsiteY108" fmla="*/ 182802 h 2016796"/>
                <a:gd name="connsiteX109" fmla="*/ 1347787 w 1471612"/>
                <a:gd name="connsiteY109" fmla="*/ 206615 h 2016796"/>
                <a:gd name="connsiteX110" fmla="*/ 1328737 w 1471612"/>
                <a:gd name="connsiteY110" fmla="*/ 211377 h 2016796"/>
                <a:gd name="connsiteX111" fmla="*/ 1323975 w 1471612"/>
                <a:gd name="connsiteY111" fmla="*/ 225665 h 2016796"/>
                <a:gd name="connsiteX112" fmla="*/ 1352550 w 1471612"/>
                <a:gd name="connsiteY112" fmla="*/ 254240 h 2016796"/>
                <a:gd name="connsiteX113" fmla="*/ 1343025 w 1471612"/>
                <a:gd name="connsiteY113" fmla="*/ 282815 h 2016796"/>
                <a:gd name="connsiteX114" fmla="*/ 1347787 w 1471612"/>
                <a:gd name="connsiteY114" fmla="*/ 306627 h 2016796"/>
                <a:gd name="connsiteX115" fmla="*/ 1366837 w 1471612"/>
                <a:gd name="connsiteY115" fmla="*/ 311390 h 2016796"/>
                <a:gd name="connsiteX116" fmla="*/ 1376362 w 1471612"/>
                <a:gd name="connsiteY116" fmla="*/ 325677 h 2016796"/>
                <a:gd name="connsiteX117" fmla="*/ 1366837 w 1471612"/>
                <a:gd name="connsiteY117" fmla="*/ 349490 h 2016796"/>
                <a:gd name="connsiteX118" fmla="*/ 1371600 w 1471612"/>
                <a:gd name="connsiteY118" fmla="*/ 363777 h 2016796"/>
                <a:gd name="connsiteX119" fmla="*/ 1338262 w 1471612"/>
                <a:gd name="connsiteY119" fmla="*/ 382827 h 2016796"/>
                <a:gd name="connsiteX120" fmla="*/ 1328737 w 1471612"/>
                <a:gd name="connsiteY120" fmla="*/ 397115 h 2016796"/>
                <a:gd name="connsiteX121" fmla="*/ 1343025 w 1471612"/>
                <a:gd name="connsiteY121" fmla="*/ 459027 h 2016796"/>
                <a:gd name="connsiteX122" fmla="*/ 1343025 w 1471612"/>
                <a:gd name="connsiteY122" fmla="*/ 511415 h 2016796"/>
                <a:gd name="connsiteX123" fmla="*/ 1328737 w 1471612"/>
                <a:gd name="connsiteY123" fmla="*/ 525702 h 2016796"/>
                <a:gd name="connsiteX124" fmla="*/ 1319212 w 1471612"/>
                <a:gd name="connsiteY124" fmla="*/ 539990 h 2016796"/>
                <a:gd name="connsiteX125" fmla="*/ 1309687 w 1471612"/>
                <a:gd name="connsiteY125" fmla="*/ 644765 h 2016796"/>
                <a:gd name="connsiteX126" fmla="*/ 1304925 w 1471612"/>
                <a:gd name="connsiteY126" fmla="*/ 663815 h 2016796"/>
                <a:gd name="connsiteX127" fmla="*/ 1295400 w 1471612"/>
                <a:gd name="connsiteY127" fmla="*/ 682865 h 2016796"/>
                <a:gd name="connsiteX128" fmla="*/ 1285875 w 1471612"/>
                <a:gd name="connsiteY128" fmla="*/ 725727 h 2016796"/>
                <a:gd name="connsiteX129" fmla="*/ 1257300 w 1471612"/>
                <a:gd name="connsiteY129" fmla="*/ 754302 h 2016796"/>
                <a:gd name="connsiteX130" fmla="*/ 1247775 w 1471612"/>
                <a:gd name="connsiteY130" fmla="*/ 768590 h 2016796"/>
                <a:gd name="connsiteX131" fmla="*/ 1252537 w 1471612"/>
                <a:gd name="connsiteY131" fmla="*/ 830502 h 2016796"/>
                <a:gd name="connsiteX132" fmla="*/ 1257300 w 1471612"/>
                <a:gd name="connsiteY132" fmla="*/ 844790 h 2016796"/>
                <a:gd name="connsiteX133" fmla="*/ 1271587 w 1471612"/>
                <a:gd name="connsiteY133" fmla="*/ 854315 h 2016796"/>
                <a:gd name="connsiteX134" fmla="*/ 1295400 w 1471612"/>
                <a:gd name="connsiteY134" fmla="*/ 863840 h 2016796"/>
                <a:gd name="connsiteX135" fmla="*/ 1309687 w 1471612"/>
                <a:gd name="connsiteY135" fmla="*/ 878127 h 2016796"/>
                <a:gd name="connsiteX136" fmla="*/ 1314450 w 1471612"/>
                <a:gd name="connsiteY136" fmla="*/ 954327 h 2016796"/>
                <a:gd name="connsiteX137" fmla="*/ 1319212 w 1471612"/>
                <a:gd name="connsiteY137" fmla="*/ 968615 h 2016796"/>
                <a:gd name="connsiteX138" fmla="*/ 1314450 w 1471612"/>
                <a:gd name="connsiteY138" fmla="*/ 1011477 h 2016796"/>
                <a:gd name="connsiteX139" fmla="*/ 1304925 w 1471612"/>
                <a:gd name="connsiteY139" fmla="*/ 1030527 h 2016796"/>
                <a:gd name="connsiteX140" fmla="*/ 1309687 w 1471612"/>
                <a:gd name="connsiteY140" fmla="*/ 1078152 h 2016796"/>
                <a:gd name="connsiteX141" fmla="*/ 1328737 w 1471612"/>
                <a:gd name="connsiteY141" fmla="*/ 1121015 h 2016796"/>
                <a:gd name="connsiteX142" fmla="*/ 1343025 w 1471612"/>
                <a:gd name="connsiteY142" fmla="*/ 1130540 h 2016796"/>
                <a:gd name="connsiteX143" fmla="*/ 1357312 w 1471612"/>
                <a:gd name="connsiteY143" fmla="*/ 1125777 h 2016796"/>
                <a:gd name="connsiteX144" fmla="*/ 1371600 w 1471612"/>
                <a:gd name="connsiteY144" fmla="*/ 1116252 h 2016796"/>
                <a:gd name="connsiteX145" fmla="*/ 1395412 w 1471612"/>
                <a:gd name="connsiteY145" fmla="*/ 1121015 h 2016796"/>
                <a:gd name="connsiteX146" fmla="*/ 1404937 w 1471612"/>
                <a:gd name="connsiteY146" fmla="*/ 1135302 h 2016796"/>
                <a:gd name="connsiteX147" fmla="*/ 1457325 w 1471612"/>
                <a:gd name="connsiteY147" fmla="*/ 1125777 h 2016796"/>
                <a:gd name="connsiteX148" fmla="*/ 1471612 w 1471612"/>
                <a:gd name="connsiteY148" fmla="*/ 1130540 h 2016796"/>
                <a:gd name="connsiteX149" fmla="*/ 1443037 w 1471612"/>
                <a:gd name="connsiteY149" fmla="*/ 1154352 h 2016796"/>
                <a:gd name="connsiteX150" fmla="*/ 1414462 w 1471612"/>
                <a:gd name="connsiteY150" fmla="*/ 1163877 h 2016796"/>
                <a:gd name="connsiteX151" fmla="*/ 1419225 w 1471612"/>
                <a:gd name="connsiteY151" fmla="*/ 1178165 h 2016796"/>
                <a:gd name="connsiteX152" fmla="*/ 1433512 w 1471612"/>
                <a:gd name="connsiteY152" fmla="*/ 1187690 h 2016796"/>
                <a:gd name="connsiteX153" fmla="*/ 1447800 w 1471612"/>
                <a:gd name="connsiteY153" fmla="*/ 1201977 h 2016796"/>
                <a:gd name="connsiteX154" fmla="*/ 1443037 w 1471612"/>
                <a:gd name="connsiteY154" fmla="*/ 1240077 h 2016796"/>
                <a:gd name="connsiteX155" fmla="*/ 1438275 w 1471612"/>
                <a:gd name="connsiteY155" fmla="*/ 1254365 h 2016796"/>
                <a:gd name="connsiteX156" fmla="*/ 1404937 w 1471612"/>
                <a:gd name="connsiteY156" fmla="*/ 1268652 h 2016796"/>
                <a:gd name="connsiteX157" fmla="*/ 1390650 w 1471612"/>
                <a:gd name="connsiteY157" fmla="*/ 1278177 h 2016796"/>
                <a:gd name="connsiteX158" fmla="*/ 1271587 w 1471612"/>
                <a:gd name="connsiteY158" fmla="*/ 1278177 h 2016796"/>
                <a:gd name="connsiteX159" fmla="*/ 1247775 w 1471612"/>
                <a:gd name="connsiteY159" fmla="*/ 1287702 h 2016796"/>
                <a:gd name="connsiteX160" fmla="*/ 1238250 w 1471612"/>
                <a:gd name="connsiteY160" fmla="*/ 1301990 h 2016796"/>
                <a:gd name="connsiteX161" fmla="*/ 1223962 w 1471612"/>
                <a:gd name="connsiteY161" fmla="*/ 1311515 h 2016796"/>
                <a:gd name="connsiteX162" fmla="*/ 1195387 w 1471612"/>
                <a:gd name="connsiteY162" fmla="*/ 1297227 h 2016796"/>
                <a:gd name="connsiteX163" fmla="*/ 1181100 w 1471612"/>
                <a:gd name="connsiteY163" fmla="*/ 1282940 h 2016796"/>
                <a:gd name="connsiteX164" fmla="*/ 1152525 w 1471612"/>
                <a:gd name="connsiteY164" fmla="*/ 1273415 h 2016796"/>
                <a:gd name="connsiteX165" fmla="*/ 1123950 w 1471612"/>
                <a:gd name="connsiteY165" fmla="*/ 1235315 h 2016796"/>
                <a:gd name="connsiteX166" fmla="*/ 1109662 w 1471612"/>
                <a:gd name="connsiteY166" fmla="*/ 1240077 h 2016796"/>
                <a:gd name="connsiteX167" fmla="*/ 1090612 w 1471612"/>
                <a:gd name="connsiteY167" fmla="*/ 1282940 h 2016796"/>
                <a:gd name="connsiteX168" fmla="*/ 1095375 w 1471612"/>
                <a:gd name="connsiteY168" fmla="*/ 1297227 h 2016796"/>
                <a:gd name="connsiteX169" fmla="*/ 1109662 w 1471612"/>
                <a:gd name="connsiteY169" fmla="*/ 1359140 h 2016796"/>
                <a:gd name="connsiteX170" fmla="*/ 1128712 w 1471612"/>
                <a:gd name="connsiteY170" fmla="*/ 1363902 h 2016796"/>
                <a:gd name="connsiteX171" fmla="*/ 1157287 w 1471612"/>
                <a:gd name="connsiteY171" fmla="*/ 1392477 h 2016796"/>
                <a:gd name="connsiteX172" fmla="*/ 1147762 w 1471612"/>
                <a:gd name="connsiteY172" fmla="*/ 1421052 h 2016796"/>
                <a:gd name="connsiteX173" fmla="*/ 1143000 w 1471612"/>
                <a:gd name="connsiteY173" fmla="*/ 1449627 h 2016796"/>
                <a:gd name="connsiteX174" fmla="*/ 1133475 w 1471612"/>
                <a:gd name="connsiteY174" fmla="*/ 1468677 h 2016796"/>
                <a:gd name="connsiteX175" fmla="*/ 1128712 w 1471612"/>
                <a:gd name="connsiteY175" fmla="*/ 1482965 h 2016796"/>
                <a:gd name="connsiteX176" fmla="*/ 1133475 w 1471612"/>
                <a:gd name="connsiteY176" fmla="*/ 1516302 h 2016796"/>
                <a:gd name="connsiteX177" fmla="*/ 1114425 w 1471612"/>
                <a:gd name="connsiteY177" fmla="*/ 1544877 h 2016796"/>
                <a:gd name="connsiteX178" fmla="*/ 1109662 w 1471612"/>
                <a:gd name="connsiteY178" fmla="*/ 1597265 h 2016796"/>
                <a:gd name="connsiteX179" fmla="*/ 1095375 w 1471612"/>
                <a:gd name="connsiteY179" fmla="*/ 1611552 h 2016796"/>
                <a:gd name="connsiteX180" fmla="*/ 1090612 w 1471612"/>
                <a:gd name="connsiteY180" fmla="*/ 1625840 h 2016796"/>
                <a:gd name="connsiteX181" fmla="*/ 1076325 w 1471612"/>
                <a:gd name="connsiteY181" fmla="*/ 1640127 h 2016796"/>
                <a:gd name="connsiteX182" fmla="*/ 1057275 w 1471612"/>
                <a:gd name="connsiteY182" fmla="*/ 1673465 h 2016796"/>
                <a:gd name="connsiteX183" fmla="*/ 1062037 w 1471612"/>
                <a:gd name="connsiteY183" fmla="*/ 1687752 h 2016796"/>
                <a:gd name="connsiteX184" fmla="*/ 1095375 w 1471612"/>
                <a:gd name="connsiteY184" fmla="*/ 1730615 h 2016796"/>
                <a:gd name="connsiteX185" fmla="*/ 1109662 w 1471612"/>
                <a:gd name="connsiteY185" fmla="*/ 1740140 h 2016796"/>
                <a:gd name="connsiteX186" fmla="*/ 1104900 w 1471612"/>
                <a:gd name="connsiteY186" fmla="*/ 1754427 h 2016796"/>
                <a:gd name="connsiteX187" fmla="*/ 1081087 w 1471612"/>
                <a:gd name="connsiteY187" fmla="*/ 1763952 h 2016796"/>
                <a:gd name="connsiteX188" fmla="*/ 1062037 w 1471612"/>
                <a:gd name="connsiteY188" fmla="*/ 1773477 h 2016796"/>
                <a:gd name="connsiteX189" fmla="*/ 1023937 w 1471612"/>
                <a:gd name="connsiteY189" fmla="*/ 1768715 h 2016796"/>
                <a:gd name="connsiteX190" fmla="*/ 1009650 w 1471612"/>
                <a:gd name="connsiteY190" fmla="*/ 1763952 h 2016796"/>
                <a:gd name="connsiteX191" fmla="*/ 990600 w 1471612"/>
                <a:gd name="connsiteY191" fmla="*/ 1759190 h 2016796"/>
                <a:gd name="connsiteX192" fmla="*/ 976312 w 1471612"/>
                <a:gd name="connsiteY192" fmla="*/ 1749665 h 2016796"/>
                <a:gd name="connsiteX193" fmla="*/ 919162 w 1471612"/>
                <a:gd name="connsiteY193" fmla="*/ 1759190 h 2016796"/>
                <a:gd name="connsiteX194" fmla="*/ 900112 w 1471612"/>
                <a:gd name="connsiteY194" fmla="*/ 1773477 h 2016796"/>
                <a:gd name="connsiteX195" fmla="*/ 885825 w 1471612"/>
                <a:gd name="connsiteY195" fmla="*/ 1783002 h 2016796"/>
                <a:gd name="connsiteX196" fmla="*/ 857250 w 1471612"/>
                <a:gd name="connsiteY196" fmla="*/ 1806815 h 2016796"/>
                <a:gd name="connsiteX197" fmla="*/ 838200 w 1471612"/>
                <a:gd name="connsiteY197" fmla="*/ 1859202 h 2016796"/>
                <a:gd name="connsiteX198" fmla="*/ 814387 w 1471612"/>
                <a:gd name="connsiteY198" fmla="*/ 1892540 h 2016796"/>
                <a:gd name="connsiteX199" fmla="*/ 800100 w 1471612"/>
                <a:gd name="connsiteY199" fmla="*/ 1940165 h 2016796"/>
                <a:gd name="connsiteX200" fmla="*/ 771525 w 1471612"/>
                <a:gd name="connsiteY200" fmla="*/ 1949690 h 2016796"/>
                <a:gd name="connsiteX201" fmla="*/ 700087 w 1471612"/>
                <a:gd name="connsiteY201" fmla="*/ 1959215 h 2016796"/>
                <a:gd name="connsiteX202" fmla="*/ 685800 w 1471612"/>
                <a:gd name="connsiteY202" fmla="*/ 1987790 h 2016796"/>
                <a:gd name="connsiteX203" fmla="*/ 681037 w 1471612"/>
                <a:gd name="connsiteY203" fmla="*/ 2011602 h 2016796"/>
                <a:gd name="connsiteX204" fmla="*/ 661987 w 1471612"/>
                <a:gd name="connsiteY204" fmla="*/ 2016365 h 2016796"/>
                <a:gd name="connsiteX205" fmla="*/ 623887 w 1471612"/>
                <a:gd name="connsiteY205" fmla="*/ 2011602 h 2016796"/>
                <a:gd name="connsiteX206" fmla="*/ 628650 w 1471612"/>
                <a:gd name="connsiteY206" fmla="*/ 1983027 h 2016796"/>
                <a:gd name="connsiteX207" fmla="*/ 619125 w 1471612"/>
                <a:gd name="connsiteY207" fmla="*/ 1944927 h 2016796"/>
                <a:gd name="connsiteX208" fmla="*/ 623887 w 1471612"/>
                <a:gd name="connsiteY208" fmla="*/ 1878252 h 2016796"/>
                <a:gd name="connsiteX209" fmla="*/ 642937 w 1471612"/>
                <a:gd name="connsiteY209" fmla="*/ 1835390 h 2016796"/>
                <a:gd name="connsiteX210" fmla="*/ 657225 w 1471612"/>
                <a:gd name="connsiteY210" fmla="*/ 1806815 h 2016796"/>
                <a:gd name="connsiteX211" fmla="*/ 676275 w 1471612"/>
                <a:gd name="connsiteY211" fmla="*/ 1783002 h 2016796"/>
                <a:gd name="connsiteX212" fmla="*/ 685800 w 1471612"/>
                <a:gd name="connsiteY212" fmla="*/ 1768715 h 2016796"/>
                <a:gd name="connsiteX213" fmla="*/ 700087 w 1471612"/>
                <a:gd name="connsiteY213" fmla="*/ 1754427 h 2016796"/>
                <a:gd name="connsiteX214" fmla="*/ 723900 w 1471612"/>
                <a:gd name="connsiteY214" fmla="*/ 1721090 h 2016796"/>
                <a:gd name="connsiteX215" fmla="*/ 738187 w 1471612"/>
                <a:gd name="connsiteY215" fmla="*/ 1716327 h 2016796"/>
                <a:gd name="connsiteX216" fmla="*/ 742950 w 1471612"/>
                <a:gd name="connsiteY216" fmla="*/ 1578215 h 2016796"/>
                <a:gd name="connsiteX217" fmla="*/ 762000 w 1471612"/>
                <a:gd name="connsiteY217" fmla="*/ 1549640 h 2016796"/>
                <a:gd name="connsiteX218" fmla="*/ 757237 w 1471612"/>
                <a:gd name="connsiteY218" fmla="*/ 1463915 h 2016796"/>
                <a:gd name="connsiteX219" fmla="*/ 747712 w 1471612"/>
                <a:gd name="connsiteY219" fmla="*/ 1444865 h 2016796"/>
                <a:gd name="connsiteX220" fmla="*/ 752475 w 1471612"/>
                <a:gd name="connsiteY220" fmla="*/ 1430577 h 2016796"/>
                <a:gd name="connsiteX221" fmla="*/ 776287 w 1471612"/>
                <a:gd name="connsiteY221" fmla="*/ 1402002 h 2016796"/>
                <a:gd name="connsiteX222" fmla="*/ 781050 w 1471612"/>
                <a:gd name="connsiteY222" fmla="*/ 1387715 h 2016796"/>
                <a:gd name="connsiteX223" fmla="*/ 771525 w 1471612"/>
                <a:gd name="connsiteY223" fmla="*/ 1359140 h 2016796"/>
                <a:gd name="connsiteX224" fmla="*/ 766762 w 1471612"/>
                <a:gd name="connsiteY224" fmla="*/ 1340090 h 2016796"/>
                <a:gd name="connsiteX225" fmla="*/ 776287 w 1471612"/>
                <a:gd name="connsiteY225" fmla="*/ 1282940 h 2016796"/>
                <a:gd name="connsiteX226" fmla="*/ 781050 w 1471612"/>
                <a:gd name="connsiteY226" fmla="*/ 1268652 h 2016796"/>
                <a:gd name="connsiteX227" fmla="*/ 785812 w 1471612"/>
                <a:gd name="connsiteY227" fmla="*/ 1249602 h 2016796"/>
                <a:gd name="connsiteX228" fmla="*/ 781050 w 1471612"/>
                <a:gd name="connsiteY228" fmla="*/ 1221027 h 2016796"/>
                <a:gd name="connsiteX229" fmla="*/ 752475 w 1471612"/>
                <a:gd name="connsiteY229" fmla="*/ 1201977 h 2016796"/>
                <a:gd name="connsiteX230" fmla="*/ 719137 w 1471612"/>
                <a:gd name="connsiteY230" fmla="*/ 1206740 h 2016796"/>
                <a:gd name="connsiteX231" fmla="*/ 709612 w 1471612"/>
                <a:gd name="connsiteY231" fmla="*/ 1225790 h 2016796"/>
                <a:gd name="connsiteX232" fmla="*/ 676275 w 1471612"/>
                <a:gd name="connsiteY232" fmla="*/ 1240077 h 2016796"/>
                <a:gd name="connsiteX233" fmla="*/ 633412 w 1471612"/>
                <a:gd name="connsiteY233" fmla="*/ 1235315 h 2016796"/>
                <a:gd name="connsiteX234" fmla="*/ 614362 w 1471612"/>
                <a:gd name="connsiteY234" fmla="*/ 1140065 h 2016796"/>
                <a:gd name="connsiteX235" fmla="*/ 628650 w 1471612"/>
                <a:gd name="connsiteY235" fmla="*/ 1140065 h 2016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1471612" h="2016796">
                  <a:moveTo>
                    <a:pt x="628650" y="1140065"/>
                  </a:moveTo>
                  <a:cubicBezTo>
                    <a:pt x="622046" y="1131810"/>
                    <a:pt x="604142" y="1105363"/>
                    <a:pt x="590550" y="1101965"/>
                  </a:cubicBezTo>
                  <a:lnTo>
                    <a:pt x="571500" y="1106727"/>
                  </a:lnTo>
                  <a:cubicBezTo>
                    <a:pt x="560614" y="1113984"/>
                    <a:pt x="552223" y="1116932"/>
                    <a:pt x="547687" y="1130540"/>
                  </a:cubicBezTo>
                  <a:cubicBezTo>
                    <a:pt x="544634" y="1139701"/>
                    <a:pt x="548463" y="1151204"/>
                    <a:pt x="542925" y="1159115"/>
                  </a:cubicBezTo>
                  <a:cubicBezTo>
                    <a:pt x="538912" y="1164848"/>
                    <a:pt x="512607" y="1181606"/>
                    <a:pt x="500062" y="1182927"/>
                  </a:cubicBezTo>
                  <a:cubicBezTo>
                    <a:pt x="474752" y="1185591"/>
                    <a:pt x="449262" y="1186102"/>
                    <a:pt x="423862" y="1187690"/>
                  </a:cubicBezTo>
                  <a:cubicBezTo>
                    <a:pt x="415925" y="1186102"/>
                    <a:pt x="407078" y="1186943"/>
                    <a:pt x="400050" y="1182927"/>
                  </a:cubicBezTo>
                  <a:cubicBezTo>
                    <a:pt x="390496" y="1177468"/>
                    <a:pt x="389918" y="1162663"/>
                    <a:pt x="385762" y="1154352"/>
                  </a:cubicBezTo>
                  <a:cubicBezTo>
                    <a:pt x="380251" y="1143331"/>
                    <a:pt x="371164" y="1133675"/>
                    <a:pt x="361950" y="1125777"/>
                  </a:cubicBezTo>
                  <a:cubicBezTo>
                    <a:pt x="349413" y="1115031"/>
                    <a:pt x="339093" y="1108062"/>
                    <a:pt x="323850" y="1101965"/>
                  </a:cubicBezTo>
                  <a:cubicBezTo>
                    <a:pt x="314528" y="1098236"/>
                    <a:pt x="295275" y="1092440"/>
                    <a:pt x="295275" y="1092440"/>
                  </a:cubicBezTo>
                  <a:cubicBezTo>
                    <a:pt x="296862" y="1084502"/>
                    <a:pt x="296417" y="1075867"/>
                    <a:pt x="300037" y="1068627"/>
                  </a:cubicBezTo>
                  <a:cubicBezTo>
                    <a:pt x="303049" y="1062603"/>
                    <a:pt x="310589" y="1059944"/>
                    <a:pt x="314325" y="1054340"/>
                  </a:cubicBezTo>
                  <a:cubicBezTo>
                    <a:pt x="317110" y="1050163"/>
                    <a:pt x="317500" y="1044815"/>
                    <a:pt x="319087" y="1040052"/>
                  </a:cubicBezTo>
                  <a:cubicBezTo>
                    <a:pt x="315912" y="1030527"/>
                    <a:pt x="311997" y="1021218"/>
                    <a:pt x="309562" y="1011477"/>
                  </a:cubicBezTo>
                  <a:cubicBezTo>
                    <a:pt x="307975" y="1005127"/>
                    <a:pt x="307378" y="998443"/>
                    <a:pt x="304800" y="992427"/>
                  </a:cubicBezTo>
                  <a:cubicBezTo>
                    <a:pt x="302545" y="987166"/>
                    <a:pt x="298450" y="982902"/>
                    <a:pt x="295275" y="978140"/>
                  </a:cubicBezTo>
                  <a:cubicBezTo>
                    <a:pt x="296862" y="973377"/>
                    <a:pt x="297792" y="968342"/>
                    <a:pt x="300037" y="963852"/>
                  </a:cubicBezTo>
                  <a:cubicBezTo>
                    <a:pt x="302597" y="958733"/>
                    <a:pt x="307361" y="954848"/>
                    <a:pt x="309562" y="949565"/>
                  </a:cubicBezTo>
                  <a:cubicBezTo>
                    <a:pt x="329068" y="902752"/>
                    <a:pt x="319468" y="919466"/>
                    <a:pt x="328612" y="882890"/>
                  </a:cubicBezTo>
                  <a:cubicBezTo>
                    <a:pt x="329830" y="878020"/>
                    <a:pt x="330937" y="872991"/>
                    <a:pt x="333375" y="868602"/>
                  </a:cubicBezTo>
                  <a:cubicBezTo>
                    <a:pt x="338934" y="858595"/>
                    <a:pt x="352425" y="840027"/>
                    <a:pt x="352425" y="840027"/>
                  </a:cubicBezTo>
                  <a:cubicBezTo>
                    <a:pt x="354012" y="835265"/>
                    <a:pt x="353637" y="829290"/>
                    <a:pt x="357187" y="825740"/>
                  </a:cubicBezTo>
                  <a:cubicBezTo>
                    <a:pt x="373049" y="809878"/>
                    <a:pt x="389940" y="805019"/>
                    <a:pt x="409575" y="797165"/>
                  </a:cubicBezTo>
                  <a:cubicBezTo>
                    <a:pt x="414337" y="792402"/>
                    <a:pt x="420126" y="788481"/>
                    <a:pt x="423862" y="782877"/>
                  </a:cubicBezTo>
                  <a:cubicBezTo>
                    <a:pt x="426647" y="778700"/>
                    <a:pt x="428625" y="773610"/>
                    <a:pt x="428625" y="768590"/>
                  </a:cubicBezTo>
                  <a:cubicBezTo>
                    <a:pt x="428625" y="756940"/>
                    <a:pt x="418165" y="745742"/>
                    <a:pt x="409575" y="740015"/>
                  </a:cubicBezTo>
                  <a:cubicBezTo>
                    <a:pt x="376477" y="717950"/>
                    <a:pt x="414719" y="755699"/>
                    <a:pt x="381000" y="725727"/>
                  </a:cubicBezTo>
                  <a:cubicBezTo>
                    <a:pt x="350997" y="699057"/>
                    <a:pt x="354231" y="699862"/>
                    <a:pt x="333375" y="668577"/>
                  </a:cubicBezTo>
                  <a:cubicBezTo>
                    <a:pt x="330590" y="664400"/>
                    <a:pt x="330200" y="659052"/>
                    <a:pt x="328612" y="654290"/>
                  </a:cubicBezTo>
                  <a:cubicBezTo>
                    <a:pt x="322262" y="655877"/>
                    <a:pt x="316107" y="659052"/>
                    <a:pt x="309562" y="659052"/>
                  </a:cubicBezTo>
                  <a:cubicBezTo>
                    <a:pt x="292028" y="659052"/>
                    <a:pt x="274533" y="656770"/>
                    <a:pt x="257175" y="654290"/>
                  </a:cubicBezTo>
                  <a:cubicBezTo>
                    <a:pt x="252205" y="653580"/>
                    <a:pt x="247714" y="650906"/>
                    <a:pt x="242887" y="649527"/>
                  </a:cubicBezTo>
                  <a:cubicBezTo>
                    <a:pt x="201035" y="637569"/>
                    <a:pt x="243799" y="651420"/>
                    <a:pt x="209550" y="640002"/>
                  </a:cubicBezTo>
                  <a:cubicBezTo>
                    <a:pt x="198437" y="628890"/>
                    <a:pt x="185641" y="619238"/>
                    <a:pt x="176212" y="606665"/>
                  </a:cubicBezTo>
                  <a:cubicBezTo>
                    <a:pt x="171450" y="600315"/>
                    <a:pt x="168023" y="592696"/>
                    <a:pt x="161925" y="587615"/>
                  </a:cubicBezTo>
                  <a:cubicBezTo>
                    <a:pt x="158068" y="584401"/>
                    <a:pt x="152400" y="584440"/>
                    <a:pt x="147637" y="582852"/>
                  </a:cubicBezTo>
                  <a:cubicBezTo>
                    <a:pt x="138112" y="584440"/>
                    <a:pt x="128718" y="587615"/>
                    <a:pt x="119062" y="587615"/>
                  </a:cubicBezTo>
                  <a:cubicBezTo>
                    <a:pt x="92886" y="587615"/>
                    <a:pt x="79318" y="572895"/>
                    <a:pt x="57150" y="559040"/>
                  </a:cubicBezTo>
                  <a:cubicBezTo>
                    <a:pt x="51599" y="555571"/>
                    <a:pt x="44394" y="556075"/>
                    <a:pt x="38100" y="554277"/>
                  </a:cubicBezTo>
                  <a:cubicBezTo>
                    <a:pt x="3935" y="544516"/>
                    <a:pt x="48402" y="554434"/>
                    <a:pt x="0" y="544752"/>
                  </a:cubicBezTo>
                  <a:cubicBezTo>
                    <a:pt x="3175" y="538402"/>
                    <a:pt x="5872" y="531790"/>
                    <a:pt x="9525" y="525702"/>
                  </a:cubicBezTo>
                  <a:cubicBezTo>
                    <a:pt x="9532" y="525690"/>
                    <a:pt x="33334" y="489989"/>
                    <a:pt x="38100" y="482840"/>
                  </a:cubicBezTo>
                  <a:cubicBezTo>
                    <a:pt x="41275" y="478078"/>
                    <a:pt x="47990" y="476979"/>
                    <a:pt x="52387" y="473315"/>
                  </a:cubicBezTo>
                  <a:cubicBezTo>
                    <a:pt x="57561" y="469003"/>
                    <a:pt x="61561" y="463410"/>
                    <a:pt x="66675" y="459027"/>
                  </a:cubicBezTo>
                  <a:cubicBezTo>
                    <a:pt x="72702" y="453861"/>
                    <a:pt x="79375" y="449502"/>
                    <a:pt x="85725" y="444740"/>
                  </a:cubicBezTo>
                  <a:lnTo>
                    <a:pt x="95250" y="416165"/>
                  </a:lnTo>
                  <a:cubicBezTo>
                    <a:pt x="97380" y="409775"/>
                    <a:pt x="105225" y="407051"/>
                    <a:pt x="109537" y="401877"/>
                  </a:cubicBezTo>
                  <a:cubicBezTo>
                    <a:pt x="113201" y="397480"/>
                    <a:pt x="115887" y="392352"/>
                    <a:pt x="119062" y="387590"/>
                  </a:cubicBezTo>
                  <a:cubicBezTo>
                    <a:pt x="124271" y="366755"/>
                    <a:pt x="122281" y="368860"/>
                    <a:pt x="133350" y="349490"/>
                  </a:cubicBezTo>
                  <a:cubicBezTo>
                    <a:pt x="149060" y="321997"/>
                    <a:pt x="135946" y="348193"/>
                    <a:pt x="157162" y="320915"/>
                  </a:cubicBezTo>
                  <a:cubicBezTo>
                    <a:pt x="164190" y="311879"/>
                    <a:pt x="169862" y="301865"/>
                    <a:pt x="176212" y="292340"/>
                  </a:cubicBezTo>
                  <a:cubicBezTo>
                    <a:pt x="191306" y="269699"/>
                    <a:pt x="183928" y="283480"/>
                    <a:pt x="195262" y="249477"/>
                  </a:cubicBezTo>
                  <a:cubicBezTo>
                    <a:pt x="197392" y="243087"/>
                    <a:pt x="204787" y="239952"/>
                    <a:pt x="209550" y="235190"/>
                  </a:cubicBezTo>
                  <a:cubicBezTo>
                    <a:pt x="218905" y="207120"/>
                    <a:pt x="208005" y="234803"/>
                    <a:pt x="228600" y="201852"/>
                  </a:cubicBezTo>
                  <a:cubicBezTo>
                    <a:pt x="232363" y="195832"/>
                    <a:pt x="235328" y="189328"/>
                    <a:pt x="238125" y="182802"/>
                  </a:cubicBezTo>
                  <a:cubicBezTo>
                    <a:pt x="240102" y="178188"/>
                    <a:pt x="240449" y="172903"/>
                    <a:pt x="242887" y="168515"/>
                  </a:cubicBezTo>
                  <a:cubicBezTo>
                    <a:pt x="248446" y="158508"/>
                    <a:pt x="255587" y="149465"/>
                    <a:pt x="261937" y="139940"/>
                  </a:cubicBezTo>
                  <a:lnTo>
                    <a:pt x="280987" y="111365"/>
                  </a:lnTo>
                  <a:cubicBezTo>
                    <a:pt x="286025" y="103808"/>
                    <a:pt x="288449" y="78766"/>
                    <a:pt x="290512" y="73265"/>
                  </a:cubicBezTo>
                  <a:cubicBezTo>
                    <a:pt x="295804" y="59153"/>
                    <a:pt x="302682" y="57213"/>
                    <a:pt x="314325" y="49452"/>
                  </a:cubicBezTo>
                  <a:cubicBezTo>
                    <a:pt x="360362" y="51040"/>
                    <a:pt x="406573" y="49915"/>
                    <a:pt x="452437" y="54215"/>
                  </a:cubicBezTo>
                  <a:cubicBezTo>
                    <a:pt x="458136" y="54749"/>
                    <a:pt x="461494" y="61415"/>
                    <a:pt x="466725" y="63740"/>
                  </a:cubicBezTo>
                  <a:cubicBezTo>
                    <a:pt x="481636" y="70367"/>
                    <a:pt x="498516" y="74069"/>
                    <a:pt x="514350" y="78027"/>
                  </a:cubicBezTo>
                  <a:cubicBezTo>
                    <a:pt x="519112" y="81202"/>
                    <a:pt x="523518" y="84992"/>
                    <a:pt x="528637" y="87552"/>
                  </a:cubicBezTo>
                  <a:cubicBezTo>
                    <a:pt x="538081" y="92274"/>
                    <a:pt x="558193" y="95524"/>
                    <a:pt x="566737" y="97077"/>
                  </a:cubicBezTo>
                  <a:cubicBezTo>
                    <a:pt x="603614" y="103782"/>
                    <a:pt x="584409" y="98206"/>
                    <a:pt x="609600" y="106602"/>
                  </a:cubicBezTo>
                  <a:cubicBezTo>
                    <a:pt x="628650" y="105015"/>
                    <a:pt x="648005" y="105589"/>
                    <a:pt x="666750" y="101840"/>
                  </a:cubicBezTo>
                  <a:cubicBezTo>
                    <a:pt x="682335" y="98723"/>
                    <a:pt x="684962" y="81901"/>
                    <a:pt x="695325" y="73265"/>
                  </a:cubicBezTo>
                  <a:cubicBezTo>
                    <a:pt x="699181" y="70051"/>
                    <a:pt x="704850" y="70090"/>
                    <a:pt x="709612" y="68502"/>
                  </a:cubicBezTo>
                  <a:cubicBezTo>
                    <a:pt x="715962" y="63740"/>
                    <a:pt x="723049" y="59828"/>
                    <a:pt x="728662" y="54215"/>
                  </a:cubicBezTo>
                  <a:cubicBezTo>
                    <a:pt x="732709" y="50168"/>
                    <a:pt x="734523" y="44324"/>
                    <a:pt x="738187" y="39927"/>
                  </a:cubicBezTo>
                  <a:cubicBezTo>
                    <a:pt x="742499" y="34753"/>
                    <a:pt x="747712" y="30402"/>
                    <a:pt x="752475" y="25640"/>
                  </a:cubicBezTo>
                  <a:cubicBezTo>
                    <a:pt x="755650" y="19290"/>
                    <a:pt x="756980" y="11610"/>
                    <a:pt x="762000" y="6590"/>
                  </a:cubicBezTo>
                  <a:cubicBezTo>
                    <a:pt x="777239" y="-8650"/>
                    <a:pt x="778510" y="5954"/>
                    <a:pt x="781050" y="16115"/>
                  </a:cubicBezTo>
                  <a:cubicBezTo>
                    <a:pt x="783013" y="23968"/>
                    <a:pt x="782192" y="32687"/>
                    <a:pt x="785812" y="39927"/>
                  </a:cubicBezTo>
                  <a:cubicBezTo>
                    <a:pt x="792947" y="54197"/>
                    <a:pt x="801687" y="54744"/>
                    <a:pt x="814387" y="58977"/>
                  </a:cubicBezTo>
                  <a:cubicBezTo>
                    <a:pt x="823912" y="57390"/>
                    <a:pt x="834773" y="59333"/>
                    <a:pt x="842962" y="54215"/>
                  </a:cubicBezTo>
                  <a:cubicBezTo>
                    <a:pt x="848982" y="50452"/>
                    <a:pt x="848360" y="40942"/>
                    <a:pt x="852487" y="35165"/>
                  </a:cubicBezTo>
                  <a:cubicBezTo>
                    <a:pt x="856402" y="29684"/>
                    <a:pt x="862012" y="25640"/>
                    <a:pt x="866775" y="20877"/>
                  </a:cubicBezTo>
                  <a:cubicBezTo>
                    <a:pt x="869950" y="25640"/>
                    <a:pt x="872253" y="31117"/>
                    <a:pt x="876300" y="35165"/>
                  </a:cubicBezTo>
                  <a:cubicBezTo>
                    <a:pt x="894006" y="52872"/>
                    <a:pt x="897597" y="42687"/>
                    <a:pt x="923925" y="35165"/>
                  </a:cubicBezTo>
                  <a:cubicBezTo>
                    <a:pt x="928687" y="31990"/>
                    <a:pt x="933555" y="28967"/>
                    <a:pt x="938212" y="25640"/>
                  </a:cubicBezTo>
                  <a:cubicBezTo>
                    <a:pt x="944671" y="21026"/>
                    <a:pt x="950531" y="15559"/>
                    <a:pt x="957262" y="11352"/>
                  </a:cubicBezTo>
                  <a:cubicBezTo>
                    <a:pt x="963282" y="7589"/>
                    <a:pt x="969962" y="5002"/>
                    <a:pt x="976312" y="1827"/>
                  </a:cubicBezTo>
                  <a:cubicBezTo>
                    <a:pt x="985042" y="4737"/>
                    <a:pt x="1010942" y="10586"/>
                    <a:pt x="1019175" y="20877"/>
                  </a:cubicBezTo>
                  <a:cubicBezTo>
                    <a:pt x="1036079" y="42008"/>
                    <a:pt x="1009372" y="29377"/>
                    <a:pt x="1033462" y="49452"/>
                  </a:cubicBezTo>
                  <a:cubicBezTo>
                    <a:pt x="1041308" y="55990"/>
                    <a:pt x="1056875" y="60431"/>
                    <a:pt x="1066800" y="63740"/>
                  </a:cubicBezTo>
                  <a:cubicBezTo>
                    <a:pt x="1063625" y="81202"/>
                    <a:pt x="1060994" y="98772"/>
                    <a:pt x="1057275" y="116127"/>
                  </a:cubicBezTo>
                  <a:cubicBezTo>
                    <a:pt x="1056223" y="121036"/>
                    <a:pt x="1052512" y="125395"/>
                    <a:pt x="1052512" y="130415"/>
                  </a:cubicBezTo>
                  <a:cubicBezTo>
                    <a:pt x="1052512" y="143214"/>
                    <a:pt x="1055687" y="155815"/>
                    <a:pt x="1057275" y="168515"/>
                  </a:cubicBezTo>
                  <a:cubicBezTo>
                    <a:pt x="1065212" y="166927"/>
                    <a:pt x="1073718" y="167102"/>
                    <a:pt x="1081087" y="163752"/>
                  </a:cubicBezTo>
                  <a:cubicBezTo>
                    <a:pt x="1091508" y="159015"/>
                    <a:pt x="1109662" y="144702"/>
                    <a:pt x="1109662" y="144702"/>
                  </a:cubicBezTo>
                  <a:cubicBezTo>
                    <a:pt x="1111250" y="139940"/>
                    <a:pt x="1113046" y="135242"/>
                    <a:pt x="1114425" y="130415"/>
                  </a:cubicBezTo>
                  <a:cubicBezTo>
                    <a:pt x="1116223" y="124121"/>
                    <a:pt x="1115940" y="117048"/>
                    <a:pt x="1119187" y="111365"/>
                  </a:cubicBezTo>
                  <a:cubicBezTo>
                    <a:pt x="1122529" y="105517"/>
                    <a:pt x="1128712" y="101840"/>
                    <a:pt x="1133475" y="97077"/>
                  </a:cubicBezTo>
                  <a:cubicBezTo>
                    <a:pt x="1135062" y="74852"/>
                    <a:pt x="1128272" y="50331"/>
                    <a:pt x="1138237" y="30402"/>
                  </a:cubicBezTo>
                  <a:cubicBezTo>
                    <a:pt x="1142060" y="22755"/>
                    <a:pt x="1155482" y="34454"/>
                    <a:pt x="1162050" y="39927"/>
                  </a:cubicBezTo>
                  <a:cubicBezTo>
                    <a:pt x="1165907" y="43141"/>
                    <a:pt x="1164027" y="50038"/>
                    <a:pt x="1166812" y="54215"/>
                  </a:cubicBezTo>
                  <a:cubicBezTo>
                    <a:pt x="1170548" y="59819"/>
                    <a:pt x="1176337" y="63740"/>
                    <a:pt x="1181100" y="68502"/>
                  </a:cubicBezTo>
                  <a:cubicBezTo>
                    <a:pt x="1198562" y="65327"/>
                    <a:pt x="1216421" y="63853"/>
                    <a:pt x="1233487" y="58977"/>
                  </a:cubicBezTo>
                  <a:cubicBezTo>
                    <a:pt x="1238991" y="57405"/>
                    <a:pt x="1242655" y="52012"/>
                    <a:pt x="1247775" y="49452"/>
                  </a:cubicBezTo>
                  <a:cubicBezTo>
                    <a:pt x="1252265" y="47207"/>
                    <a:pt x="1257300" y="46277"/>
                    <a:pt x="1262062" y="44690"/>
                  </a:cubicBezTo>
                  <a:cubicBezTo>
                    <a:pt x="1292511" y="46865"/>
                    <a:pt x="1346700" y="28733"/>
                    <a:pt x="1323975" y="68502"/>
                  </a:cubicBezTo>
                  <a:cubicBezTo>
                    <a:pt x="1320633" y="74350"/>
                    <a:pt x="1314450" y="78027"/>
                    <a:pt x="1309687" y="82790"/>
                  </a:cubicBezTo>
                  <a:cubicBezTo>
                    <a:pt x="1308100" y="89140"/>
                    <a:pt x="1304925" y="95295"/>
                    <a:pt x="1304925" y="101840"/>
                  </a:cubicBezTo>
                  <a:cubicBezTo>
                    <a:pt x="1304925" y="113145"/>
                    <a:pt x="1313792" y="130907"/>
                    <a:pt x="1319212" y="139940"/>
                  </a:cubicBezTo>
                  <a:cubicBezTo>
                    <a:pt x="1336302" y="168424"/>
                    <a:pt x="1333518" y="163772"/>
                    <a:pt x="1352550" y="182802"/>
                  </a:cubicBezTo>
                  <a:cubicBezTo>
                    <a:pt x="1350962" y="190740"/>
                    <a:pt x="1352969" y="200396"/>
                    <a:pt x="1347787" y="206615"/>
                  </a:cubicBezTo>
                  <a:cubicBezTo>
                    <a:pt x="1343597" y="211643"/>
                    <a:pt x="1333848" y="207288"/>
                    <a:pt x="1328737" y="211377"/>
                  </a:cubicBezTo>
                  <a:cubicBezTo>
                    <a:pt x="1324817" y="214513"/>
                    <a:pt x="1325562" y="220902"/>
                    <a:pt x="1323975" y="225665"/>
                  </a:cubicBezTo>
                  <a:cubicBezTo>
                    <a:pt x="1328291" y="228902"/>
                    <a:pt x="1352550" y="243793"/>
                    <a:pt x="1352550" y="254240"/>
                  </a:cubicBezTo>
                  <a:cubicBezTo>
                    <a:pt x="1352550" y="264280"/>
                    <a:pt x="1346200" y="273290"/>
                    <a:pt x="1343025" y="282815"/>
                  </a:cubicBezTo>
                  <a:cubicBezTo>
                    <a:pt x="1344612" y="290752"/>
                    <a:pt x="1342605" y="300409"/>
                    <a:pt x="1347787" y="306627"/>
                  </a:cubicBezTo>
                  <a:cubicBezTo>
                    <a:pt x="1351977" y="311655"/>
                    <a:pt x="1361391" y="307759"/>
                    <a:pt x="1366837" y="311390"/>
                  </a:cubicBezTo>
                  <a:cubicBezTo>
                    <a:pt x="1371599" y="314565"/>
                    <a:pt x="1373187" y="320915"/>
                    <a:pt x="1376362" y="325677"/>
                  </a:cubicBezTo>
                  <a:cubicBezTo>
                    <a:pt x="1373187" y="333615"/>
                    <a:pt x="1367897" y="341007"/>
                    <a:pt x="1366837" y="349490"/>
                  </a:cubicBezTo>
                  <a:cubicBezTo>
                    <a:pt x="1366214" y="354471"/>
                    <a:pt x="1373464" y="359116"/>
                    <a:pt x="1371600" y="363777"/>
                  </a:cubicBezTo>
                  <a:cubicBezTo>
                    <a:pt x="1369917" y="367984"/>
                    <a:pt x="1339470" y="382223"/>
                    <a:pt x="1338262" y="382827"/>
                  </a:cubicBezTo>
                  <a:cubicBezTo>
                    <a:pt x="1335087" y="387590"/>
                    <a:pt x="1329212" y="391411"/>
                    <a:pt x="1328737" y="397115"/>
                  </a:cubicBezTo>
                  <a:cubicBezTo>
                    <a:pt x="1325964" y="430393"/>
                    <a:pt x="1331180" y="435337"/>
                    <a:pt x="1343025" y="459027"/>
                  </a:cubicBezTo>
                  <a:cubicBezTo>
                    <a:pt x="1348213" y="479782"/>
                    <a:pt x="1352651" y="487351"/>
                    <a:pt x="1343025" y="511415"/>
                  </a:cubicBezTo>
                  <a:cubicBezTo>
                    <a:pt x="1340524" y="517668"/>
                    <a:pt x="1333049" y="520528"/>
                    <a:pt x="1328737" y="525702"/>
                  </a:cubicBezTo>
                  <a:cubicBezTo>
                    <a:pt x="1325073" y="530099"/>
                    <a:pt x="1322387" y="535227"/>
                    <a:pt x="1319212" y="539990"/>
                  </a:cubicBezTo>
                  <a:cubicBezTo>
                    <a:pt x="1315318" y="606198"/>
                    <a:pt x="1319350" y="601281"/>
                    <a:pt x="1309687" y="644765"/>
                  </a:cubicBezTo>
                  <a:cubicBezTo>
                    <a:pt x="1308267" y="651155"/>
                    <a:pt x="1307223" y="657686"/>
                    <a:pt x="1304925" y="663815"/>
                  </a:cubicBezTo>
                  <a:cubicBezTo>
                    <a:pt x="1302432" y="670463"/>
                    <a:pt x="1298575" y="676515"/>
                    <a:pt x="1295400" y="682865"/>
                  </a:cubicBezTo>
                  <a:cubicBezTo>
                    <a:pt x="1295343" y="683149"/>
                    <a:pt x="1287756" y="723039"/>
                    <a:pt x="1285875" y="725727"/>
                  </a:cubicBezTo>
                  <a:cubicBezTo>
                    <a:pt x="1278150" y="736762"/>
                    <a:pt x="1264772" y="743094"/>
                    <a:pt x="1257300" y="754302"/>
                  </a:cubicBezTo>
                  <a:lnTo>
                    <a:pt x="1247775" y="768590"/>
                  </a:lnTo>
                  <a:cubicBezTo>
                    <a:pt x="1249362" y="789227"/>
                    <a:pt x="1249970" y="809964"/>
                    <a:pt x="1252537" y="830502"/>
                  </a:cubicBezTo>
                  <a:cubicBezTo>
                    <a:pt x="1253160" y="835484"/>
                    <a:pt x="1254164" y="840870"/>
                    <a:pt x="1257300" y="844790"/>
                  </a:cubicBezTo>
                  <a:cubicBezTo>
                    <a:pt x="1260876" y="849259"/>
                    <a:pt x="1266468" y="851755"/>
                    <a:pt x="1271587" y="854315"/>
                  </a:cubicBezTo>
                  <a:cubicBezTo>
                    <a:pt x="1279234" y="858138"/>
                    <a:pt x="1287462" y="860665"/>
                    <a:pt x="1295400" y="863840"/>
                  </a:cubicBezTo>
                  <a:cubicBezTo>
                    <a:pt x="1300162" y="868602"/>
                    <a:pt x="1308300" y="871537"/>
                    <a:pt x="1309687" y="878127"/>
                  </a:cubicBezTo>
                  <a:cubicBezTo>
                    <a:pt x="1314930" y="903031"/>
                    <a:pt x="1311786" y="929017"/>
                    <a:pt x="1314450" y="954327"/>
                  </a:cubicBezTo>
                  <a:cubicBezTo>
                    <a:pt x="1314976" y="959320"/>
                    <a:pt x="1317625" y="963852"/>
                    <a:pt x="1319212" y="968615"/>
                  </a:cubicBezTo>
                  <a:cubicBezTo>
                    <a:pt x="1317625" y="982902"/>
                    <a:pt x="1317682" y="997470"/>
                    <a:pt x="1314450" y="1011477"/>
                  </a:cubicBezTo>
                  <a:cubicBezTo>
                    <a:pt x="1312854" y="1018395"/>
                    <a:pt x="1305431" y="1023446"/>
                    <a:pt x="1304925" y="1030527"/>
                  </a:cubicBezTo>
                  <a:cubicBezTo>
                    <a:pt x="1303788" y="1046441"/>
                    <a:pt x="1306747" y="1062471"/>
                    <a:pt x="1309687" y="1078152"/>
                  </a:cubicBezTo>
                  <a:cubicBezTo>
                    <a:pt x="1311863" y="1089759"/>
                    <a:pt x="1318864" y="1111142"/>
                    <a:pt x="1328737" y="1121015"/>
                  </a:cubicBezTo>
                  <a:cubicBezTo>
                    <a:pt x="1332784" y="1125062"/>
                    <a:pt x="1338262" y="1127365"/>
                    <a:pt x="1343025" y="1130540"/>
                  </a:cubicBezTo>
                  <a:cubicBezTo>
                    <a:pt x="1347787" y="1128952"/>
                    <a:pt x="1352822" y="1128022"/>
                    <a:pt x="1357312" y="1125777"/>
                  </a:cubicBezTo>
                  <a:cubicBezTo>
                    <a:pt x="1362432" y="1123217"/>
                    <a:pt x="1365920" y="1116962"/>
                    <a:pt x="1371600" y="1116252"/>
                  </a:cubicBezTo>
                  <a:cubicBezTo>
                    <a:pt x="1379632" y="1115248"/>
                    <a:pt x="1387475" y="1119427"/>
                    <a:pt x="1395412" y="1121015"/>
                  </a:cubicBezTo>
                  <a:cubicBezTo>
                    <a:pt x="1398587" y="1125777"/>
                    <a:pt x="1399350" y="1134060"/>
                    <a:pt x="1404937" y="1135302"/>
                  </a:cubicBezTo>
                  <a:cubicBezTo>
                    <a:pt x="1413974" y="1137310"/>
                    <a:pt x="1445332" y="1128775"/>
                    <a:pt x="1457325" y="1125777"/>
                  </a:cubicBezTo>
                  <a:cubicBezTo>
                    <a:pt x="1462087" y="1127365"/>
                    <a:pt x="1471612" y="1125520"/>
                    <a:pt x="1471612" y="1130540"/>
                  </a:cubicBezTo>
                  <a:cubicBezTo>
                    <a:pt x="1471612" y="1135525"/>
                    <a:pt x="1447347" y="1152437"/>
                    <a:pt x="1443037" y="1154352"/>
                  </a:cubicBezTo>
                  <a:cubicBezTo>
                    <a:pt x="1433862" y="1158430"/>
                    <a:pt x="1414462" y="1163877"/>
                    <a:pt x="1414462" y="1163877"/>
                  </a:cubicBezTo>
                  <a:cubicBezTo>
                    <a:pt x="1416050" y="1168640"/>
                    <a:pt x="1416089" y="1174245"/>
                    <a:pt x="1419225" y="1178165"/>
                  </a:cubicBezTo>
                  <a:cubicBezTo>
                    <a:pt x="1422801" y="1182634"/>
                    <a:pt x="1429115" y="1184026"/>
                    <a:pt x="1433512" y="1187690"/>
                  </a:cubicBezTo>
                  <a:cubicBezTo>
                    <a:pt x="1438686" y="1192002"/>
                    <a:pt x="1443037" y="1197215"/>
                    <a:pt x="1447800" y="1201977"/>
                  </a:cubicBezTo>
                  <a:cubicBezTo>
                    <a:pt x="1446212" y="1214677"/>
                    <a:pt x="1445327" y="1227485"/>
                    <a:pt x="1443037" y="1240077"/>
                  </a:cubicBezTo>
                  <a:cubicBezTo>
                    <a:pt x="1442139" y="1245016"/>
                    <a:pt x="1441825" y="1250815"/>
                    <a:pt x="1438275" y="1254365"/>
                  </a:cubicBezTo>
                  <a:cubicBezTo>
                    <a:pt x="1432389" y="1260251"/>
                    <a:pt x="1413477" y="1265806"/>
                    <a:pt x="1404937" y="1268652"/>
                  </a:cubicBezTo>
                  <a:cubicBezTo>
                    <a:pt x="1400175" y="1271827"/>
                    <a:pt x="1395911" y="1275922"/>
                    <a:pt x="1390650" y="1278177"/>
                  </a:cubicBezTo>
                  <a:cubicBezTo>
                    <a:pt x="1358505" y="1291954"/>
                    <a:pt x="1279808" y="1278568"/>
                    <a:pt x="1271587" y="1278177"/>
                  </a:cubicBezTo>
                  <a:cubicBezTo>
                    <a:pt x="1263650" y="1281352"/>
                    <a:pt x="1254731" y="1282733"/>
                    <a:pt x="1247775" y="1287702"/>
                  </a:cubicBezTo>
                  <a:cubicBezTo>
                    <a:pt x="1243117" y="1291029"/>
                    <a:pt x="1242297" y="1297943"/>
                    <a:pt x="1238250" y="1301990"/>
                  </a:cubicBezTo>
                  <a:cubicBezTo>
                    <a:pt x="1234203" y="1306037"/>
                    <a:pt x="1228725" y="1308340"/>
                    <a:pt x="1223962" y="1311515"/>
                  </a:cubicBezTo>
                  <a:cubicBezTo>
                    <a:pt x="1209644" y="1306742"/>
                    <a:pt x="1207696" y="1307484"/>
                    <a:pt x="1195387" y="1297227"/>
                  </a:cubicBezTo>
                  <a:cubicBezTo>
                    <a:pt x="1190213" y="1292915"/>
                    <a:pt x="1186987" y="1286211"/>
                    <a:pt x="1181100" y="1282940"/>
                  </a:cubicBezTo>
                  <a:cubicBezTo>
                    <a:pt x="1172323" y="1278064"/>
                    <a:pt x="1162050" y="1276590"/>
                    <a:pt x="1152525" y="1273415"/>
                  </a:cubicBezTo>
                  <a:cubicBezTo>
                    <a:pt x="1147424" y="1263213"/>
                    <a:pt x="1140784" y="1238121"/>
                    <a:pt x="1123950" y="1235315"/>
                  </a:cubicBezTo>
                  <a:cubicBezTo>
                    <a:pt x="1118998" y="1234490"/>
                    <a:pt x="1114425" y="1238490"/>
                    <a:pt x="1109662" y="1240077"/>
                  </a:cubicBezTo>
                  <a:cubicBezTo>
                    <a:pt x="1070374" y="1279365"/>
                    <a:pt x="1076447" y="1254612"/>
                    <a:pt x="1090612" y="1282940"/>
                  </a:cubicBezTo>
                  <a:cubicBezTo>
                    <a:pt x="1092857" y="1287430"/>
                    <a:pt x="1093787" y="1292465"/>
                    <a:pt x="1095375" y="1297227"/>
                  </a:cubicBezTo>
                  <a:cubicBezTo>
                    <a:pt x="1095602" y="1298815"/>
                    <a:pt x="1101913" y="1357203"/>
                    <a:pt x="1109662" y="1359140"/>
                  </a:cubicBezTo>
                  <a:lnTo>
                    <a:pt x="1128712" y="1363902"/>
                  </a:lnTo>
                  <a:lnTo>
                    <a:pt x="1157287" y="1392477"/>
                  </a:lnTo>
                  <a:cubicBezTo>
                    <a:pt x="1164387" y="1399577"/>
                    <a:pt x="1147762" y="1421052"/>
                    <a:pt x="1147762" y="1421052"/>
                  </a:cubicBezTo>
                  <a:cubicBezTo>
                    <a:pt x="1146175" y="1430577"/>
                    <a:pt x="1145775" y="1440378"/>
                    <a:pt x="1143000" y="1449627"/>
                  </a:cubicBezTo>
                  <a:cubicBezTo>
                    <a:pt x="1140960" y="1456427"/>
                    <a:pt x="1136272" y="1462152"/>
                    <a:pt x="1133475" y="1468677"/>
                  </a:cubicBezTo>
                  <a:cubicBezTo>
                    <a:pt x="1131497" y="1473291"/>
                    <a:pt x="1130300" y="1478202"/>
                    <a:pt x="1128712" y="1482965"/>
                  </a:cubicBezTo>
                  <a:cubicBezTo>
                    <a:pt x="1138794" y="1498088"/>
                    <a:pt x="1143140" y="1496971"/>
                    <a:pt x="1133475" y="1516302"/>
                  </a:cubicBezTo>
                  <a:cubicBezTo>
                    <a:pt x="1128356" y="1526541"/>
                    <a:pt x="1114425" y="1544877"/>
                    <a:pt x="1114425" y="1544877"/>
                  </a:cubicBezTo>
                  <a:cubicBezTo>
                    <a:pt x="1112837" y="1562340"/>
                    <a:pt x="1114479" y="1580405"/>
                    <a:pt x="1109662" y="1597265"/>
                  </a:cubicBezTo>
                  <a:cubicBezTo>
                    <a:pt x="1107812" y="1603741"/>
                    <a:pt x="1099111" y="1605948"/>
                    <a:pt x="1095375" y="1611552"/>
                  </a:cubicBezTo>
                  <a:cubicBezTo>
                    <a:pt x="1092590" y="1615729"/>
                    <a:pt x="1093397" y="1621663"/>
                    <a:pt x="1090612" y="1625840"/>
                  </a:cubicBezTo>
                  <a:cubicBezTo>
                    <a:pt x="1086876" y="1631444"/>
                    <a:pt x="1080637" y="1634953"/>
                    <a:pt x="1076325" y="1640127"/>
                  </a:cubicBezTo>
                  <a:cubicBezTo>
                    <a:pt x="1067911" y="1650224"/>
                    <a:pt x="1063097" y="1661821"/>
                    <a:pt x="1057275" y="1673465"/>
                  </a:cubicBezTo>
                  <a:cubicBezTo>
                    <a:pt x="1058862" y="1678227"/>
                    <a:pt x="1059599" y="1683364"/>
                    <a:pt x="1062037" y="1687752"/>
                  </a:cubicBezTo>
                  <a:cubicBezTo>
                    <a:pt x="1071193" y="1704233"/>
                    <a:pt x="1081012" y="1718646"/>
                    <a:pt x="1095375" y="1730615"/>
                  </a:cubicBezTo>
                  <a:cubicBezTo>
                    <a:pt x="1099772" y="1734279"/>
                    <a:pt x="1104900" y="1736965"/>
                    <a:pt x="1109662" y="1740140"/>
                  </a:cubicBezTo>
                  <a:cubicBezTo>
                    <a:pt x="1108075" y="1744902"/>
                    <a:pt x="1108756" y="1751213"/>
                    <a:pt x="1104900" y="1754427"/>
                  </a:cubicBezTo>
                  <a:cubicBezTo>
                    <a:pt x="1098332" y="1759900"/>
                    <a:pt x="1088899" y="1760480"/>
                    <a:pt x="1081087" y="1763952"/>
                  </a:cubicBezTo>
                  <a:cubicBezTo>
                    <a:pt x="1074599" y="1766835"/>
                    <a:pt x="1068387" y="1770302"/>
                    <a:pt x="1062037" y="1773477"/>
                  </a:cubicBezTo>
                  <a:cubicBezTo>
                    <a:pt x="1049337" y="1771890"/>
                    <a:pt x="1036529" y="1771005"/>
                    <a:pt x="1023937" y="1768715"/>
                  </a:cubicBezTo>
                  <a:cubicBezTo>
                    <a:pt x="1018998" y="1767817"/>
                    <a:pt x="1014477" y="1765331"/>
                    <a:pt x="1009650" y="1763952"/>
                  </a:cubicBezTo>
                  <a:cubicBezTo>
                    <a:pt x="1003356" y="1762154"/>
                    <a:pt x="996950" y="1760777"/>
                    <a:pt x="990600" y="1759190"/>
                  </a:cubicBezTo>
                  <a:cubicBezTo>
                    <a:pt x="985837" y="1756015"/>
                    <a:pt x="982016" y="1750140"/>
                    <a:pt x="976312" y="1749665"/>
                  </a:cubicBezTo>
                  <a:cubicBezTo>
                    <a:pt x="950789" y="1747538"/>
                    <a:pt x="939289" y="1752480"/>
                    <a:pt x="919162" y="1759190"/>
                  </a:cubicBezTo>
                  <a:cubicBezTo>
                    <a:pt x="912812" y="1763952"/>
                    <a:pt x="906571" y="1768863"/>
                    <a:pt x="900112" y="1773477"/>
                  </a:cubicBezTo>
                  <a:cubicBezTo>
                    <a:pt x="895454" y="1776804"/>
                    <a:pt x="889872" y="1778955"/>
                    <a:pt x="885825" y="1783002"/>
                  </a:cubicBezTo>
                  <a:cubicBezTo>
                    <a:pt x="858900" y="1809928"/>
                    <a:pt x="898117" y="1786381"/>
                    <a:pt x="857250" y="1806815"/>
                  </a:cubicBezTo>
                  <a:cubicBezTo>
                    <a:pt x="828598" y="1845017"/>
                    <a:pt x="854873" y="1803623"/>
                    <a:pt x="838200" y="1859202"/>
                  </a:cubicBezTo>
                  <a:cubicBezTo>
                    <a:pt x="837039" y="1863073"/>
                    <a:pt x="814406" y="1892515"/>
                    <a:pt x="814387" y="1892540"/>
                  </a:cubicBezTo>
                  <a:cubicBezTo>
                    <a:pt x="807190" y="1921331"/>
                    <a:pt x="811695" y="1905380"/>
                    <a:pt x="800100" y="1940165"/>
                  </a:cubicBezTo>
                  <a:cubicBezTo>
                    <a:pt x="796925" y="1949690"/>
                    <a:pt x="781050" y="1946515"/>
                    <a:pt x="771525" y="1949690"/>
                  </a:cubicBezTo>
                  <a:cubicBezTo>
                    <a:pt x="747864" y="1957577"/>
                    <a:pt x="725774" y="1956880"/>
                    <a:pt x="700087" y="1959215"/>
                  </a:cubicBezTo>
                  <a:cubicBezTo>
                    <a:pt x="690773" y="1973186"/>
                    <a:pt x="689744" y="1972013"/>
                    <a:pt x="685800" y="1987790"/>
                  </a:cubicBezTo>
                  <a:cubicBezTo>
                    <a:pt x="683837" y="1995643"/>
                    <a:pt x="686219" y="2005384"/>
                    <a:pt x="681037" y="2011602"/>
                  </a:cubicBezTo>
                  <a:cubicBezTo>
                    <a:pt x="676847" y="2016630"/>
                    <a:pt x="668337" y="2014777"/>
                    <a:pt x="661987" y="2016365"/>
                  </a:cubicBezTo>
                  <a:cubicBezTo>
                    <a:pt x="649287" y="2014777"/>
                    <a:pt x="632937" y="2020652"/>
                    <a:pt x="623887" y="2011602"/>
                  </a:cubicBezTo>
                  <a:cubicBezTo>
                    <a:pt x="617059" y="2004774"/>
                    <a:pt x="629338" y="1992659"/>
                    <a:pt x="628650" y="1983027"/>
                  </a:cubicBezTo>
                  <a:cubicBezTo>
                    <a:pt x="627717" y="1969969"/>
                    <a:pt x="619125" y="1944927"/>
                    <a:pt x="619125" y="1944927"/>
                  </a:cubicBezTo>
                  <a:cubicBezTo>
                    <a:pt x="620712" y="1922702"/>
                    <a:pt x="620582" y="1900287"/>
                    <a:pt x="623887" y="1878252"/>
                  </a:cubicBezTo>
                  <a:cubicBezTo>
                    <a:pt x="629153" y="1843147"/>
                    <a:pt x="631303" y="1858658"/>
                    <a:pt x="642937" y="1835390"/>
                  </a:cubicBezTo>
                  <a:cubicBezTo>
                    <a:pt x="662655" y="1795956"/>
                    <a:pt x="629929" y="1847758"/>
                    <a:pt x="657225" y="1806815"/>
                  </a:cubicBezTo>
                  <a:cubicBezTo>
                    <a:pt x="666495" y="1779000"/>
                    <a:pt x="654733" y="1804543"/>
                    <a:pt x="676275" y="1783002"/>
                  </a:cubicBezTo>
                  <a:cubicBezTo>
                    <a:pt x="680322" y="1778955"/>
                    <a:pt x="682136" y="1773112"/>
                    <a:pt x="685800" y="1768715"/>
                  </a:cubicBezTo>
                  <a:cubicBezTo>
                    <a:pt x="690112" y="1763541"/>
                    <a:pt x="695325" y="1759190"/>
                    <a:pt x="700087" y="1754427"/>
                  </a:cubicBezTo>
                  <a:cubicBezTo>
                    <a:pt x="706111" y="1736358"/>
                    <a:pt x="704126" y="1735215"/>
                    <a:pt x="723900" y="1721090"/>
                  </a:cubicBezTo>
                  <a:cubicBezTo>
                    <a:pt x="727985" y="1718172"/>
                    <a:pt x="733425" y="1717915"/>
                    <a:pt x="738187" y="1716327"/>
                  </a:cubicBezTo>
                  <a:cubicBezTo>
                    <a:pt x="739775" y="1670290"/>
                    <a:pt x="736435" y="1623817"/>
                    <a:pt x="742950" y="1578215"/>
                  </a:cubicBezTo>
                  <a:cubicBezTo>
                    <a:pt x="744569" y="1566882"/>
                    <a:pt x="762000" y="1549640"/>
                    <a:pt x="762000" y="1549640"/>
                  </a:cubicBezTo>
                  <a:cubicBezTo>
                    <a:pt x="760412" y="1521065"/>
                    <a:pt x="761104" y="1492272"/>
                    <a:pt x="757237" y="1463915"/>
                  </a:cubicBezTo>
                  <a:cubicBezTo>
                    <a:pt x="756278" y="1456881"/>
                    <a:pt x="748716" y="1451893"/>
                    <a:pt x="747712" y="1444865"/>
                  </a:cubicBezTo>
                  <a:cubicBezTo>
                    <a:pt x="747002" y="1439895"/>
                    <a:pt x="750230" y="1435067"/>
                    <a:pt x="752475" y="1430577"/>
                  </a:cubicBezTo>
                  <a:cubicBezTo>
                    <a:pt x="759105" y="1417318"/>
                    <a:pt x="765756" y="1412534"/>
                    <a:pt x="776287" y="1402002"/>
                  </a:cubicBezTo>
                  <a:cubicBezTo>
                    <a:pt x="777875" y="1397240"/>
                    <a:pt x="781604" y="1392704"/>
                    <a:pt x="781050" y="1387715"/>
                  </a:cubicBezTo>
                  <a:cubicBezTo>
                    <a:pt x="779941" y="1377736"/>
                    <a:pt x="774410" y="1368757"/>
                    <a:pt x="771525" y="1359140"/>
                  </a:cubicBezTo>
                  <a:cubicBezTo>
                    <a:pt x="769644" y="1352871"/>
                    <a:pt x="768350" y="1346440"/>
                    <a:pt x="766762" y="1340090"/>
                  </a:cubicBezTo>
                  <a:cubicBezTo>
                    <a:pt x="769449" y="1321284"/>
                    <a:pt x="771646" y="1301503"/>
                    <a:pt x="776287" y="1282940"/>
                  </a:cubicBezTo>
                  <a:cubicBezTo>
                    <a:pt x="777505" y="1278070"/>
                    <a:pt x="779671" y="1273479"/>
                    <a:pt x="781050" y="1268652"/>
                  </a:cubicBezTo>
                  <a:cubicBezTo>
                    <a:pt x="782848" y="1262358"/>
                    <a:pt x="784225" y="1255952"/>
                    <a:pt x="785812" y="1249602"/>
                  </a:cubicBezTo>
                  <a:cubicBezTo>
                    <a:pt x="784225" y="1240077"/>
                    <a:pt x="786588" y="1228938"/>
                    <a:pt x="781050" y="1221027"/>
                  </a:cubicBezTo>
                  <a:cubicBezTo>
                    <a:pt x="774485" y="1211649"/>
                    <a:pt x="752475" y="1201977"/>
                    <a:pt x="752475" y="1201977"/>
                  </a:cubicBezTo>
                  <a:cubicBezTo>
                    <a:pt x="741362" y="1203565"/>
                    <a:pt x="728950" y="1201288"/>
                    <a:pt x="719137" y="1206740"/>
                  </a:cubicBezTo>
                  <a:cubicBezTo>
                    <a:pt x="712931" y="1210188"/>
                    <a:pt x="714632" y="1220770"/>
                    <a:pt x="709612" y="1225790"/>
                  </a:cubicBezTo>
                  <a:cubicBezTo>
                    <a:pt x="703726" y="1231676"/>
                    <a:pt x="684814" y="1237231"/>
                    <a:pt x="676275" y="1240077"/>
                  </a:cubicBezTo>
                  <a:cubicBezTo>
                    <a:pt x="661987" y="1238490"/>
                    <a:pt x="647358" y="1238801"/>
                    <a:pt x="633412" y="1235315"/>
                  </a:cubicBezTo>
                  <a:cubicBezTo>
                    <a:pt x="596207" y="1226014"/>
                    <a:pt x="614970" y="1151005"/>
                    <a:pt x="614362" y="1140065"/>
                  </a:cubicBezTo>
                  <a:cubicBezTo>
                    <a:pt x="619986" y="1117571"/>
                    <a:pt x="613271" y="1123942"/>
                    <a:pt x="628650" y="1140065"/>
                  </a:cubicBezTo>
                  <a:close/>
                </a:path>
              </a:pathLst>
            </a:custGeom>
            <a:solidFill>
              <a:srgbClr val="EDDD32"/>
            </a:solidFill>
            <a:ln w="9525" cap="flat" cmpd="sng" algn="ctr">
              <a:solidFill>
                <a:srgbClr val="4866A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8383">
                <a:buClr>
                  <a:srgbClr val="000000"/>
                </a:buClr>
                <a:buSzPct val="100000"/>
              </a:pPr>
              <a:endParaRPr lang="pt-BR" sz="102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67" name="Freeform 31"/>
            <p:cNvSpPr/>
            <p:nvPr/>
          </p:nvSpPr>
          <p:spPr bwMode="auto">
            <a:xfrm>
              <a:off x="13227689" y="2754645"/>
              <a:ext cx="509297" cy="661065"/>
            </a:xfrm>
            <a:custGeom>
              <a:avLst/>
              <a:gdLst>
                <a:gd name="connsiteX0" fmla="*/ 548112 w 1719687"/>
                <a:gd name="connsiteY0" fmla="*/ 1062038 h 2195851"/>
                <a:gd name="connsiteX1" fmla="*/ 538587 w 1719687"/>
                <a:gd name="connsiteY1" fmla="*/ 1033463 h 2195851"/>
                <a:gd name="connsiteX2" fmla="*/ 548112 w 1719687"/>
                <a:gd name="connsiteY2" fmla="*/ 1004888 h 2195851"/>
                <a:gd name="connsiteX3" fmla="*/ 552874 w 1719687"/>
                <a:gd name="connsiteY3" fmla="*/ 985838 h 2195851"/>
                <a:gd name="connsiteX4" fmla="*/ 538587 w 1719687"/>
                <a:gd name="connsiteY4" fmla="*/ 976313 h 2195851"/>
                <a:gd name="connsiteX5" fmla="*/ 495724 w 1719687"/>
                <a:gd name="connsiteY5" fmla="*/ 971550 h 2195851"/>
                <a:gd name="connsiteX6" fmla="*/ 481437 w 1719687"/>
                <a:gd name="connsiteY6" fmla="*/ 966788 h 2195851"/>
                <a:gd name="connsiteX7" fmla="*/ 467149 w 1719687"/>
                <a:gd name="connsiteY7" fmla="*/ 957263 h 2195851"/>
                <a:gd name="connsiteX8" fmla="*/ 438574 w 1719687"/>
                <a:gd name="connsiteY8" fmla="*/ 933450 h 2195851"/>
                <a:gd name="connsiteX9" fmla="*/ 424287 w 1719687"/>
                <a:gd name="connsiteY9" fmla="*/ 942975 h 2195851"/>
                <a:gd name="connsiteX10" fmla="*/ 381424 w 1719687"/>
                <a:gd name="connsiteY10" fmla="*/ 985838 h 2195851"/>
                <a:gd name="connsiteX11" fmla="*/ 362374 w 1719687"/>
                <a:gd name="connsiteY11" fmla="*/ 995363 h 2195851"/>
                <a:gd name="connsiteX12" fmla="*/ 338562 w 1719687"/>
                <a:gd name="connsiteY12" fmla="*/ 1023938 h 2195851"/>
                <a:gd name="connsiteX13" fmla="*/ 324274 w 1719687"/>
                <a:gd name="connsiteY13" fmla="*/ 1038225 h 2195851"/>
                <a:gd name="connsiteX14" fmla="*/ 314749 w 1719687"/>
                <a:gd name="connsiteY14" fmla="*/ 1052513 h 2195851"/>
                <a:gd name="connsiteX15" fmla="*/ 290937 w 1719687"/>
                <a:gd name="connsiteY15" fmla="*/ 1081088 h 2195851"/>
                <a:gd name="connsiteX16" fmla="*/ 276649 w 1719687"/>
                <a:gd name="connsiteY16" fmla="*/ 1114425 h 2195851"/>
                <a:gd name="connsiteX17" fmla="*/ 267124 w 1719687"/>
                <a:gd name="connsiteY17" fmla="*/ 1143000 h 2195851"/>
                <a:gd name="connsiteX18" fmla="*/ 252837 w 1719687"/>
                <a:gd name="connsiteY18" fmla="*/ 1171575 h 2195851"/>
                <a:gd name="connsiteX19" fmla="*/ 233787 w 1719687"/>
                <a:gd name="connsiteY19" fmla="*/ 1181100 h 2195851"/>
                <a:gd name="connsiteX20" fmla="*/ 186162 w 1719687"/>
                <a:gd name="connsiteY20" fmla="*/ 1166813 h 2195851"/>
                <a:gd name="connsiteX21" fmla="*/ 176637 w 1719687"/>
                <a:gd name="connsiteY21" fmla="*/ 1152525 h 2195851"/>
                <a:gd name="connsiteX22" fmla="*/ 181399 w 1719687"/>
                <a:gd name="connsiteY22" fmla="*/ 1138238 h 2195851"/>
                <a:gd name="connsiteX23" fmla="*/ 176637 w 1719687"/>
                <a:gd name="connsiteY23" fmla="*/ 1119188 h 2195851"/>
                <a:gd name="connsiteX24" fmla="*/ 133774 w 1719687"/>
                <a:gd name="connsiteY24" fmla="*/ 1104900 h 2195851"/>
                <a:gd name="connsiteX25" fmla="*/ 86149 w 1719687"/>
                <a:gd name="connsiteY25" fmla="*/ 1090613 h 2195851"/>
                <a:gd name="connsiteX26" fmla="*/ 76624 w 1719687"/>
                <a:gd name="connsiteY26" fmla="*/ 1076325 h 2195851"/>
                <a:gd name="connsiteX27" fmla="*/ 71862 w 1719687"/>
                <a:gd name="connsiteY27" fmla="*/ 1057275 h 2195851"/>
                <a:gd name="connsiteX28" fmla="*/ 62337 w 1719687"/>
                <a:gd name="connsiteY28" fmla="*/ 1038225 h 2195851"/>
                <a:gd name="connsiteX29" fmla="*/ 71862 w 1719687"/>
                <a:gd name="connsiteY29" fmla="*/ 957263 h 2195851"/>
                <a:gd name="connsiteX30" fmla="*/ 67099 w 1719687"/>
                <a:gd name="connsiteY30" fmla="*/ 871538 h 2195851"/>
                <a:gd name="connsiteX31" fmla="*/ 52812 w 1719687"/>
                <a:gd name="connsiteY31" fmla="*/ 857250 h 2195851"/>
                <a:gd name="connsiteX32" fmla="*/ 24237 w 1719687"/>
                <a:gd name="connsiteY32" fmla="*/ 833438 h 2195851"/>
                <a:gd name="connsiteX33" fmla="*/ 5187 w 1719687"/>
                <a:gd name="connsiteY33" fmla="*/ 804863 h 2195851"/>
                <a:gd name="connsiteX34" fmla="*/ 424 w 1719687"/>
                <a:gd name="connsiteY34" fmla="*/ 785813 h 2195851"/>
                <a:gd name="connsiteX35" fmla="*/ 14712 w 1719687"/>
                <a:gd name="connsiteY35" fmla="*/ 714375 h 2195851"/>
                <a:gd name="connsiteX36" fmla="*/ 28999 w 1719687"/>
                <a:gd name="connsiteY36" fmla="*/ 700088 h 2195851"/>
                <a:gd name="connsiteX37" fmla="*/ 48049 w 1719687"/>
                <a:gd name="connsiteY37" fmla="*/ 671513 h 2195851"/>
                <a:gd name="connsiteX38" fmla="*/ 52812 w 1719687"/>
                <a:gd name="connsiteY38" fmla="*/ 652463 h 2195851"/>
                <a:gd name="connsiteX39" fmla="*/ 62337 w 1719687"/>
                <a:gd name="connsiteY39" fmla="*/ 633413 h 2195851"/>
                <a:gd name="connsiteX40" fmla="*/ 67099 w 1719687"/>
                <a:gd name="connsiteY40" fmla="*/ 609600 h 2195851"/>
                <a:gd name="connsiteX41" fmla="*/ 71862 w 1719687"/>
                <a:gd name="connsiteY41" fmla="*/ 528638 h 2195851"/>
                <a:gd name="connsiteX42" fmla="*/ 90912 w 1719687"/>
                <a:gd name="connsiteY42" fmla="*/ 500063 h 2195851"/>
                <a:gd name="connsiteX43" fmla="*/ 95674 w 1719687"/>
                <a:gd name="connsiteY43" fmla="*/ 409575 h 2195851"/>
                <a:gd name="connsiteX44" fmla="*/ 109962 w 1719687"/>
                <a:gd name="connsiteY44" fmla="*/ 323850 h 2195851"/>
                <a:gd name="connsiteX45" fmla="*/ 114724 w 1719687"/>
                <a:gd name="connsiteY45" fmla="*/ 309563 h 2195851"/>
                <a:gd name="connsiteX46" fmla="*/ 105199 w 1719687"/>
                <a:gd name="connsiteY46" fmla="*/ 271463 h 2195851"/>
                <a:gd name="connsiteX47" fmla="*/ 100437 w 1719687"/>
                <a:gd name="connsiteY47" fmla="*/ 252413 h 2195851"/>
                <a:gd name="connsiteX48" fmla="*/ 95674 w 1719687"/>
                <a:gd name="connsiteY48" fmla="*/ 219075 h 2195851"/>
                <a:gd name="connsiteX49" fmla="*/ 81387 w 1719687"/>
                <a:gd name="connsiteY49" fmla="*/ 200025 h 2195851"/>
                <a:gd name="connsiteX50" fmla="*/ 90912 w 1719687"/>
                <a:gd name="connsiteY50" fmla="*/ 161925 h 2195851"/>
                <a:gd name="connsiteX51" fmla="*/ 86149 w 1719687"/>
                <a:gd name="connsiteY51" fmla="*/ 142875 h 2195851"/>
                <a:gd name="connsiteX52" fmla="*/ 81387 w 1719687"/>
                <a:gd name="connsiteY52" fmla="*/ 119063 h 2195851"/>
                <a:gd name="connsiteX53" fmla="*/ 86149 w 1719687"/>
                <a:gd name="connsiteY53" fmla="*/ 57150 h 2195851"/>
                <a:gd name="connsiteX54" fmla="*/ 105199 w 1719687"/>
                <a:gd name="connsiteY54" fmla="*/ 47625 h 2195851"/>
                <a:gd name="connsiteX55" fmla="*/ 162349 w 1719687"/>
                <a:gd name="connsiteY55" fmla="*/ 33338 h 2195851"/>
                <a:gd name="connsiteX56" fmla="*/ 205212 w 1719687"/>
                <a:gd name="connsiteY56" fmla="*/ 4763 h 2195851"/>
                <a:gd name="connsiteX57" fmla="*/ 219499 w 1719687"/>
                <a:gd name="connsiteY57" fmla="*/ 0 h 2195851"/>
                <a:gd name="connsiteX58" fmla="*/ 233787 w 1719687"/>
                <a:gd name="connsiteY58" fmla="*/ 4763 h 2195851"/>
                <a:gd name="connsiteX59" fmla="*/ 238549 w 1719687"/>
                <a:gd name="connsiteY59" fmla="*/ 23813 h 2195851"/>
                <a:gd name="connsiteX60" fmla="*/ 243312 w 1719687"/>
                <a:gd name="connsiteY60" fmla="*/ 57150 h 2195851"/>
                <a:gd name="connsiteX61" fmla="*/ 271887 w 1719687"/>
                <a:gd name="connsiteY61" fmla="*/ 66675 h 2195851"/>
                <a:gd name="connsiteX62" fmla="*/ 290937 w 1719687"/>
                <a:gd name="connsiteY62" fmla="*/ 95250 h 2195851"/>
                <a:gd name="connsiteX63" fmla="*/ 300462 w 1719687"/>
                <a:gd name="connsiteY63" fmla="*/ 109538 h 2195851"/>
                <a:gd name="connsiteX64" fmla="*/ 305224 w 1719687"/>
                <a:gd name="connsiteY64" fmla="*/ 138113 h 2195851"/>
                <a:gd name="connsiteX65" fmla="*/ 319512 w 1719687"/>
                <a:gd name="connsiteY65" fmla="*/ 147638 h 2195851"/>
                <a:gd name="connsiteX66" fmla="*/ 381424 w 1719687"/>
                <a:gd name="connsiteY66" fmla="*/ 152400 h 2195851"/>
                <a:gd name="connsiteX67" fmla="*/ 386187 w 1719687"/>
                <a:gd name="connsiteY67" fmla="*/ 166688 h 2195851"/>
                <a:gd name="connsiteX68" fmla="*/ 400474 w 1719687"/>
                <a:gd name="connsiteY68" fmla="*/ 228600 h 2195851"/>
                <a:gd name="connsiteX69" fmla="*/ 457624 w 1719687"/>
                <a:gd name="connsiteY69" fmla="*/ 133350 h 2195851"/>
                <a:gd name="connsiteX70" fmla="*/ 462387 w 1719687"/>
                <a:gd name="connsiteY70" fmla="*/ 119063 h 2195851"/>
                <a:gd name="connsiteX71" fmla="*/ 490962 w 1719687"/>
                <a:gd name="connsiteY71" fmla="*/ 109538 h 2195851"/>
                <a:gd name="connsiteX72" fmla="*/ 505249 w 1719687"/>
                <a:gd name="connsiteY72" fmla="*/ 123825 h 2195851"/>
                <a:gd name="connsiteX73" fmla="*/ 510012 w 1719687"/>
                <a:gd name="connsiteY73" fmla="*/ 185738 h 2195851"/>
                <a:gd name="connsiteX74" fmla="*/ 524299 w 1719687"/>
                <a:gd name="connsiteY74" fmla="*/ 238125 h 2195851"/>
                <a:gd name="connsiteX75" fmla="*/ 543349 w 1719687"/>
                <a:gd name="connsiteY75" fmla="*/ 247650 h 2195851"/>
                <a:gd name="connsiteX76" fmla="*/ 552874 w 1719687"/>
                <a:gd name="connsiteY76" fmla="*/ 209550 h 2195851"/>
                <a:gd name="connsiteX77" fmla="*/ 557637 w 1719687"/>
                <a:gd name="connsiteY77" fmla="*/ 171450 h 2195851"/>
                <a:gd name="connsiteX78" fmla="*/ 571924 w 1719687"/>
                <a:gd name="connsiteY78" fmla="*/ 161925 h 2195851"/>
                <a:gd name="connsiteX79" fmla="*/ 648124 w 1719687"/>
                <a:gd name="connsiteY79" fmla="*/ 166688 h 2195851"/>
                <a:gd name="connsiteX80" fmla="*/ 652887 w 1719687"/>
                <a:gd name="connsiteY80" fmla="*/ 180975 h 2195851"/>
                <a:gd name="connsiteX81" fmla="*/ 643362 w 1719687"/>
                <a:gd name="connsiteY81" fmla="*/ 214313 h 2195851"/>
                <a:gd name="connsiteX82" fmla="*/ 629074 w 1719687"/>
                <a:gd name="connsiteY82" fmla="*/ 228600 h 2195851"/>
                <a:gd name="connsiteX83" fmla="*/ 633837 w 1719687"/>
                <a:gd name="connsiteY83" fmla="*/ 266700 h 2195851"/>
                <a:gd name="connsiteX84" fmla="*/ 652887 w 1719687"/>
                <a:gd name="connsiteY84" fmla="*/ 271463 h 2195851"/>
                <a:gd name="connsiteX85" fmla="*/ 667174 w 1719687"/>
                <a:gd name="connsiteY85" fmla="*/ 280988 h 2195851"/>
                <a:gd name="connsiteX86" fmla="*/ 676699 w 1719687"/>
                <a:gd name="connsiteY86" fmla="*/ 300038 h 2195851"/>
                <a:gd name="connsiteX87" fmla="*/ 705274 w 1719687"/>
                <a:gd name="connsiteY87" fmla="*/ 280988 h 2195851"/>
                <a:gd name="connsiteX88" fmla="*/ 710037 w 1719687"/>
                <a:gd name="connsiteY88" fmla="*/ 266700 h 2195851"/>
                <a:gd name="connsiteX89" fmla="*/ 729087 w 1719687"/>
                <a:gd name="connsiteY89" fmla="*/ 238125 h 2195851"/>
                <a:gd name="connsiteX90" fmla="*/ 743374 w 1719687"/>
                <a:gd name="connsiteY90" fmla="*/ 209550 h 2195851"/>
                <a:gd name="connsiteX91" fmla="*/ 752899 w 1719687"/>
                <a:gd name="connsiteY91" fmla="*/ 190500 h 2195851"/>
                <a:gd name="connsiteX92" fmla="*/ 771949 w 1719687"/>
                <a:gd name="connsiteY92" fmla="*/ 185738 h 2195851"/>
                <a:gd name="connsiteX93" fmla="*/ 810049 w 1719687"/>
                <a:gd name="connsiteY93" fmla="*/ 190500 h 2195851"/>
                <a:gd name="connsiteX94" fmla="*/ 819574 w 1719687"/>
                <a:gd name="connsiteY94" fmla="*/ 228600 h 2195851"/>
                <a:gd name="connsiteX95" fmla="*/ 824337 w 1719687"/>
                <a:gd name="connsiteY95" fmla="*/ 280988 h 2195851"/>
                <a:gd name="connsiteX96" fmla="*/ 838624 w 1719687"/>
                <a:gd name="connsiteY96" fmla="*/ 295275 h 2195851"/>
                <a:gd name="connsiteX97" fmla="*/ 895774 w 1719687"/>
                <a:gd name="connsiteY97" fmla="*/ 290513 h 2195851"/>
                <a:gd name="connsiteX98" fmla="*/ 914824 w 1719687"/>
                <a:gd name="connsiteY98" fmla="*/ 300038 h 2195851"/>
                <a:gd name="connsiteX99" fmla="*/ 924349 w 1719687"/>
                <a:gd name="connsiteY99" fmla="*/ 314325 h 2195851"/>
                <a:gd name="connsiteX100" fmla="*/ 962449 w 1719687"/>
                <a:gd name="connsiteY100" fmla="*/ 342900 h 2195851"/>
                <a:gd name="connsiteX101" fmla="*/ 995787 w 1719687"/>
                <a:gd name="connsiteY101" fmla="*/ 338138 h 2195851"/>
                <a:gd name="connsiteX102" fmla="*/ 1010074 w 1719687"/>
                <a:gd name="connsiteY102" fmla="*/ 323850 h 2195851"/>
                <a:gd name="connsiteX103" fmla="*/ 1057699 w 1719687"/>
                <a:gd name="connsiteY103" fmla="*/ 300038 h 2195851"/>
                <a:gd name="connsiteX104" fmla="*/ 1071987 w 1719687"/>
                <a:gd name="connsiteY104" fmla="*/ 352425 h 2195851"/>
                <a:gd name="connsiteX105" fmla="*/ 1081512 w 1719687"/>
                <a:gd name="connsiteY105" fmla="*/ 366713 h 2195851"/>
                <a:gd name="connsiteX106" fmla="*/ 1110087 w 1719687"/>
                <a:gd name="connsiteY106" fmla="*/ 371475 h 2195851"/>
                <a:gd name="connsiteX107" fmla="*/ 1162474 w 1719687"/>
                <a:gd name="connsiteY107" fmla="*/ 381000 h 2195851"/>
                <a:gd name="connsiteX108" fmla="*/ 1167237 w 1719687"/>
                <a:gd name="connsiteY108" fmla="*/ 395288 h 2195851"/>
                <a:gd name="connsiteX109" fmla="*/ 1152949 w 1719687"/>
                <a:gd name="connsiteY109" fmla="*/ 428625 h 2195851"/>
                <a:gd name="connsiteX110" fmla="*/ 1157712 w 1719687"/>
                <a:gd name="connsiteY110" fmla="*/ 442913 h 2195851"/>
                <a:gd name="connsiteX111" fmla="*/ 1205337 w 1719687"/>
                <a:gd name="connsiteY111" fmla="*/ 428625 h 2195851"/>
                <a:gd name="connsiteX112" fmla="*/ 1224387 w 1719687"/>
                <a:gd name="connsiteY112" fmla="*/ 419100 h 2195851"/>
                <a:gd name="connsiteX113" fmla="*/ 1229149 w 1719687"/>
                <a:gd name="connsiteY113" fmla="*/ 433388 h 2195851"/>
                <a:gd name="connsiteX114" fmla="*/ 1229149 w 1719687"/>
                <a:gd name="connsiteY114" fmla="*/ 485775 h 2195851"/>
                <a:gd name="connsiteX115" fmla="*/ 1262487 w 1719687"/>
                <a:gd name="connsiteY115" fmla="*/ 495300 h 2195851"/>
                <a:gd name="connsiteX116" fmla="*/ 1267249 w 1719687"/>
                <a:gd name="connsiteY116" fmla="*/ 528638 h 2195851"/>
                <a:gd name="connsiteX117" fmla="*/ 1281537 w 1719687"/>
                <a:gd name="connsiteY117" fmla="*/ 533400 h 2195851"/>
                <a:gd name="connsiteX118" fmla="*/ 1381549 w 1719687"/>
                <a:gd name="connsiteY118" fmla="*/ 538163 h 2195851"/>
                <a:gd name="connsiteX119" fmla="*/ 1405362 w 1719687"/>
                <a:gd name="connsiteY119" fmla="*/ 557213 h 2195851"/>
                <a:gd name="connsiteX120" fmla="*/ 1438699 w 1719687"/>
                <a:gd name="connsiteY120" fmla="*/ 566738 h 2195851"/>
                <a:gd name="connsiteX121" fmla="*/ 1457749 w 1719687"/>
                <a:gd name="connsiteY121" fmla="*/ 561975 h 2195851"/>
                <a:gd name="connsiteX122" fmla="*/ 1467274 w 1719687"/>
                <a:gd name="connsiteY122" fmla="*/ 542925 h 2195851"/>
                <a:gd name="connsiteX123" fmla="*/ 1476799 w 1719687"/>
                <a:gd name="connsiteY123" fmla="*/ 528638 h 2195851"/>
                <a:gd name="connsiteX124" fmla="*/ 1481562 w 1719687"/>
                <a:gd name="connsiteY124" fmla="*/ 509588 h 2195851"/>
                <a:gd name="connsiteX125" fmla="*/ 1514899 w 1719687"/>
                <a:gd name="connsiteY125" fmla="*/ 490538 h 2195851"/>
                <a:gd name="connsiteX126" fmla="*/ 1548237 w 1719687"/>
                <a:gd name="connsiteY126" fmla="*/ 495300 h 2195851"/>
                <a:gd name="connsiteX127" fmla="*/ 1557762 w 1719687"/>
                <a:gd name="connsiteY127" fmla="*/ 509588 h 2195851"/>
                <a:gd name="connsiteX128" fmla="*/ 1572049 w 1719687"/>
                <a:gd name="connsiteY128" fmla="*/ 519113 h 2195851"/>
                <a:gd name="connsiteX129" fmla="*/ 1581574 w 1719687"/>
                <a:gd name="connsiteY129" fmla="*/ 538163 h 2195851"/>
                <a:gd name="connsiteX130" fmla="*/ 1591099 w 1719687"/>
                <a:gd name="connsiteY130" fmla="*/ 552450 h 2195851"/>
                <a:gd name="connsiteX131" fmla="*/ 1581574 w 1719687"/>
                <a:gd name="connsiteY131" fmla="*/ 581025 h 2195851"/>
                <a:gd name="connsiteX132" fmla="*/ 1576812 w 1719687"/>
                <a:gd name="connsiteY132" fmla="*/ 595313 h 2195851"/>
                <a:gd name="connsiteX133" fmla="*/ 1572049 w 1719687"/>
                <a:gd name="connsiteY133" fmla="*/ 609600 h 2195851"/>
                <a:gd name="connsiteX134" fmla="*/ 1591099 w 1719687"/>
                <a:gd name="connsiteY134" fmla="*/ 614363 h 2195851"/>
                <a:gd name="connsiteX135" fmla="*/ 1614912 w 1719687"/>
                <a:gd name="connsiteY135" fmla="*/ 619125 h 2195851"/>
                <a:gd name="connsiteX136" fmla="*/ 1643487 w 1719687"/>
                <a:gd name="connsiteY136" fmla="*/ 652463 h 2195851"/>
                <a:gd name="connsiteX137" fmla="*/ 1657774 w 1719687"/>
                <a:gd name="connsiteY137" fmla="*/ 661988 h 2195851"/>
                <a:gd name="connsiteX138" fmla="*/ 1662537 w 1719687"/>
                <a:gd name="connsiteY138" fmla="*/ 600075 h 2195851"/>
                <a:gd name="connsiteX139" fmla="*/ 1667299 w 1719687"/>
                <a:gd name="connsiteY139" fmla="*/ 585788 h 2195851"/>
                <a:gd name="connsiteX140" fmla="*/ 1686349 w 1719687"/>
                <a:gd name="connsiteY140" fmla="*/ 590550 h 2195851"/>
                <a:gd name="connsiteX141" fmla="*/ 1714924 w 1719687"/>
                <a:gd name="connsiteY141" fmla="*/ 633413 h 2195851"/>
                <a:gd name="connsiteX142" fmla="*/ 1719687 w 1719687"/>
                <a:gd name="connsiteY142" fmla="*/ 647700 h 2195851"/>
                <a:gd name="connsiteX143" fmla="*/ 1705399 w 1719687"/>
                <a:gd name="connsiteY143" fmla="*/ 700088 h 2195851"/>
                <a:gd name="connsiteX144" fmla="*/ 1695874 w 1719687"/>
                <a:gd name="connsiteY144" fmla="*/ 714375 h 2195851"/>
                <a:gd name="connsiteX145" fmla="*/ 1686349 w 1719687"/>
                <a:gd name="connsiteY145" fmla="*/ 742950 h 2195851"/>
                <a:gd name="connsiteX146" fmla="*/ 1657774 w 1719687"/>
                <a:gd name="connsiteY146" fmla="*/ 781050 h 2195851"/>
                <a:gd name="connsiteX147" fmla="*/ 1657774 w 1719687"/>
                <a:gd name="connsiteY147" fmla="*/ 847725 h 2195851"/>
                <a:gd name="connsiteX148" fmla="*/ 1676824 w 1719687"/>
                <a:gd name="connsiteY148" fmla="*/ 876300 h 2195851"/>
                <a:gd name="connsiteX149" fmla="*/ 1681587 w 1719687"/>
                <a:gd name="connsiteY149" fmla="*/ 890588 h 2195851"/>
                <a:gd name="connsiteX150" fmla="*/ 1681587 w 1719687"/>
                <a:gd name="connsiteY150" fmla="*/ 962025 h 2195851"/>
                <a:gd name="connsiteX151" fmla="*/ 1676824 w 1719687"/>
                <a:gd name="connsiteY151" fmla="*/ 981075 h 2195851"/>
                <a:gd name="connsiteX152" fmla="*/ 1662537 w 1719687"/>
                <a:gd name="connsiteY152" fmla="*/ 990600 h 2195851"/>
                <a:gd name="connsiteX153" fmla="*/ 1657774 w 1719687"/>
                <a:gd name="connsiteY153" fmla="*/ 1004888 h 2195851"/>
                <a:gd name="connsiteX154" fmla="*/ 1667299 w 1719687"/>
                <a:gd name="connsiteY154" fmla="*/ 1038225 h 2195851"/>
                <a:gd name="connsiteX155" fmla="*/ 1657774 w 1719687"/>
                <a:gd name="connsiteY155" fmla="*/ 1143000 h 2195851"/>
                <a:gd name="connsiteX156" fmla="*/ 1648249 w 1719687"/>
                <a:gd name="connsiteY156" fmla="*/ 1171575 h 2195851"/>
                <a:gd name="connsiteX157" fmla="*/ 1638724 w 1719687"/>
                <a:gd name="connsiteY157" fmla="*/ 1185863 h 2195851"/>
                <a:gd name="connsiteX158" fmla="*/ 1633962 w 1719687"/>
                <a:gd name="connsiteY158" fmla="*/ 1200150 h 2195851"/>
                <a:gd name="connsiteX159" fmla="*/ 1643487 w 1719687"/>
                <a:gd name="connsiteY159" fmla="*/ 1228725 h 2195851"/>
                <a:gd name="connsiteX160" fmla="*/ 1643487 w 1719687"/>
                <a:gd name="connsiteY160" fmla="*/ 1328738 h 2195851"/>
                <a:gd name="connsiteX161" fmla="*/ 1633962 w 1719687"/>
                <a:gd name="connsiteY161" fmla="*/ 1343025 h 2195851"/>
                <a:gd name="connsiteX162" fmla="*/ 1629199 w 1719687"/>
                <a:gd name="connsiteY162" fmla="*/ 1362075 h 2195851"/>
                <a:gd name="connsiteX163" fmla="*/ 1600624 w 1719687"/>
                <a:gd name="connsiteY163" fmla="*/ 1376363 h 2195851"/>
                <a:gd name="connsiteX164" fmla="*/ 1581574 w 1719687"/>
                <a:gd name="connsiteY164" fmla="*/ 1381125 h 2195851"/>
                <a:gd name="connsiteX165" fmla="*/ 1548237 w 1719687"/>
                <a:gd name="connsiteY165" fmla="*/ 1390650 h 2195851"/>
                <a:gd name="connsiteX166" fmla="*/ 1505374 w 1719687"/>
                <a:gd name="connsiteY166" fmla="*/ 1395413 h 2195851"/>
                <a:gd name="connsiteX167" fmla="*/ 1467274 w 1719687"/>
                <a:gd name="connsiteY167" fmla="*/ 1400175 h 2195851"/>
                <a:gd name="connsiteX168" fmla="*/ 1438699 w 1719687"/>
                <a:gd name="connsiteY168" fmla="*/ 1419225 h 2195851"/>
                <a:gd name="connsiteX169" fmla="*/ 1433937 w 1719687"/>
                <a:gd name="connsiteY169" fmla="*/ 1433513 h 2195851"/>
                <a:gd name="connsiteX170" fmla="*/ 1438699 w 1719687"/>
                <a:gd name="connsiteY170" fmla="*/ 1462088 h 2195851"/>
                <a:gd name="connsiteX171" fmla="*/ 1519662 w 1719687"/>
                <a:gd name="connsiteY171" fmla="*/ 1481138 h 2195851"/>
                <a:gd name="connsiteX172" fmla="*/ 1524424 w 1719687"/>
                <a:gd name="connsiteY172" fmla="*/ 1500188 h 2195851"/>
                <a:gd name="connsiteX173" fmla="*/ 1529187 w 1719687"/>
                <a:gd name="connsiteY173" fmla="*/ 1514475 h 2195851"/>
                <a:gd name="connsiteX174" fmla="*/ 1533949 w 1719687"/>
                <a:gd name="connsiteY174" fmla="*/ 1538288 h 2195851"/>
                <a:gd name="connsiteX175" fmla="*/ 1548237 w 1719687"/>
                <a:gd name="connsiteY175" fmla="*/ 1552575 h 2195851"/>
                <a:gd name="connsiteX176" fmla="*/ 1543474 w 1719687"/>
                <a:gd name="connsiteY176" fmla="*/ 1662113 h 2195851"/>
                <a:gd name="connsiteX177" fmla="*/ 1533949 w 1719687"/>
                <a:gd name="connsiteY177" fmla="*/ 1690688 h 2195851"/>
                <a:gd name="connsiteX178" fmla="*/ 1529187 w 1719687"/>
                <a:gd name="connsiteY178" fmla="*/ 1704975 h 2195851"/>
                <a:gd name="connsiteX179" fmla="*/ 1533949 w 1719687"/>
                <a:gd name="connsiteY179" fmla="*/ 1752600 h 2195851"/>
                <a:gd name="connsiteX180" fmla="*/ 1538712 w 1719687"/>
                <a:gd name="connsiteY180" fmla="*/ 1800225 h 2195851"/>
                <a:gd name="connsiteX181" fmla="*/ 1533949 w 1719687"/>
                <a:gd name="connsiteY181" fmla="*/ 1814513 h 2195851"/>
                <a:gd name="connsiteX182" fmla="*/ 1529187 w 1719687"/>
                <a:gd name="connsiteY182" fmla="*/ 1833563 h 2195851"/>
                <a:gd name="connsiteX183" fmla="*/ 1510137 w 1719687"/>
                <a:gd name="connsiteY183" fmla="*/ 1862138 h 2195851"/>
                <a:gd name="connsiteX184" fmla="*/ 1505374 w 1719687"/>
                <a:gd name="connsiteY184" fmla="*/ 1885950 h 2195851"/>
                <a:gd name="connsiteX185" fmla="*/ 1500612 w 1719687"/>
                <a:gd name="connsiteY185" fmla="*/ 1905000 h 2195851"/>
                <a:gd name="connsiteX186" fmla="*/ 1472037 w 1719687"/>
                <a:gd name="connsiteY186" fmla="*/ 1924050 h 2195851"/>
                <a:gd name="connsiteX187" fmla="*/ 1457749 w 1719687"/>
                <a:gd name="connsiteY187" fmla="*/ 1933575 h 2195851"/>
                <a:gd name="connsiteX188" fmla="*/ 1448224 w 1719687"/>
                <a:gd name="connsiteY188" fmla="*/ 1971675 h 2195851"/>
                <a:gd name="connsiteX189" fmla="*/ 1405362 w 1719687"/>
                <a:gd name="connsiteY189" fmla="*/ 1985963 h 2195851"/>
                <a:gd name="connsiteX190" fmla="*/ 1391074 w 1719687"/>
                <a:gd name="connsiteY190" fmla="*/ 1990725 h 2195851"/>
                <a:gd name="connsiteX191" fmla="*/ 1362499 w 1719687"/>
                <a:gd name="connsiteY191" fmla="*/ 1995488 h 2195851"/>
                <a:gd name="connsiteX192" fmla="*/ 1348212 w 1719687"/>
                <a:gd name="connsiteY192" fmla="*/ 2009775 h 2195851"/>
                <a:gd name="connsiteX193" fmla="*/ 1329162 w 1719687"/>
                <a:gd name="connsiteY193" fmla="*/ 2014538 h 2195851"/>
                <a:gd name="connsiteX194" fmla="*/ 1314874 w 1719687"/>
                <a:gd name="connsiteY194" fmla="*/ 2024063 h 2195851"/>
                <a:gd name="connsiteX195" fmla="*/ 1324399 w 1719687"/>
                <a:gd name="connsiteY195" fmla="*/ 2090738 h 2195851"/>
                <a:gd name="connsiteX196" fmla="*/ 1319637 w 1719687"/>
                <a:gd name="connsiteY196" fmla="*/ 2152650 h 2195851"/>
                <a:gd name="connsiteX197" fmla="*/ 1300587 w 1719687"/>
                <a:gd name="connsiteY197" fmla="*/ 2162175 h 2195851"/>
                <a:gd name="connsiteX198" fmla="*/ 1286299 w 1719687"/>
                <a:gd name="connsiteY198" fmla="*/ 2171700 h 2195851"/>
                <a:gd name="connsiteX199" fmla="*/ 1214862 w 1719687"/>
                <a:gd name="connsiteY199" fmla="*/ 2181225 h 2195851"/>
                <a:gd name="connsiteX200" fmla="*/ 1200574 w 1719687"/>
                <a:gd name="connsiteY200" fmla="*/ 2195513 h 2195851"/>
                <a:gd name="connsiteX201" fmla="*/ 1191049 w 1719687"/>
                <a:gd name="connsiteY201" fmla="*/ 2171700 h 2195851"/>
                <a:gd name="connsiteX202" fmla="*/ 1181524 w 1719687"/>
                <a:gd name="connsiteY202" fmla="*/ 2157413 h 2195851"/>
                <a:gd name="connsiteX203" fmla="*/ 1176762 w 1719687"/>
                <a:gd name="connsiteY203" fmla="*/ 2143125 h 2195851"/>
                <a:gd name="connsiteX204" fmla="*/ 1148187 w 1719687"/>
                <a:gd name="connsiteY204" fmla="*/ 2090738 h 2195851"/>
                <a:gd name="connsiteX205" fmla="*/ 1143424 w 1719687"/>
                <a:gd name="connsiteY205" fmla="*/ 2062163 h 2195851"/>
                <a:gd name="connsiteX206" fmla="*/ 1110087 w 1719687"/>
                <a:gd name="connsiteY206" fmla="*/ 2019300 h 2195851"/>
                <a:gd name="connsiteX207" fmla="*/ 1091037 w 1719687"/>
                <a:gd name="connsiteY207" fmla="*/ 2005013 h 2195851"/>
                <a:gd name="connsiteX208" fmla="*/ 1052937 w 1719687"/>
                <a:gd name="connsiteY208" fmla="*/ 1985963 h 2195851"/>
                <a:gd name="connsiteX209" fmla="*/ 1043412 w 1719687"/>
                <a:gd name="connsiteY209" fmla="*/ 1957388 h 2195851"/>
                <a:gd name="connsiteX210" fmla="*/ 1033887 w 1719687"/>
                <a:gd name="connsiteY210" fmla="*/ 1938338 h 2195851"/>
                <a:gd name="connsiteX211" fmla="*/ 1019599 w 1719687"/>
                <a:gd name="connsiteY211" fmla="*/ 1905000 h 2195851"/>
                <a:gd name="connsiteX212" fmla="*/ 991024 w 1719687"/>
                <a:gd name="connsiteY212" fmla="*/ 1885950 h 2195851"/>
                <a:gd name="connsiteX213" fmla="*/ 976737 w 1719687"/>
                <a:gd name="connsiteY213" fmla="*/ 1866900 h 2195851"/>
                <a:gd name="connsiteX214" fmla="*/ 962449 w 1719687"/>
                <a:gd name="connsiteY214" fmla="*/ 1852613 h 2195851"/>
                <a:gd name="connsiteX215" fmla="*/ 943399 w 1719687"/>
                <a:gd name="connsiteY215" fmla="*/ 1824038 h 2195851"/>
                <a:gd name="connsiteX216" fmla="*/ 933874 w 1719687"/>
                <a:gd name="connsiteY216" fmla="*/ 1809750 h 2195851"/>
                <a:gd name="connsiteX217" fmla="*/ 924349 w 1719687"/>
                <a:gd name="connsiteY217" fmla="*/ 1790700 h 2195851"/>
                <a:gd name="connsiteX218" fmla="*/ 895774 w 1719687"/>
                <a:gd name="connsiteY218" fmla="*/ 1762125 h 2195851"/>
                <a:gd name="connsiteX219" fmla="*/ 891012 w 1719687"/>
                <a:gd name="connsiteY219" fmla="*/ 1747838 h 2195851"/>
                <a:gd name="connsiteX220" fmla="*/ 881487 w 1719687"/>
                <a:gd name="connsiteY220" fmla="*/ 1733550 h 2195851"/>
                <a:gd name="connsiteX221" fmla="*/ 867199 w 1719687"/>
                <a:gd name="connsiteY221" fmla="*/ 1695450 h 2195851"/>
                <a:gd name="connsiteX222" fmla="*/ 857674 w 1719687"/>
                <a:gd name="connsiteY222" fmla="*/ 1662113 h 2195851"/>
                <a:gd name="connsiteX223" fmla="*/ 852912 w 1719687"/>
                <a:gd name="connsiteY223" fmla="*/ 1647825 h 2195851"/>
                <a:gd name="connsiteX224" fmla="*/ 829099 w 1719687"/>
                <a:gd name="connsiteY224" fmla="*/ 1633538 h 2195851"/>
                <a:gd name="connsiteX225" fmla="*/ 814812 w 1719687"/>
                <a:gd name="connsiteY225" fmla="*/ 1619250 h 2195851"/>
                <a:gd name="connsiteX226" fmla="*/ 776712 w 1719687"/>
                <a:gd name="connsiteY226" fmla="*/ 1595438 h 2195851"/>
                <a:gd name="connsiteX227" fmla="*/ 790999 w 1719687"/>
                <a:gd name="connsiteY227" fmla="*/ 1709738 h 2195851"/>
                <a:gd name="connsiteX228" fmla="*/ 786237 w 1719687"/>
                <a:gd name="connsiteY228" fmla="*/ 1752600 h 2195851"/>
                <a:gd name="connsiteX229" fmla="*/ 781474 w 1719687"/>
                <a:gd name="connsiteY229" fmla="*/ 1771650 h 2195851"/>
                <a:gd name="connsiteX230" fmla="*/ 767187 w 1719687"/>
                <a:gd name="connsiteY230" fmla="*/ 1785938 h 2195851"/>
                <a:gd name="connsiteX231" fmla="*/ 752899 w 1719687"/>
                <a:gd name="connsiteY231" fmla="*/ 1881188 h 2195851"/>
                <a:gd name="connsiteX232" fmla="*/ 748137 w 1719687"/>
                <a:gd name="connsiteY232" fmla="*/ 1895475 h 2195851"/>
                <a:gd name="connsiteX233" fmla="*/ 729087 w 1719687"/>
                <a:gd name="connsiteY233" fmla="*/ 1900238 h 2195851"/>
                <a:gd name="connsiteX234" fmla="*/ 690987 w 1719687"/>
                <a:gd name="connsiteY234" fmla="*/ 1895475 h 2195851"/>
                <a:gd name="connsiteX235" fmla="*/ 686224 w 1719687"/>
                <a:gd name="connsiteY235" fmla="*/ 1838325 h 2195851"/>
                <a:gd name="connsiteX236" fmla="*/ 676699 w 1719687"/>
                <a:gd name="connsiteY236" fmla="*/ 1804988 h 2195851"/>
                <a:gd name="connsiteX237" fmla="*/ 681462 w 1719687"/>
                <a:gd name="connsiteY237" fmla="*/ 1790700 h 2195851"/>
                <a:gd name="connsiteX238" fmla="*/ 714799 w 1719687"/>
                <a:gd name="connsiteY238" fmla="*/ 1762125 h 2195851"/>
                <a:gd name="connsiteX239" fmla="*/ 719562 w 1719687"/>
                <a:gd name="connsiteY239" fmla="*/ 1714500 h 2195851"/>
                <a:gd name="connsiteX240" fmla="*/ 724324 w 1719687"/>
                <a:gd name="connsiteY240" fmla="*/ 1685925 h 2195851"/>
                <a:gd name="connsiteX241" fmla="*/ 700512 w 1719687"/>
                <a:gd name="connsiteY241" fmla="*/ 1666875 h 2195851"/>
                <a:gd name="connsiteX242" fmla="*/ 643362 w 1719687"/>
                <a:gd name="connsiteY242" fmla="*/ 1619250 h 2195851"/>
                <a:gd name="connsiteX243" fmla="*/ 629074 w 1719687"/>
                <a:gd name="connsiteY243" fmla="*/ 1604963 h 2195851"/>
                <a:gd name="connsiteX244" fmla="*/ 619549 w 1719687"/>
                <a:gd name="connsiteY244" fmla="*/ 1590675 h 2195851"/>
                <a:gd name="connsiteX245" fmla="*/ 605262 w 1719687"/>
                <a:gd name="connsiteY245" fmla="*/ 1585913 h 2195851"/>
                <a:gd name="connsiteX246" fmla="*/ 595737 w 1719687"/>
                <a:gd name="connsiteY246" fmla="*/ 1571625 h 2195851"/>
                <a:gd name="connsiteX247" fmla="*/ 571924 w 1719687"/>
                <a:gd name="connsiteY247" fmla="*/ 1552575 h 2195851"/>
                <a:gd name="connsiteX248" fmla="*/ 600499 w 1719687"/>
                <a:gd name="connsiteY248" fmla="*/ 1528763 h 2195851"/>
                <a:gd name="connsiteX249" fmla="*/ 629074 w 1719687"/>
                <a:gd name="connsiteY249" fmla="*/ 1514475 h 2195851"/>
                <a:gd name="connsiteX250" fmla="*/ 633837 w 1719687"/>
                <a:gd name="connsiteY250" fmla="*/ 1500188 h 2195851"/>
                <a:gd name="connsiteX251" fmla="*/ 624312 w 1719687"/>
                <a:gd name="connsiteY251" fmla="*/ 1462088 h 2195851"/>
                <a:gd name="connsiteX252" fmla="*/ 633837 w 1719687"/>
                <a:gd name="connsiteY252" fmla="*/ 1447800 h 2195851"/>
                <a:gd name="connsiteX253" fmla="*/ 638599 w 1719687"/>
                <a:gd name="connsiteY253" fmla="*/ 1433513 h 2195851"/>
                <a:gd name="connsiteX254" fmla="*/ 657649 w 1719687"/>
                <a:gd name="connsiteY254" fmla="*/ 1404938 h 2195851"/>
                <a:gd name="connsiteX255" fmla="*/ 667174 w 1719687"/>
                <a:gd name="connsiteY255" fmla="*/ 1390650 h 2195851"/>
                <a:gd name="connsiteX256" fmla="*/ 657649 w 1719687"/>
                <a:gd name="connsiteY256" fmla="*/ 1352550 h 2195851"/>
                <a:gd name="connsiteX257" fmla="*/ 643362 w 1719687"/>
                <a:gd name="connsiteY257" fmla="*/ 1338263 h 2195851"/>
                <a:gd name="connsiteX258" fmla="*/ 657649 w 1719687"/>
                <a:gd name="connsiteY258" fmla="*/ 1319213 h 2195851"/>
                <a:gd name="connsiteX259" fmla="*/ 662412 w 1719687"/>
                <a:gd name="connsiteY259" fmla="*/ 1257300 h 2195851"/>
                <a:gd name="connsiteX260" fmla="*/ 648124 w 1719687"/>
                <a:gd name="connsiteY260" fmla="*/ 1247775 h 2195851"/>
                <a:gd name="connsiteX261" fmla="*/ 643362 w 1719687"/>
                <a:gd name="connsiteY261" fmla="*/ 1233488 h 2195851"/>
                <a:gd name="connsiteX262" fmla="*/ 633837 w 1719687"/>
                <a:gd name="connsiteY262" fmla="*/ 1200150 h 2195851"/>
                <a:gd name="connsiteX263" fmla="*/ 633837 w 1719687"/>
                <a:gd name="connsiteY263" fmla="*/ 1109663 h 2195851"/>
                <a:gd name="connsiteX264" fmla="*/ 624312 w 1719687"/>
                <a:gd name="connsiteY264" fmla="*/ 1095375 h 2195851"/>
                <a:gd name="connsiteX265" fmla="*/ 605262 w 1719687"/>
                <a:gd name="connsiteY265" fmla="*/ 1090613 h 2195851"/>
                <a:gd name="connsiteX266" fmla="*/ 581449 w 1719687"/>
                <a:gd name="connsiteY266" fmla="*/ 1066800 h 2195851"/>
                <a:gd name="connsiteX267" fmla="*/ 567162 w 1719687"/>
                <a:gd name="connsiteY267" fmla="*/ 1052513 h 2195851"/>
                <a:gd name="connsiteX268" fmla="*/ 548112 w 1719687"/>
                <a:gd name="connsiteY268" fmla="*/ 1062038 h 2195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</a:cxnLst>
              <a:rect l="l" t="t" r="r" b="b"/>
              <a:pathLst>
                <a:path w="1719687" h="2195851">
                  <a:moveTo>
                    <a:pt x="548112" y="1062038"/>
                  </a:moveTo>
                  <a:cubicBezTo>
                    <a:pt x="543350" y="1058863"/>
                    <a:pt x="538587" y="1043503"/>
                    <a:pt x="538587" y="1033463"/>
                  </a:cubicBezTo>
                  <a:cubicBezTo>
                    <a:pt x="538587" y="1023423"/>
                    <a:pt x="545677" y="1014629"/>
                    <a:pt x="548112" y="1004888"/>
                  </a:cubicBezTo>
                  <a:lnTo>
                    <a:pt x="552874" y="985838"/>
                  </a:lnTo>
                  <a:cubicBezTo>
                    <a:pt x="548112" y="982663"/>
                    <a:pt x="544140" y="977701"/>
                    <a:pt x="538587" y="976313"/>
                  </a:cubicBezTo>
                  <a:cubicBezTo>
                    <a:pt x="524641" y="972826"/>
                    <a:pt x="509904" y="973913"/>
                    <a:pt x="495724" y="971550"/>
                  </a:cubicBezTo>
                  <a:cubicBezTo>
                    <a:pt x="490772" y="970725"/>
                    <a:pt x="486199" y="968375"/>
                    <a:pt x="481437" y="966788"/>
                  </a:cubicBezTo>
                  <a:cubicBezTo>
                    <a:pt x="476674" y="963613"/>
                    <a:pt x="471546" y="960927"/>
                    <a:pt x="467149" y="957263"/>
                  </a:cubicBezTo>
                  <a:cubicBezTo>
                    <a:pt x="430479" y="926704"/>
                    <a:pt x="474049" y="957099"/>
                    <a:pt x="438574" y="933450"/>
                  </a:cubicBezTo>
                  <a:cubicBezTo>
                    <a:pt x="433812" y="936625"/>
                    <a:pt x="428565" y="939172"/>
                    <a:pt x="424287" y="942975"/>
                  </a:cubicBezTo>
                  <a:lnTo>
                    <a:pt x="381424" y="985838"/>
                  </a:lnTo>
                  <a:cubicBezTo>
                    <a:pt x="376404" y="990858"/>
                    <a:pt x="368151" y="991237"/>
                    <a:pt x="362374" y="995363"/>
                  </a:cubicBezTo>
                  <a:cubicBezTo>
                    <a:pt x="345185" y="1007641"/>
                    <a:pt x="350849" y="1009194"/>
                    <a:pt x="338562" y="1023938"/>
                  </a:cubicBezTo>
                  <a:cubicBezTo>
                    <a:pt x="334250" y="1029112"/>
                    <a:pt x="328586" y="1033051"/>
                    <a:pt x="324274" y="1038225"/>
                  </a:cubicBezTo>
                  <a:cubicBezTo>
                    <a:pt x="320610" y="1042622"/>
                    <a:pt x="318413" y="1048116"/>
                    <a:pt x="314749" y="1052513"/>
                  </a:cubicBezTo>
                  <a:cubicBezTo>
                    <a:pt x="284191" y="1089183"/>
                    <a:pt x="314586" y="1045613"/>
                    <a:pt x="290937" y="1081088"/>
                  </a:cubicBezTo>
                  <a:cubicBezTo>
                    <a:pt x="278336" y="1131486"/>
                    <a:pt x="295445" y="1072135"/>
                    <a:pt x="276649" y="1114425"/>
                  </a:cubicBezTo>
                  <a:cubicBezTo>
                    <a:pt x="272571" y="1123600"/>
                    <a:pt x="270299" y="1133475"/>
                    <a:pt x="267124" y="1143000"/>
                  </a:cubicBezTo>
                  <a:cubicBezTo>
                    <a:pt x="263873" y="1152753"/>
                    <a:pt x="261361" y="1164472"/>
                    <a:pt x="252837" y="1171575"/>
                  </a:cubicBezTo>
                  <a:cubicBezTo>
                    <a:pt x="247383" y="1176120"/>
                    <a:pt x="240137" y="1177925"/>
                    <a:pt x="233787" y="1181100"/>
                  </a:cubicBezTo>
                  <a:cubicBezTo>
                    <a:pt x="212803" y="1178103"/>
                    <a:pt x="200601" y="1181252"/>
                    <a:pt x="186162" y="1166813"/>
                  </a:cubicBezTo>
                  <a:cubicBezTo>
                    <a:pt x="182115" y="1162765"/>
                    <a:pt x="179812" y="1157288"/>
                    <a:pt x="176637" y="1152525"/>
                  </a:cubicBezTo>
                  <a:cubicBezTo>
                    <a:pt x="178224" y="1147763"/>
                    <a:pt x="178614" y="1142415"/>
                    <a:pt x="181399" y="1138238"/>
                  </a:cubicBezTo>
                  <a:cubicBezTo>
                    <a:pt x="194911" y="1117971"/>
                    <a:pt x="207474" y="1126896"/>
                    <a:pt x="176637" y="1119188"/>
                  </a:cubicBezTo>
                  <a:cubicBezTo>
                    <a:pt x="143885" y="1097353"/>
                    <a:pt x="158922" y="1096518"/>
                    <a:pt x="133774" y="1104900"/>
                  </a:cubicBezTo>
                  <a:cubicBezTo>
                    <a:pt x="112791" y="1101903"/>
                    <a:pt x="100588" y="1105052"/>
                    <a:pt x="86149" y="1090613"/>
                  </a:cubicBezTo>
                  <a:cubicBezTo>
                    <a:pt x="82102" y="1086566"/>
                    <a:pt x="79799" y="1081088"/>
                    <a:pt x="76624" y="1076325"/>
                  </a:cubicBezTo>
                  <a:cubicBezTo>
                    <a:pt x="75037" y="1069975"/>
                    <a:pt x="74160" y="1063404"/>
                    <a:pt x="71862" y="1057275"/>
                  </a:cubicBezTo>
                  <a:cubicBezTo>
                    <a:pt x="69369" y="1050627"/>
                    <a:pt x="62780" y="1045311"/>
                    <a:pt x="62337" y="1038225"/>
                  </a:cubicBezTo>
                  <a:cubicBezTo>
                    <a:pt x="60525" y="1009235"/>
                    <a:pt x="66418" y="984480"/>
                    <a:pt x="71862" y="957263"/>
                  </a:cubicBezTo>
                  <a:cubicBezTo>
                    <a:pt x="70274" y="928688"/>
                    <a:pt x="72454" y="899652"/>
                    <a:pt x="67099" y="871538"/>
                  </a:cubicBezTo>
                  <a:cubicBezTo>
                    <a:pt x="65839" y="864922"/>
                    <a:pt x="57986" y="861562"/>
                    <a:pt x="52812" y="857250"/>
                  </a:cubicBezTo>
                  <a:cubicBezTo>
                    <a:pt x="35431" y="842766"/>
                    <a:pt x="39617" y="853212"/>
                    <a:pt x="24237" y="833438"/>
                  </a:cubicBezTo>
                  <a:cubicBezTo>
                    <a:pt x="17209" y="824402"/>
                    <a:pt x="5187" y="804863"/>
                    <a:pt x="5187" y="804863"/>
                  </a:cubicBezTo>
                  <a:cubicBezTo>
                    <a:pt x="3599" y="798513"/>
                    <a:pt x="424" y="792358"/>
                    <a:pt x="424" y="785813"/>
                  </a:cubicBezTo>
                  <a:cubicBezTo>
                    <a:pt x="424" y="749413"/>
                    <a:pt x="-3848" y="736647"/>
                    <a:pt x="14712" y="714375"/>
                  </a:cubicBezTo>
                  <a:cubicBezTo>
                    <a:pt x="19024" y="709201"/>
                    <a:pt x="24864" y="705404"/>
                    <a:pt x="28999" y="700088"/>
                  </a:cubicBezTo>
                  <a:cubicBezTo>
                    <a:pt x="36027" y="691052"/>
                    <a:pt x="48049" y="671513"/>
                    <a:pt x="48049" y="671513"/>
                  </a:cubicBezTo>
                  <a:cubicBezTo>
                    <a:pt x="49637" y="665163"/>
                    <a:pt x="50514" y="658592"/>
                    <a:pt x="52812" y="652463"/>
                  </a:cubicBezTo>
                  <a:cubicBezTo>
                    <a:pt x="55305" y="645816"/>
                    <a:pt x="60092" y="640148"/>
                    <a:pt x="62337" y="633413"/>
                  </a:cubicBezTo>
                  <a:cubicBezTo>
                    <a:pt x="64897" y="625734"/>
                    <a:pt x="65512" y="617538"/>
                    <a:pt x="67099" y="609600"/>
                  </a:cubicBezTo>
                  <a:cubicBezTo>
                    <a:pt x="68687" y="582613"/>
                    <a:pt x="66119" y="555055"/>
                    <a:pt x="71862" y="528638"/>
                  </a:cubicBezTo>
                  <a:cubicBezTo>
                    <a:pt x="74294" y="517452"/>
                    <a:pt x="90912" y="500063"/>
                    <a:pt x="90912" y="500063"/>
                  </a:cubicBezTo>
                  <a:cubicBezTo>
                    <a:pt x="92499" y="469900"/>
                    <a:pt x="93900" y="439727"/>
                    <a:pt x="95674" y="409575"/>
                  </a:cubicBezTo>
                  <a:cubicBezTo>
                    <a:pt x="100154" y="333423"/>
                    <a:pt x="87359" y="357756"/>
                    <a:pt x="109962" y="323850"/>
                  </a:cubicBezTo>
                  <a:cubicBezTo>
                    <a:pt x="111549" y="319088"/>
                    <a:pt x="115179" y="314562"/>
                    <a:pt x="114724" y="309563"/>
                  </a:cubicBezTo>
                  <a:cubicBezTo>
                    <a:pt x="113539" y="296526"/>
                    <a:pt x="108374" y="284163"/>
                    <a:pt x="105199" y="271463"/>
                  </a:cubicBezTo>
                  <a:cubicBezTo>
                    <a:pt x="103612" y="265113"/>
                    <a:pt x="101363" y="258893"/>
                    <a:pt x="100437" y="252413"/>
                  </a:cubicBezTo>
                  <a:cubicBezTo>
                    <a:pt x="98849" y="241300"/>
                    <a:pt x="99510" y="229625"/>
                    <a:pt x="95674" y="219075"/>
                  </a:cubicBezTo>
                  <a:cubicBezTo>
                    <a:pt x="92961" y="211615"/>
                    <a:pt x="86149" y="206375"/>
                    <a:pt x="81387" y="200025"/>
                  </a:cubicBezTo>
                  <a:lnTo>
                    <a:pt x="90912" y="161925"/>
                  </a:lnTo>
                  <a:cubicBezTo>
                    <a:pt x="92500" y="155575"/>
                    <a:pt x="87569" y="149265"/>
                    <a:pt x="86149" y="142875"/>
                  </a:cubicBezTo>
                  <a:cubicBezTo>
                    <a:pt x="84393" y="134973"/>
                    <a:pt x="82974" y="127000"/>
                    <a:pt x="81387" y="119063"/>
                  </a:cubicBezTo>
                  <a:cubicBezTo>
                    <a:pt x="82974" y="98425"/>
                    <a:pt x="79604" y="76786"/>
                    <a:pt x="86149" y="57150"/>
                  </a:cubicBezTo>
                  <a:cubicBezTo>
                    <a:pt x="88394" y="50415"/>
                    <a:pt x="98607" y="50262"/>
                    <a:pt x="105199" y="47625"/>
                  </a:cubicBezTo>
                  <a:cubicBezTo>
                    <a:pt x="132154" y="36843"/>
                    <a:pt x="134239" y="38023"/>
                    <a:pt x="162349" y="33338"/>
                  </a:cubicBezTo>
                  <a:lnTo>
                    <a:pt x="205212" y="4763"/>
                  </a:lnTo>
                  <a:cubicBezTo>
                    <a:pt x="209389" y="1978"/>
                    <a:pt x="214737" y="1588"/>
                    <a:pt x="219499" y="0"/>
                  </a:cubicBezTo>
                  <a:cubicBezTo>
                    <a:pt x="224262" y="1588"/>
                    <a:pt x="230651" y="843"/>
                    <a:pt x="233787" y="4763"/>
                  </a:cubicBezTo>
                  <a:cubicBezTo>
                    <a:pt x="237876" y="9874"/>
                    <a:pt x="237378" y="17373"/>
                    <a:pt x="238549" y="23813"/>
                  </a:cubicBezTo>
                  <a:cubicBezTo>
                    <a:pt x="240557" y="34857"/>
                    <a:pt x="236420" y="48289"/>
                    <a:pt x="243312" y="57150"/>
                  </a:cubicBezTo>
                  <a:cubicBezTo>
                    <a:pt x="249476" y="65075"/>
                    <a:pt x="271887" y="66675"/>
                    <a:pt x="271887" y="66675"/>
                  </a:cubicBezTo>
                  <a:lnTo>
                    <a:pt x="290937" y="95250"/>
                  </a:lnTo>
                  <a:lnTo>
                    <a:pt x="300462" y="109538"/>
                  </a:lnTo>
                  <a:cubicBezTo>
                    <a:pt x="302049" y="119063"/>
                    <a:pt x="300906" y="129476"/>
                    <a:pt x="305224" y="138113"/>
                  </a:cubicBezTo>
                  <a:cubicBezTo>
                    <a:pt x="307784" y="143233"/>
                    <a:pt x="313886" y="146583"/>
                    <a:pt x="319512" y="147638"/>
                  </a:cubicBezTo>
                  <a:cubicBezTo>
                    <a:pt x="339856" y="151452"/>
                    <a:pt x="360787" y="150813"/>
                    <a:pt x="381424" y="152400"/>
                  </a:cubicBezTo>
                  <a:cubicBezTo>
                    <a:pt x="383012" y="157163"/>
                    <a:pt x="385058" y="161796"/>
                    <a:pt x="386187" y="166688"/>
                  </a:cubicBezTo>
                  <a:cubicBezTo>
                    <a:pt x="401953" y="235007"/>
                    <a:pt x="388963" y="194064"/>
                    <a:pt x="400474" y="228600"/>
                  </a:cubicBezTo>
                  <a:cubicBezTo>
                    <a:pt x="485363" y="220884"/>
                    <a:pt x="447772" y="241727"/>
                    <a:pt x="457624" y="133350"/>
                  </a:cubicBezTo>
                  <a:cubicBezTo>
                    <a:pt x="458078" y="128351"/>
                    <a:pt x="458302" y="121981"/>
                    <a:pt x="462387" y="119063"/>
                  </a:cubicBezTo>
                  <a:cubicBezTo>
                    <a:pt x="470557" y="113227"/>
                    <a:pt x="490962" y="109538"/>
                    <a:pt x="490962" y="109538"/>
                  </a:cubicBezTo>
                  <a:cubicBezTo>
                    <a:pt x="495724" y="114300"/>
                    <a:pt x="500937" y="118651"/>
                    <a:pt x="505249" y="123825"/>
                  </a:cubicBezTo>
                  <a:cubicBezTo>
                    <a:pt x="524116" y="146466"/>
                    <a:pt x="513972" y="146137"/>
                    <a:pt x="510012" y="185738"/>
                  </a:cubicBezTo>
                  <a:cubicBezTo>
                    <a:pt x="512026" y="201854"/>
                    <a:pt x="509221" y="225560"/>
                    <a:pt x="524299" y="238125"/>
                  </a:cubicBezTo>
                  <a:cubicBezTo>
                    <a:pt x="529753" y="242670"/>
                    <a:pt x="536999" y="244475"/>
                    <a:pt x="543349" y="247650"/>
                  </a:cubicBezTo>
                  <a:cubicBezTo>
                    <a:pt x="549146" y="230262"/>
                    <a:pt x="549589" y="230902"/>
                    <a:pt x="552874" y="209550"/>
                  </a:cubicBezTo>
                  <a:cubicBezTo>
                    <a:pt x="554820" y="196900"/>
                    <a:pt x="552884" y="183333"/>
                    <a:pt x="557637" y="171450"/>
                  </a:cubicBezTo>
                  <a:cubicBezTo>
                    <a:pt x="559763" y="166136"/>
                    <a:pt x="567162" y="165100"/>
                    <a:pt x="571924" y="161925"/>
                  </a:cubicBezTo>
                  <a:cubicBezTo>
                    <a:pt x="597324" y="163513"/>
                    <a:pt x="623351" y="160859"/>
                    <a:pt x="648124" y="166688"/>
                  </a:cubicBezTo>
                  <a:cubicBezTo>
                    <a:pt x="653011" y="167838"/>
                    <a:pt x="652887" y="175955"/>
                    <a:pt x="652887" y="180975"/>
                  </a:cubicBezTo>
                  <a:cubicBezTo>
                    <a:pt x="652887" y="182560"/>
                    <a:pt x="645607" y="210946"/>
                    <a:pt x="643362" y="214313"/>
                  </a:cubicBezTo>
                  <a:cubicBezTo>
                    <a:pt x="639626" y="219917"/>
                    <a:pt x="633837" y="223838"/>
                    <a:pt x="629074" y="228600"/>
                  </a:cubicBezTo>
                  <a:cubicBezTo>
                    <a:pt x="630662" y="241300"/>
                    <a:pt x="627621" y="255512"/>
                    <a:pt x="633837" y="266700"/>
                  </a:cubicBezTo>
                  <a:cubicBezTo>
                    <a:pt x="637016" y="272422"/>
                    <a:pt x="646871" y="268885"/>
                    <a:pt x="652887" y="271463"/>
                  </a:cubicBezTo>
                  <a:cubicBezTo>
                    <a:pt x="658148" y="273718"/>
                    <a:pt x="662412" y="277813"/>
                    <a:pt x="667174" y="280988"/>
                  </a:cubicBezTo>
                  <a:cubicBezTo>
                    <a:pt x="670349" y="287338"/>
                    <a:pt x="670611" y="296385"/>
                    <a:pt x="676699" y="300038"/>
                  </a:cubicBezTo>
                  <a:cubicBezTo>
                    <a:pt x="685314" y="305207"/>
                    <a:pt x="703619" y="282643"/>
                    <a:pt x="705274" y="280988"/>
                  </a:cubicBezTo>
                  <a:cubicBezTo>
                    <a:pt x="706862" y="276225"/>
                    <a:pt x="707599" y="271089"/>
                    <a:pt x="710037" y="266700"/>
                  </a:cubicBezTo>
                  <a:cubicBezTo>
                    <a:pt x="715596" y="256693"/>
                    <a:pt x="729087" y="238125"/>
                    <a:pt x="729087" y="238125"/>
                  </a:cubicBezTo>
                  <a:cubicBezTo>
                    <a:pt x="737817" y="211932"/>
                    <a:pt x="728603" y="235399"/>
                    <a:pt x="743374" y="209550"/>
                  </a:cubicBezTo>
                  <a:cubicBezTo>
                    <a:pt x="746896" y="203386"/>
                    <a:pt x="747445" y="195045"/>
                    <a:pt x="752899" y="190500"/>
                  </a:cubicBezTo>
                  <a:cubicBezTo>
                    <a:pt x="757927" y="186310"/>
                    <a:pt x="765599" y="187325"/>
                    <a:pt x="771949" y="185738"/>
                  </a:cubicBezTo>
                  <a:lnTo>
                    <a:pt x="810049" y="190500"/>
                  </a:lnTo>
                  <a:cubicBezTo>
                    <a:pt x="819779" y="199257"/>
                    <a:pt x="819574" y="228600"/>
                    <a:pt x="819574" y="228600"/>
                  </a:cubicBezTo>
                  <a:cubicBezTo>
                    <a:pt x="821162" y="246063"/>
                    <a:pt x="819520" y="264128"/>
                    <a:pt x="824337" y="280988"/>
                  </a:cubicBezTo>
                  <a:cubicBezTo>
                    <a:pt x="826187" y="287464"/>
                    <a:pt x="831948" y="294385"/>
                    <a:pt x="838624" y="295275"/>
                  </a:cubicBezTo>
                  <a:cubicBezTo>
                    <a:pt x="857572" y="297801"/>
                    <a:pt x="876724" y="292100"/>
                    <a:pt x="895774" y="290513"/>
                  </a:cubicBezTo>
                  <a:cubicBezTo>
                    <a:pt x="902124" y="293688"/>
                    <a:pt x="909370" y="295493"/>
                    <a:pt x="914824" y="300038"/>
                  </a:cubicBezTo>
                  <a:cubicBezTo>
                    <a:pt x="919221" y="303702"/>
                    <a:pt x="920624" y="309979"/>
                    <a:pt x="924349" y="314325"/>
                  </a:cubicBezTo>
                  <a:cubicBezTo>
                    <a:pt x="942402" y="335387"/>
                    <a:pt x="940124" y="331737"/>
                    <a:pt x="962449" y="342900"/>
                  </a:cubicBezTo>
                  <a:cubicBezTo>
                    <a:pt x="973562" y="341313"/>
                    <a:pt x="985364" y="342307"/>
                    <a:pt x="995787" y="338138"/>
                  </a:cubicBezTo>
                  <a:cubicBezTo>
                    <a:pt x="1002040" y="335637"/>
                    <a:pt x="1004758" y="327985"/>
                    <a:pt x="1010074" y="323850"/>
                  </a:cubicBezTo>
                  <a:cubicBezTo>
                    <a:pt x="1036932" y="302960"/>
                    <a:pt x="1031639" y="306552"/>
                    <a:pt x="1057699" y="300038"/>
                  </a:cubicBezTo>
                  <a:cubicBezTo>
                    <a:pt x="1079218" y="332315"/>
                    <a:pt x="1055570" y="292230"/>
                    <a:pt x="1071987" y="352425"/>
                  </a:cubicBezTo>
                  <a:cubicBezTo>
                    <a:pt x="1073493" y="357947"/>
                    <a:pt x="1076392" y="364153"/>
                    <a:pt x="1081512" y="366713"/>
                  </a:cubicBezTo>
                  <a:cubicBezTo>
                    <a:pt x="1090149" y="371031"/>
                    <a:pt x="1100618" y="369581"/>
                    <a:pt x="1110087" y="371475"/>
                  </a:cubicBezTo>
                  <a:cubicBezTo>
                    <a:pt x="1166232" y="382704"/>
                    <a:pt x="1077717" y="368893"/>
                    <a:pt x="1162474" y="381000"/>
                  </a:cubicBezTo>
                  <a:cubicBezTo>
                    <a:pt x="1164062" y="385763"/>
                    <a:pt x="1167237" y="390268"/>
                    <a:pt x="1167237" y="395288"/>
                  </a:cubicBezTo>
                  <a:cubicBezTo>
                    <a:pt x="1167237" y="410664"/>
                    <a:pt x="1160726" y="416960"/>
                    <a:pt x="1152949" y="428625"/>
                  </a:cubicBezTo>
                  <a:cubicBezTo>
                    <a:pt x="1154537" y="433388"/>
                    <a:pt x="1153792" y="439777"/>
                    <a:pt x="1157712" y="442913"/>
                  </a:cubicBezTo>
                  <a:cubicBezTo>
                    <a:pt x="1177603" y="458826"/>
                    <a:pt x="1189269" y="436659"/>
                    <a:pt x="1205337" y="428625"/>
                  </a:cubicBezTo>
                  <a:lnTo>
                    <a:pt x="1224387" y="419100"/>
                  </a:lnTo>
                  <a:cubicBezTo>
                    <a:pt x="1225974" y="423863"/>
                    <a:pt x="1229149" y="428368"/>
                    <a:pt x="1229149" y="433388"/>
                  </a:cubicBezTo>
                  <a:cubicBezTo>
                    <a:pt x="1229149" y="452262"/>
                    <a:pt x="1210626" y="464937"/>
                    <a:pt x="1229149" y="485775"/>
                  </a:cubicBezTo>
                  <a:cubicBezTo>
                    <a:pt x="1236827" y="494413"/>
                    <a:pt x="1251374" y="492125"/>
                    <a:pt x="1262487" y="495300"/>
                  </a:cubicBezTo>
                  <a:cubicBezTo>
                    <a:pt x="1264074" y="506413"/>
                    <a:pt x="1262229" y="518598"/>
                    <a:pt x="1267249" y="528638"/>
                  </a:cubicBezTo>
                  <a:cubicBezTo>
                    <a:pt x="1269494" y="533128"/>
                    <a:pt x="1276534" y="532983"/>
                    <a:pt x="1281537" y="533400"/>
                  </a:cubicBezTo>
                  <a:cubicBezTo>
                    <a:pt x="1314797" y="536172"/>
                    <a:pt x="1348212" y="536575"/>
                    <a:pt x="1381549" y="538163"/>
                  </a:cubicBezTo>
                  <a:cubicBezTo>
                    <a:pt x="1417460" y="550132"/>
                    <a:pt x="1374589" y="532594"/>
                    <a:pt x="1405362" y="557213"/>
                  </a:cubicBezTo>
                  <a:cubicBezTo>
                    <a:pt x="1408466" y="559696"/>
                    <a:pt x="1437458" y="566428"/>
                    <a:pt x="1438699" y="566738"/>
                  </a:cubicBezTo>
                  <a:cubicBezTo>
                    <a:pt x="1445049" y="565150"/>
                    <a:pt x="1452721" y="566165"/>
                    <a:pt x="1457749" y="561975"/>
                  </a:cubicBezTo>
                  <a:cubicBezTo>
                    <a:pt x="1463203" y="557430"/>
                    <a:pt x="1463752" y="549089"/>
                    <a:pt x="1467274" y="542925"/>
                  </a:cubicBezTo>
                  <a:cubicBezTo>
                    <a:pt x="1470114" y="537955"/>
                    <a:pt x="1473624" y="533400"/>
                    <a:pt x="1476799" y="528638"/>
                  </a:cubicBezTo>
                  <a:cubicBezTo>
                    <a:pt x="1478387" y="522288"/>
                    <a:pt x="1477931" y="515034"/>
                    <a:pt x="1481562" y="509588"/>
                  </a:cubicBezTo>
                  <a:cubicBezTo>
                    <a:pt x="1484928" y="504539"/>
                    <a:pt x="1511603" y="492186"/>
                    <a:pt x="1514899" y="490538"/>
                  </a:cubicBezTo>
                  <a:cubicBezTo>
                    <a:pt x="1526012" y="492125"/>
                    <a:pt x="1537979" y="490741"/>
                    <a:pt x="1548237" y="495300"/>
                  </a:cubicBezTo>
                  <a:cubicBezTo>
                    <a:pt x="1553468" y="497625"/>
                    <a:pt x="1553715" y="505540"/>
                    <a:pt x="1557762" y="509588"/>
                  </a:cubicBezTo>
                  <a:cubicBezTo>
                    <a:pt x="1561809" y="513635"/>
                    <a:pt x="1567287" y="515938"/>
                    <a:pt x="1572049" y="519113"/>
                  </a:cubicBezTo>
                  <a:cubicBezTo>
                    <a:pt x="1575224" y="525463"/>
                    <a:pt x="1578052" y="531999"/>
                    <a:pt x="1581574" y="538163"/>
                  </a:cubicBezTo>
                  <a:cubicBezTo>
                    <a:pt x="1584414" y="543133"/>
                    <a:pt x="1591099" y="546726"/>
                    <a:pt x="1591099" y="552450"/>
                  </a:cubicBezTo>
                  <a:cubicBezTo>
                    <a:pt x="1591099" y="562490"/>
                    <a:pt x="1584749" y="571500"/>
                    <a:pt x="1581574" y="581025"/>
                  </a:cubicBezTo>
                  <a:lnTo>
                    <a:pt x="1576812" y="595313"/>
                  </a:lnTo>
                  <a:lnTo>
                    <a:pt x="1572049" y="609600"/>
                  </a:lnTo>
                  <a:cubicBezTo>
                    <a:pt x="1578399" y="611188"/>
                    <a:pt x="1584709" y="612943"/>
                    <a:pt x="1591099" y="614363"/>
                  </a:cubicBezTo>
                  <a:cubicBezTo>
                    <a:pt x="1599001" y="616119"/>
                    <a:pt x="1607836" y="615194"/>
                    <a:pt x="1614912" y="619125"/>
                  </a:cubicBezTo>
                  <a:cubicBezTo>
                    <a:pt x="1640515" y="633348"/>
                    <a:pt x="1627384" y="636359"/>
                    <a:pt x="1643487" y="652463"/>
                  </a:cubicBezTo>
                  <a:cubicBezTo>
                    <a:pt x="1647534" y="656510"/>
                    <a:pt x="1653012" y="658813"/>
                    <a:pt x="1657774" y="661988"/>
                  </a:cubicBezTo>
                  <a:cubicBezTo>
                    <a:pt x="1659362" y="641350"/>
                    <a:pt x="1659970" y="620614"/>
                    <a:pt x="1662537" y="600075"/>
                  </a:cubicBezTo>
                  <a:cubicBezTo>
                    <a:pt x="1663160" y="595094"/>
                    <a:pt x="1662638" y="587652"/>
                    <a:pt x="1667299" y="585788"/>
                  </a:cubicBezTo>
                  <a:cubicBezTo>
                    <a:pt x="1673376" y="583357"/>
                    <a:pt x="1679999" y="588963"/>
                    <a:pt x="1686349" y="590550"/>
                  </a:cubicBezTo>
                  <a:lnTo>
                    <a:pt x="1714924" y="633413"/>
                  </a:lnTo>
                  <a:cubicBezTo>
                    <a:pt x="1717709" y="637590"/>
                    <a:pt x="1718099" y="642938"/>
                    <a:pt x="1719687" y="647700"/>
                  </a:cubicBezTo>
                  <a:cubicBezTo>
                    <a:pt x="1712955" y="681358"/>
                    <a:pt x="1717484" y="663834"/>
                    <a:pt x="1705399" y="700088"/>
                  </a:cubicBezTo>
                  <a:cubicBezTo>
                    <a:pt x="1703589" y="705518"/>
                    <a:pt x="1699049" y="709613"/>
                    <a:pt x="1695874" y="714375"/>
                  </a:cubicBezTo>
                  <a:lnTo>
                    <a:pt x="1686349" y="742950"/>
                  </a:lnTo>
                  <a:cubicBezTo>
                    <a:pt x="1681329" y="758010"/>
                    <a:pt x="1657774" y="781050"/>
                    <a:pt x="1657774" y="781050"/>
                  </a:cubicBezTo>
                  <a:cubicBezTo>
                    <a:pt x="1654965" y="803527"/>
                    <a:pt x="1648531" y="825542"/>
                    <a:pt x="1657774" y="847725"/>
                  </a:cubicBezTo>
                  <a:cubicBezTo>
                    <a:pt x="1662177" y="858292"/>
                    <a:pt x="1673204" y="865440"/>
                    <a:pt x="1676824" y="876300"/>
                  </a:cubicBezTo>
                  <a:lnTo>
                    <a:pt x="1681587" y="890588"/>
                  </a:lnTo>
                  <a:cubicBezTo>
                    <a:pt x="1687929" y="928643"/>
                    <a:pt x="1688581" y="916563"/>
                    <a:pt x="1681587" y="962025"/>
                  </a:cubicBezTo>
                  <a:cubicBezTo>
                    <a:pt x="1680592" y="968494"/>
                    <a:pt x="1680455" y="975629"/>
                    <a:pt x="1676824" y="981075"/>
                  </a:cubicBezTo>
                  <a:cubicBezTo>
                    <a:pt x="1673649" y="985837"/>
                    <a:pt x="1667299" y="987425"/>
                    <a:pt x="1662537" y="990600"/>
                  </a:cubicBezTo>
                  <a:cubicBezTo>
                    <a:pt x="1660949" y="995363"/>
                    <a:pt x="1657774" y="999868"/>
                    <a:pt x="1657774" y="1004888"/>
                  </a:cubicBezTo>
                  <a:cubicBezTo>
                    <a:pt x="1657774" y="1010865"/>
                    <a:pt x="1665054" y="1031489"/>
                    <a:pt x="1667299" y="1038225"/>
                  </a:cubicBezTo>
                  <a:cubicBezTo>
                    <a:pt x="1664499" y="1088633"/>
                    <a:pt x="1668947" y="1105758"/>
                    <a:pt x="1657774" y="1143000"/>
                  </a:cubicBezTo>
                  <a:cubicBezTo>
                    <a:pt x="1654889" y="1152617"/>
                    <a:pt x="1653818" y="1163221"/>
                    <a:pt x="1648249" y="1171575"/>
                  </a:cubicBezTo>
                  <a:lnTo>
                    <a:pt x="1638724" y="1185863"/>
                  </a:lnTo>
                  <a:cubicBezTo>
                    <a:pt x="1637137" y="1190625"/>
                    <a:pt x="1633408" y="1195161"/>
                    <a:pt x="1633962" y="1200150"/>
                  </a:cubicBezTo>
                  <a:cubicBezTo>
                    <a:pt x="1635071" y="1210129"/>
                    <a:pt x="1643487" y="1228725"/>
                    <a:pt x="1643487" y="1228725"/>
                  </a:cubicBezTo>
                  <a:cubicBezTo>
                    <a:pt x="1648774" y="1271024"/>
                    <a:pt x="1652533" y="1280489"/>
                    <a:pt x="1643487" y="1328738"/>
                  </a:cubicBezTo>
                  <a:cubicBezTo>
                    <a:pt x="1642432" y="1334364"/>
                    <a:pt x="1637137" y="1338263"/>
                    <a:pt x="1633962" y="1343025"/>
                  </a:cubicBezTo>
                  <a:cubicBezTo>
                    <a:pt x="1632374" y="1349375"/>
                    <a:pt x="1632830" y="1356629"/>
                    <a:pt x="1629199" y="1362075"/>
                  </a:cubicBezTo>
                  <a:cubicBezTo>
                    <a:pt x="1624288" y="1369441"/>
                    <a:pt x="1608454" y="1374126"/>
                    <a:pt x="1600624" y="1376363"/>
                  </a:cubicBezTo>
                  <a:cubicBezTo>
                    <a:pt x="1594330" y="1378161"/>
                    <a:pt x="1587868" y="1379327"/>
                    <a:pt x="1581574" y="1381125"/>
                  </a:cubicBezTo>
                  <a:cubicBezTo>
                    <a:pt x="1567043" y="1385277"/>
                    <a:pt x="1564379" y="1388167"/>
                    <a:pt x="1548237" y="1390650"/>
                  </a:cubicBezTo>
                  <a:cubicBezTo>
                    <a:pt x="1534029" y="1392836"/>
                    <a:pt x="1519651" y="1393733"/>
                    <a:pt x="1505374" y="1395413"/>
                  </a:cubicBezTo>
                  <a:lnTo>
                    <a:pt x="1467274" y="1400175"/>
                  </a:lnTo>
                  <a:cubicBezTo>
                    <a:pt x="1452297" y="1405168"/>
                    <a:pt x="1448891" y="1403938"/>
                    <a:pt x="1438699" y="1419225"/>
                  </a:cubicBezTo>
                  <a:cubicBezTo>
                    <a:pt x="1435914" y="1423402"/>
                    <a:pt x="1435524" y="1428750"/>
                    <a:pt x="1433937" y="1433513"/>
                  </a:cubicBezTo>
                  <a:cubicBezTo>
                    <a:pt x="1435524" y="1443038"/>
                    <a:pt x="1429852" y="1458218"/>
                    <a:pt x="1438699" y="1462088"/>
                  </a:cubicBezTo>
                  <a:cubicBezTo>
                    <a:pt x="1542773" y="1507620"/>
                    <a:pt x="1490441" y="1437305"/>
                    <a:pt x="1519662" y="1481138"/>
                  </a:cubicBezTo>
                  <a:cubicBezTo>
                    <a:pt x="1521249" y="1487488"/>
                    <a:pt x="1522626" y="1493894"/>
                    <a:pt x="1524424" y="1500188"/>
                  </a:cubicBezTo>
                  <a:cubicBezTo>
                    <a:pt x="1525803" y="1505015"/>
                    <a:pt x="1527969" y="1509605"/>
                    <a:pt x="1529187" y="1514475"/>
                  </a:cubicBezTo>
                  <a:cubicBezTo>
                    <a:pt x="1531150" y="1522328"/>
                    <a:pt x="1530329" y="1531048"/>
                    <a:pt x="1533949" y="1538288"/>
                  </a:cubicBezTo>
                  <a:cubicBezTo>
                    <a:pt x="1536961" y="1544312"/>
                    <a:pt x="1543474" y="1547813"/>
                    <a:pt x="1548237" y="1552575"/>
                  </a:cubicBezTo>
                  <a:cubicBezTo>
                    <a:pt x="1546649" y="1589088"/>
                    <a:pt x="1547235" y="1625760"/>
                    <a:pt x="1543474" y="1662113"/>
                  </a:cubicBezTo>
                  <a:cubicBezTo>
                    <a:pt x="1542441" y="1672100"/>
                    <a:pt x="1537124" y="1681163"/>
                    <a:pt x="1533949" y="1690688"/>
                  </a:cubicBezTo>
                  <a:lnTo>
                    <a:pt x="1529187" y="1704975"/>
                  </a:lnTo>
                  <a:cubicBezTo>
                    <a:pt x="1530774" y="1720850"/>
                    <a:pt x="1530362" y="1737054"/>
                    <a:pt x="1533949" y="1752600"/>
                  </a:cubicBezTo>
                  <a:cubicBezTo>
                    <a:pt x="1544310" y="1797498"/>
                    <a:pt x="1554855" y="1719509"/>
                    <a:pt x="1538712" y="1800225"/>
                  </a:cubicBezTo>
                  <a:cubicBezTo>
                    <a:pt x="1537727" y="1805148"/>
                    <a:pt x="1535328" y="1809686"/>
                    <a:pt x="1533949" y="1814513"/>
                  </a:cubicBezTo>
                  <a:cubicBezTo>
                    <a:pt x="1532151" y="1820807"/>
                    <a:pt x="1532114" y="1827709"/>
                    <a:pt x="1529187" y="1833563"/>
                  </a:cubicBezTo>
                  <a:cubicBezTo>
                    <a:pt x="1524068" y="1843802"/>
                    <a:pt x="1510137" y="1862138"/>
                    <a:pt x="1510137" y="1862138"/>
                  </a:cubicBezTo>
                  <a:cubicBezTo>
                    <a:pt x="1508549" y="1870075"/>
                    <a:pt x="1507130" y="1878048"/>
                    <a:pt x="1505374" y="1885950"/>
                  </a:cubicBezTo>
                  <a:cubicBezTo>
                    <a:pt x="1503954" y="1892340"/>
                    <a:pt x="1504922" y="1900074"/>
                    <a:pt x="1500612" y="1905000"/>
                  </a:cubicBezTo>
                  <a:cubicBezTo>
                    <a:pt x="1493074" y="1913615"/>
                    <a:pt x="1481562" y="1917700"/>
                    <a:pt x="1472037" y="1924050"/>
                  </a:cubicBezTo>
                  <a:lnTo>
                    <a:pt x="1457749" y="1933575"/>
                  </a:lnTo>
                  <a:cubicBezTo>
                    <a:pt x="1454574" y="1946275"/>
                    <a:pt x="1460379" y="1966813"/>
                    <a:pt x="1448224" y="1971675"/>
                  </a:cubicBezTo>
                  <a:cubicBezTo>
                    <a:pt x="1407185" y="1988091"/>
                    <a:pt x="1441242" y="1975712"/>
                    <a:pt x="1405362" y="1985963"/>
                  </a:cubicBezTo>
                  <a:cubicBezTo>
                    <a:pt x="1400535" y="1987342"/>
                    <a:pt x="1395975" y="1989636"/>
                    <a:pt x="1391074" y="1990725"/>
                  </a:cubicBezTo>
                  <a:cubicBezTo>
                    <a:pt x="1381648" y="1992820"/>
                    <a:pt x="1372024" y="1993900"/>
                    <a:pt x="1362499" y="1995488"/>
                  </a:cubicBezTo>
                  <a:cubicBezTo>
                    <a:pt x="1357737" y="2000250"/>
                    <a:pt x="1354060" y="2006433"/>
                    <a:pt x="1348212" y="2009775"/>
                  </a:cubicBezTo>
                  <a:cubicBezTo>
                    <a:pt x="1342529" y="2013022"/>
                    <a:pt x="1335178" y="2011960"/>
                    <a:pt x="1329162" y="2014538"/>
                  </a:cubicBezTo>
                  <a:cubicBezTo>
                    <a:pt x="1323901" y="2016793"/>
                    <a:pt x="1319637" y="2020888"/>
                    <a:pt x="1314874" y="2024063"/>
                  </a:cubicBezTo>
                  <a:cubicBezTo>
                    <a:pt x="1318049" y="2046288"/>
                    <a:pt x="1323568" y="2068303"/>
                    <a:pt x="1324399" y="2090738"/>
                  </a:cubicBezTo>
                  <a:cubicBezTo>
                    <a:pt x="1325165" y="2111422"/>
                    <a:pt x="1326182" y="2133014"/>
                    <a:pt x="1319637" y="2152650"/>
                  </a:cubicBezTo>
                  <a:cubicBezTo>
                    <a:pt x="1317392" y="2159385"/>
                    <a:pt x="1306751" y="2158653"/>
                    <a:pt x="1300587" y="2162175"/>
                  </a:cubicBezTo>
                  <a:cubicBezTo>
                    <a:pt x="1295617" y="2165015"/>
                    <a:pt x="1291419" y="2169140"/>
                    <a:pt x="1286299" y="2171700"/>
                  </a:cubicBezTo>
                  <a:cubicBezTo>
                    <a:pt x="1266843" y="2181428"/>
                    <a:pt x="1227642" y="2180160"/>
                    <a:pt x="1214862" y="2181225"/>
                  </a:cubicBezTo>
                  <a:cubicBezTo>
                    <a:pt x="1210099" y="2185988"/>
                    <a:pt x="1206828" y="2198014"/>
                    <a:pt x="1200574" y="2195513"/>
                  </a:cubicBezTo>
                  <a:cubicBezTo>
                    <a:pt x="1192636" y="2192338"/>
                    <a:pt x="1194872" y="2179347"/>
                    <a:pt x="1191049" y="2171700"/>
                  </a:cubicBezTo>
                  <a:cubicBezTo>
                    <a:pt x="1188489" y="2166581"/>
                    <a:pt x="1184699" y="2162175"/>
                    <a:pt x="1181524" y="2157413"/>
                  </a:cubicBezTo>
                  <a:cubicBezTo>
                    <a:pt x="1179937" y="2152650"/>
                    <a:pt x="1178839" y="2147695"/>
                    <a:pt x="1176762" y="2143125"/>
                  </a:cubicBezTo>
                  <a:cubicBezTo>
                    <a:pt x="1161328" y="2109168"/>
                    <a:pt x="1163099" y="2113105"/>
                    <a:pt x="1148187" y="2090738"/>
                  </a:cubicBezTo>
                  <a:cubicBezTo>
                    <a:pt x="1146599" y="2081213"/>
                    <a:pt x="1147138" y="2071077"/>
                    <a:pt x="1143424" y="2062163"/>
                  </a:cubicBezTo>
                  <a:cubicBezTo>
                    <a:pt x="1137454" y="2047834"/>
                    <a:pt x="1122575" y="2030004"/>
                    <a:pt x="1110087" y="2019300"/>
                  </a:cubicBezTo>
                  <a:cubicBezTo>
                    <a:pt x="1104061" y="2014134"/>
                    <a:pt x="1097976" y="2008868"/>
                    <a:pt x="1091037" y="2005013"/>
                  </a:cubicBezTo>
                  <a:cubicBezTo>
                    <a:pt x="1021149" y="1966188"/>
                    <a:pt x="1101627" y="2018424"/>
                    <a:pt x="1052937" y="1985963"/>
                  </a:cubicBezTo>
                  <a:cubicBezTo>
                    <a:pt x="1049762" y="1976438"/>
                    <a:pt x="1047902" y="1966368"/>
                    <a:pt x="1043412" y="1957388"/>
                  </a:cubicBezTo>
                  <a:cubicBezTo>
                    <a:pt x="1040237" y="1951038"/>
                    <a:pt x="1036380" y="1944985"/>
                    <a:pt x="1033887" y="1938338"/>
                  </a:cubicBezTo>
                  <a:cubicBezTo>
                    <a:pt x="1028407" y="1923726"/>
                    <a:pt x="1032167" y="1915998"/>
                    <a:pt x="1019599" y="1905000"/>
                  </a:cubicBezTo>
                  <a:cubicBezTo>
                    <a:pt x="1010984" y="1897462"/>
                    <a:pt x="991024" y="1885950"/>
                    <a:pt x="991024" y="1885950"/>
                  </a:cubicBezTo>
                  <a:cubicBezTo>
                    <a:pt x="986262" y="1879600"/>
                    <a:pt x="981903" y="1872926"/>
                    <a:pt x="976737" y="1866900"/>
                  </a:cubicBezTo>
                  <a:cubicBezTo>
                    <a:pt x="972354" y="1861786"/>
                    <a:pt x="966584" y="1857929"/>
                    <a:pt x="962449" y="1852613"/>
                  </a:cubicBezTo>
                  <a:cubicBezTo>
                    <a:pt x="955421" y="1843577"/>
                    <a:pt x="949749" y="1833563"/>
                    <a:pt x="943399" y="1824038"/>
                  </a:cubicBezTo>
                  <a:cubicBezTo>
                    <a:pt x="940224" y="1819275"/>
                    <a:pt x="936434" y="1814870"/>
                    <a:pt x="933874" y="1809750"/>
                  </a:cubicBezTo>
                  <a:cubicBezTo>
                    <a:pt x="930699" y="1803400"/>
                    <a:pt x="928784" y="1796244"/>
                    <a:pt x="924349" y="1790700"/>
                  </a:cubicBezTo>
                  <a:cubicBezTo>
                    <a:pt x="915934" y="1780181"/>
                    <a:pt x="895774" y="1762125"/>
                    <a:pt x="895774" y="1762125"/>
                  </a:cubicBezTo>
                  <a:cubicBezTo>
                    <a:pt x="894187" y="1757363"/>
                    <a:pt x="893257" y="1752328"/>
                    <a:pt x="891012" y="1747838"/>
                  </a:cubicBezTo>
                  <a:cubicBezTo>
                    <a:pt x="888452" y="1742718"/>
                    <a:pt x="883497" y="1738909"/>
                    <a:pt x="881487" y="1733550"/>
                  </a:cubicBezTo>
                  <a:cubicBezTo>
                    <a:pt x="863831" y="1686469"/>
                    <a:pt x="889537" y="1728958"/>
                    <a:pt x="867199" y="1695450"/>
                  </a:cubicBezTo>
                  <a:cubicBezTo>
                    <a:pt x="855783" y="1661201"/>
                    <a:pt x="869631" y="1703965"/>
                    <a:pt x="857674" y="1662113"/>
                  </a:cubicBezTo>
                  <a:cubicBezTo>
                    <a:pt x="856295" y="1657286"/>
                    <a:pt x="856462" y="1651375"/>
                    <a:pt x="852912" y="1647825"/>
                  </a:cubicBezTo>
                  <a:cubicBezTo>
                    <a:pt x="846367" y="1641280"/>
                    <a:pt x="836504" y="1639092"/>
                    <a:pt x="829099" y="1633538"/>
                  </a:cubicBezTo>
                  <a:cubicBezTo>
                    <a:pt x="823711" y="1629497"/>
                    <a:pt x="820259" y="1623211"/>
                    <a:pt x="814812" y="1619250"/>
                  </a:cubicBezTo>
                  <a:cubicBezTo>
                    <a:pt x="802700" y="1610441"/>
                    <a:pt x="776712" y="1595438"/>
                    <a:pt x="776712" y="1595438"/>
                  </a:cubicBezTo>
                  <a:cubicBezTo>
                    <a:pt x="795287" y="1651163"/>
                    <a:pt x="785680" y="1613988"/>
                    <a:pt x="790999" y="1709738"/>
                  </a:cubicBezTo>
                  <a:cubicBezTo>
                    <a:pt x="789412" y="1724025"/>
                    <a:pt x="788423" y="1738392"/>
                    <a:pt x="786237" y="1752600"/>
                  </a:cubicBezTo>
                  <a:cubicBezTo>
                    <a:pt x="785242" y="1759069"/>
                    <a:pt x="784721" y="1765967"/>
                    <a:pt x="781474" y="1771650"/>
                  </a:cubicBezTo>
                  <a:cubicBezTo>
                    <a:pt x="778132" y="1777498"/>
                    <a:pt x="771949" y="1781175"/>
                    <a:pt x="767187" y="1785938"/>
                  </a:cubicBezTo>
                  <a:cubicBezTo>
                    <a:pt x="752896" y="1828805"/>
                    <a:pt x="768065" y="1780078"/>
                    <a:pt x="752899" y="1881188"/>
                  </a:cubicBezTo>
                  <a:cubicBezTo>
                    <a:pt x="752154" y="1886152"/>
                    <a:pt x="752057" y="1892339"/>
                    <a:pt x="748137" y="1895475"/>
                  </a:cubicBezTo>
                  <a:cubicBezTo>
                    <a:pt x="743026" y="1899564"/>
                    <a:pt x="735437" y="1898650"/>
                    <a:pt x="729087" y="1900238"/>
                  </a:cubicBezTo>
                  <a:cubicBezTo>
                    <a:pt x="716387" y="1898650"/>
                    <a:pt x="698272" y="1905998"/>
                    <a:pt x="690987" y="1895475"/>
                  </a:cubicBezTo>
                  <a:cubicBezTo>
                    <a:pt x="680106" y="1879758"/>
                    <a:pt x="688595" y="1857293"/>
                    <a:pt x="686224" y="1838325"/>
                  </a:cubicBezTo>
                  <a:cubicBezTo>
                    <a:pt x="685027" y="1828751"/>
                    <a:pt x="679864" y="1814482"/>
                    <a:pt x="676699" y="1804988"/>
                  </a:cubicBezTo>
                  <a:cubicBezTo>
                    <a:pt x="678287" y="1800225"/>
                    <a:pt x="677912" y="1794250"/>
                    <a:pt x="681462" y="1790700"/>
                  </a:cubicBezTo>
                  <a:cubicBezTo>
                    <a:pt x="733157" y="1739005"/>
                    <a:pt x="685933" y="1805426"/>
                    <a:pt x="714799" y="1762125"/>
                  </a:cubicBezTo>
                  <a:cubicBezTo>
                    <a:pt x="716387" y="1746250"/>
                    <a:pt x="717583" y="1730331"/>
                    <a:pt x="719562" y="1714500"/>
                  </a:cubicBezTo>
                  <a:cubicBezTo>
                    <a:pt x="720760" y="1704918"/>
                    <a:pt x="725390" y="1695522"/>
                    <a:pt x="724324" y="1685925"/>
                  </a:cubicBezTo>
                  <a:cubicBezTo>
                    <a:pt x="722356" y="1668211"/>
                    <a:pt x="711159" y="1672790"/>
                    <a:pt x="700512" y="1666875"/>
                  </a:cubicBezTo>
                  <a:cubicBezTo>
                    <a:pt x="670672" y="1650297"/>
                    <a:pt x="668331" y="1644219"/>
                    <a:pt x="643362" y="1619250"/>
                  </a:cubicBezTo>
                  <a:cubicBezTo>
                    <a:pt x="638599" y="1614488"/>
                    <a:pt x="632810" y="1610567"/>
                    <a:pt x="629074" y="1604963"/>
                  </a:cubicBezTo>
                  <a:cubicBezTo>
                    <a:pt x="625899" y="1600200"/>
                    <a:pt x="624019" y="1594251"/>
                    <a:pt x="619549" y="1590675"/>
                  </a:cubicBezTo>
                  <a:cubicBezTo>
                    <a:pt x="615629" y="1587539"/>
                    <a:pt x="610024" y="1587500"/>
                    <a:pt x="605262" y="1585913"/>
                  </a:cubicBezTo>
                  <a:cubicBezTo>
                    <a:pt x="602087" y="1581150"/>
                    <a:pt x="600207" y="1575201"/>
                    <a:pt x="595737" y="1571625"/>
                  </a:cubicBezTo>
                  <a:cubicBezTo>
                    <a:pt x="562874" y="1545335"/>
                    <a:pt x="599221" y="1593523"/>
                    <a:pt x="571924" y="1552575"/>
                  </a:cubicBezTo>
                  <a:cubicBezTo>
                    <a:pt x="582456" y="1542044"/>
                    <a:pt x="587240" y="1535393"/>
                    <a:pt x="600499" y="1528763"/>
                  </a:cubicBezTo>
                  <a:cubicBezTo>
                    <a:pt x="639933" y="1509045"/>
                    <a:pt x="588131" y="1541771"/>
                    <a:pt x="629074" y="1514475"/>
                  </a:cubicBezTo>
                  <a:cubicBezTo>
                    <a:pt x="630662" y="1509713"/>
                    <a:pt x="634291" y="1505187"/>
                    <a:pt x="633837" y="1500188"/>
                  </a:cubicBezTo>
                  <a:cubicBezTo>
                    <a:pt x="632652" y="1487151"/>
                    <a:pt x="624312" y="1462088"/>
                    <a:pt x="624312" y="1462088"/>
                  </a:cubicBezTo>
                  <a:cubicBezTo>
                    <a:pt x="627487" y="1457325"/>
                    <a:pt x="631277" y="1452920"/>
                    <a:pt x="633837" y="1447800"/>
                  </a:cubicBezTo>
                  <a:cubicBezTo>
                    <a:pt x="636082" y="1443310"/>
                    <a:pt x="636161" y="1437901"/>
                    <a:pt x="638599" y="1433513"/>
                  </a:cubicBezTo>
                  <a:cubicBezTo>
                    <a:pt x="644158" y="1423506"/>
                    <a:pt x="651299" y="1414463"/>
                    <a:pt x="657649" y="1404938"/>
                  </a:cubicBezTo>
                  <a:lnTo>
                    <a:pt x="667174" y="1390650"/>
                  </a:lnTo>
                  <a:cubicBezTo>
                    <a:pt x="663999" y="1377950"/>
                    <a:pt x="663066" y="1364468"/>
                    <a:pt x="657649" y="1352550"/>
                  </a:cubicBezTo>
                  <a:cubicBezTo>
                    <a:pt x="654862" y="1346419"/>
                    <a:pt x="643362" y="1344998"/>
                    <a:pt x="643362" y="1338263"/>
                  </a:cubicBezTo>
                  <a:cubicBezTo>
                    <a:pt x="643362" y="1330326"/>
                    <a:pt x="652887" y="1325563"/>
                    <a:pt x="657649" y="1319213"/>
                  </a:cubicBezTo>
                  <a:cubicBezTo>
                    <a:pt x="665721" y="1294998"/>
                    <a:pt x="674188" y="1283796"/>
                    <a:pt x="662412" y="1257300"/>
                  </a:cubicBezTo>
                  <a:cubicBezTo>
                    <a:pt x="660087" y="1252069"/>
                    <a:pt x="652887" y="1250950"/>
                    <a:pt x="648124" y="1247775"/>
                  </a:cubicBezTo>
                  <a:cubicBezTo>
                    <a:pt x="646537" y="1243013"/>
                    <a:pt x="644741" y="1238315"/>
                    <a:pt x="643362" y="1233488"/>
                  </a:cubicBezTo>
                  <a:cubicBezTo>
                    <a:pt x="631399" y="1191619"/>
                    <a:pt x="645257" y="1234414"/>
                    <a:pt x="633837" y="1200150"/>
                  </a:cubicBezTo>
                  <a:cubicBezTo>
                    <a:pt x="636950" y="1165907"/>
                    <a:pt x="642823" y="1142614"/>
                    <a:pt x="633837" y="1109663"/>
                  </a:cubicBezTo>
                  <a:cubicBezTo>
                    <a:pt x="632331" y="1104141"/>
                    <a:pt x="629075" y="1098550"/>
                    <a:pt x="624312" y="1095375"/>
                  </a:cubicBezTo>
                  <a:cubicBezTo>
                    <a:pt x="618866" y="1091744"/>
                    <a:pt x="611612" y="1092200"/>
                    <a:pt x="605262" y="1090613"/>
                  </a:cubicBezTo>
                  <a:cubicBezTo>
                    <a:pt x="587800" y="1064419"/>
                    <a:pt x="605262" y="1086644"/>
                    <a:pt x="581449" y="1066800"/>
                  </a:cubicBezTo>
                  <a:cubicBezTo>
                    <a:pt x="576275" y="1062488"/>
                    <a:pt x="573049" y="1055784"/>
                    <a:pt x="567162" y="1052513"/>
                  </a:cubicBezTo>
                  <a:cubicBezTo>
                    <a:pt x="558385" y="1047637"/>
                    <a:pt x="552874" y="1065213"/>
                    <a:pt x="548112" y="1062038"/>
                  </a:cubicBezTo>
                  <a:close/>
                </a:path>
              </a:pathLst>
            </a:custGeom>
            <a:solidFill>
              <a:srgbClr val="EDDD32"/>
            </a:solidFill>
            <a:ln w="9525" cap="flat" cmpd="sng" algn="ctr">
              <a:solidFill>
                <a:srgbClr val="4866A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8383">
                <a:buClr>
                  <a:srgbClr val="000000"/>
                </a:buClr>
                <a:buSzPct val="100000"/>
              </a:pPr>
              <a:endParaRPr lang="pt-BR" sz="102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68" name="Freeform 32"/>
            <p:cNvSpPr/>
            <p:nvPr/>
          </p:nvSpPr>
          <p:spPr bwMode="auto">
            <a:xfrm>
              <a:off x="12660311" y="3035583"/>
              <a:ext cx="952594" cy="1359316"/>
            </a:xfrm>
            <a:custGeom>
              <a:avLst/>
              <a:gdLst>
                <a:gd name="connsiteX0" fmla="*/ 1700 w 3216516"/>
                <a:gd name="connsiteY0" fmla="*/ 2660910 h 4515224"/>
                <a:gd name="connsiteX1" fmla="*/ 20750 w 3216516"/>
                <a:gd name="connsiteY1" fmla="*/ 2603760 h 4515224"/>
                <a:gd name="connsiteX2" fmla="*/ 71550 w 3216516"/>
                <a:gd name="connsiteY2" fmla="*/ 2546610 h 4515224"/>
                <a:gd name="connsiteX3" fmla="*/ 90600 w 3216516"/>
                <a:gd name="connsiteY3" fmla="*/ 2527560 h 4515224"/>
                <a:gd name="connsiteX4" fmla="*/ 141400 w 3216516"/>
                <a:gd name="connsiteY4" fmla="*/ 2495810 h 4515224"/>
                <a:gd name="connsiteX5" fmla="*/ 179500 w 3216516"/>
                <a:gd name="connsiteY5" fmla="*/ 2457710 h 4515224"/>
                <a:gd name="connsiteX6" fmla="*/ 192200 w 3216516"/>
                <a:gd name="connsiteY6" fmla="*/ 2438660 h 4515224"/>
                <a:gd name="connsiteX7" fmla="*/ 211250 w 3216516"/>
                <a:gd name="connsiteY7" fmla="*/ 2432310 h 4515224"/>
                <a:gd name="connsiteX8" fmla="*/ 262050 w 3216516"/>
                <a:gd name="connsiteY8" fmla="*/ 2425960 h 4515224"/>
                <a:gd name="connsiteX9" fmla="*/ 319200 w 3216516"/>
                <a:gd name="connsiteY9" fmla="*/ 2381510 h 4515224"/>
                <a:gd name="connsiteX10" fmla="*/ 338250 w 3216516"/>
                <a:gd name="connsiteY10" fmla="*/ 2375160 h 4515224"/>
                <a:gd name="connsiteX11" fmla="*/ 363650 w 3216516"/>
                <a:gd name="connsiteY11" fmla="*/ 2381510 h 4515224"/>
                <a:gd name="connsiteX12" fmla="*/ 408100 w 3216516"/>
                <a:gd name="connsiteY12" fmla="*/ 2362460 h 4515224"/>
                <a:gd name="connsiteX13" fmla="*/ 427150 w 3216516"/>
                <a:gd name="connsiteY13" fmla="*/ 2343410 h 4515224"/>
                <a:gd name="connsiteX14" fmla="*/ 439850 w 3216516"/>
                <a:gd name="connsiteY14" fmla="*/ 2324360 h 4515224"/>
                <a:gd name="connsiteX15" fmla="*/ 458900 w 3216516"/>
                <a:gd name="connsiteY15" fmla="*/ 2279910 h 4515224"/>
                <a:gd name="connsiteX16" fmla="*/ 477950 w 3216516"/>
                <a:gd name="connsiteY16" fmla="*/ 2267210 h 4515224"/>
                <a:gd name="connsiteX17" fmla="*/ 497000 w 3216516"/>
                <a:gd name="connsiteY17" fmla="*/ 2248160 h 4515224"/>
                <a:gd name="connsiteX18" fmla="*/ 592250 w 3216516"/>
                <a:gd name="connsiteY18" fmla="*/ 2235460 h 4515224"/>
                <a:gd name="connsiteX19" fmla="*/ 611300 w 3216516"/>
                <a:gd name="connsiteY19" fmla="*/ 2222760 h 4515224"/>
                <a:gd name="connsiteX20" fmla="*/ 630350 w 3216516"/>
                <a:gd name="connsiteY20" fmla="*/ 2216410 h 4515224"/>
                <a:gd name="connsiteX21" fmla="*/ 636700 w 3216516"/>
                <a:gd name="connsiteY21" fmla="*/ 2197360 h 4515224"/>
                <a:gd name="connsiteX22" fmla="*/ 630350 w 3216516"/>
                <a:gd name="connsiteY22" fmla="*/ 2044960 h 4515224"/>
                <a:gd name="connsiteX23" fmla="*/ 611300 w 3216516"/>
                <a:gd name="connsiteY23" fmla="*/ 2025910 h 4515224"/>
                <a:gd name="connsiteX24" fmla="*/ 604950 w 3216516"/>
                <a:gd name="connsiteY24" fmla="*/ 2006860 h 4515224"/>
                <a:gd name="connsiteX25" fmla="*/ 611300 w 3216516"/>
                <a:gd name="connsiteY25" fmla="*/ 1892560 h 4515224"/>
                <a:gd name="connsiteX26" fmla="*/ 630350 w 3216516"/>
                <a:gd name="connsiteY26" fmla="*/ 1867160 h 4515224"/>
                <a:gd name="connsiteX27" fmla="*/ 662100 w 3216516"/>
                <a:gd name="connsiteY27" fmla="*/ 1829060 h 4515224"/>
                <a:gd name="connsiteX28" fmla="*/ 681150 w 3216516"/>
                <a:gd name="connsiteY28" fmla="*/ 1778260 h 4515224"/>
                <a:gd name="connsiteX29" fmla="*/ 700200 w 3216516"/>
                <a:gd name="connsiteY29" fmla="*/ 1765560 h 4515224"/>
                <a:gd name="connsiteX30" fmla="*/ 706550 w 3216516"/>
                <a:gd name="connsiteY30" fmla="*/ 1746510 h 4515224"/>
                <a:gd name="connsiteX31" fmla="*/ 687500 w 3216516"/>
                <a:gd name="connsiteY31" fmla="*/ 1683010 h 4515224"/>
                <a:gd name="connsiteX32" fmla="*/ 700200 w 3216516"/>
                <a:gd name="connsiteY32" fmla="*/ 1625860 h 4515224"/>
                <a:gd name="connsiteX33" fmla="*/ 706550 w 3216516"/>
                <a:gd name="connsiteY33" fmla="*/ 1606810 h 4515224"/>
                <a:gd name="connsiteX34" fmla="*/ 719250 w 3216516"/>
                <a:gd name="connsiteY34" fmla="*/ 1562360 h 4515224"/>
                <a:gd name="connsiteX35" fmla="*/ 693850 w 3216516"/>
                <a:gd name="connsiteY35" fmla="*/ 1492510 h 4515224"/>
                <a:gd name="connsiteX36" fmla="*/ 674800 w 3216516"/>
                <a:gd name="connsiteY36" fmla="*/ 1460760 h 4515224"/>
                <a:gd name="connsiteX37" fmla="*/ 674800 w 3216516"/>
                <a:gd name="connsiteY37" fmla="*/ 1384560 h 4515224"/>
                <a:gd name="connsiteX38" fmla="*/ 693850 w 3216516"/>
                <a:gd name="connsiteY38" fmla="*/ 1238510 h 4515224"/>
                <a:gd name="connsiteX39" fmla="*/ 712900 w 3216516"/>
                <a:gd name="connsiteY39" fmla="*/ 1155960 h 4515224"/>
                <a:gd name="connsiteX40" fmla="*/ 725600 w 3216516"/>
                <a:gd name="connsiteY40" fmla="*/ 1136910 h 4515224"/>
                <a:gd name="connsiteX41" fmla="*/ 731950 w 3216516"/>
                <a:gd name="connsiteY41" fmla="*/ 1117860 h 4515224"/>
                <a:gd name="connsiteX42" fmla="*/ 770050 w 3216516"/>
                <a:gd name="connsiteY42" fmla="*/ 1079760 h 4515224"/>
                <a:gd name="connsiteX43" fmla="*/ 789100 w 3216516"/>
                <a:gd name="connsiteY43" fmla="*/ 1060710 h 4515224"/>
                <a:gd name="connsiteX44" fmla="*/ 808150 w 3216516"/>
                <a:gd name="connsiteY44" fmla="*/ 1041660 h 4515224"/>
                <a:gd name="connsiteX45" fmla="*/ 827200 w 3216516"/>
                <a:gd name="connsiteY45" fmla="*/ 1016260 h 4515224"/>
                <a:gd name="connsiteX46" fmla="*/ 846250 w 3216516"/>
                <a:gd name="connsiteY46" fmla="*/ 1003560 h 4515224"/>
                <a:gd name="connsiteX47" fmla="*/ 865300 w 3216516"/>
                <a:gd name="connsiteY47" fmla="*/ 984510 h 4515224"/>
                <a:gd name="connsiteX48" fmla="*/ 884350 w 3216516"/>
                <a:gd name="connsiteY48" fmla="*/ 971810 h 4515224"/>
                <a:gd name="connsiteX49" fmla="*/ 903400 w 3216516"/>
                <a:gd name="connsiteY49" fmla="*/ 952760 h 4515224"/>
                <a:gd name="connsiteX50" fmla="*/ 954200 w 3216516"/>
                <a:gd name="connsiteY50" fmla="*/ 940060 h 4515224"/>
                <a:gd name="connsiteX51" fmla="*/ 979600 w 3216516"/>
                <a:gd name="connsiteY51" fmla="*/ 946410 h 4515224"/>
                <a:gd name="connsiteX52" fmla="*/ 1011350 w 3216516"/>
                <a:gd name="connsiteY52" fmla="*/ 971810 h 4515224"/>
                <a:gd name="connsiteX53" fmla="*/ 1049450 w 3216516"/>
                <a:gd name="connsiteY53" fmla="*/ 946410 h 4515224"/>
                <a:gd name="connsiteX54" fmla="*/ 1068500 w 3216516"/>
                <a:gd name="connsiteY54" fmla="*/ 933710 h 4515224"/>
                <a:gd name="connsiteX55" fmla="*/ 1087550 w 3216516"/>
                <a:gd name="connsiteY55" fmla="*/ 914660 h 4515224"/>
                <a:gd name="connsiteX56" fmla="*/ 1125650 w 3216516"/>
                <a:gd name="connsiteY56" fmla="*/ 901960 h 4515224"/>
                <a:gd name="connsiteX57" fmla="*/ 1144700 w 3216516"/>
                <a:gd name="connsiteY57" fmla="*/ 895610 h 4515224"/>
                <a:gd name="connsiteX58" fmla="*/ 1163750 w 3216516"/>
                <a:gd name="connsiteY58" fmla="*/ 882910 h 4515224"/>
                <a:gd name="connsiteX59" fmla="*/ 1214550 w 3216516"/>
                <a:gd name="connsiteY59" fmla="*/ 870210 h 4515224"/>
                <a:gd name="connsiteX60" fmla="*/ 1227250 w 3216516"/>
                <a:gd name="connsiteY60" fmla="*/ 851160 h 4515224"/>
                <a:gd name="connsiteX61" fmla="*/ 1227250 w 3216516"/>
                <a:gd name="connsiteY61" fmla="*/ 711460 h 4515224"/>
                <a:gd name="connsiteX62" fmla="*/ 1220900 w 3216516"/>
                <a:gd name="connsiteY62" fmla="*/ 603510 h 4515224"/>
                <a:gd name="connsiteX63" fmla="*/ 1208200 w 3216516"/>
                <a:gd name="connsiteY63" fmla="*/ 584460 h 4515224"/>
                <a:gd name="connsiteX64" fmla="*/ 1195500 w 3216516"/>
                <a:gd name="connsiteY64" fmla="*/ 546360 h 4515224"/>
                <a:gd name="connsiteX65" fmla="*/ 1163750 w 3216516"/>
                <a:gd name="connsiteY65" fmla="*/ 520960 h 4515224"/>
                <a:gd name="connsiteX66" fmla="*/ 1132000 w 3216516"/>
                <a:gd name="connsiteY66" fmla="*/ 501910 h 4515224"/>
                <a:gd name="connsiteX67" fmla="*/ 1093900 w 3216516"/>
                <a:gd name="connsiteY67" fmla="*/ 463810 h 4515224"/>
                <a:gd name="connsiteX68" fmla="*/ 1087550 w 3216516"/>
                <a:gd name="connsiteY68" fmla="*/ 438410 h 4515224"/>
                <a:gd name="connsiteX69" fmla="*/ 1036750 w 3216516"/>
                <a:gd name="connsiteY69" fmla="*/ 400310 h 4515224"/>
                <a:gd name="connsiteX70" fmla="*/ 998650 w 3216516"/>
                <a:gd name="connsiteY70" fmla="*/ 387610 h 4515224"/>
                <a:gd name="connsiteX71" fmla="*/ 992300 w 3216516"/>
                <a:gd name="connsiteY71" fmla="*/ 298710 h 4515224"/>
                <a:gd name="connsiteX72" fmla="*/ 979600 w 3216516"/>
                <a:gd name="connsiteY72" fmla="*/ 279660 h 4515224"/>
                <a:gd name="connsiteX73" fmla="*/ 941500 w 3216516"/>
                <a:gd name="connsiteY73" fmla="*/ 235210 h 4515224"/>
                <a:gd name="connsiteX74" fmla="*/ 935150 w 3216516"/>
                <a:gd name="connsiteY74" fmla="*/ 184410 h 4515224"/>
                <a:gd name="connsiteX75" fmla="*/ 928800 w 3216516"/>
                <a:gd name="connsiteY75" fmla="*/ 165360 h 4515224"/>
                <a:gd name="connsiteX76" fmla="*/ 909750 w 3216516"/>
                <a:gd name="connsiteY76" fmla="*/ 152660 h 4515224"/>
                <a:gd name="connsiteX77" fmla="*/ 897050 w 3216516"/>
                <a:gd name="connsiteY77" fmla="*/ 133610 h 4515224"/>
                <a:gd name="connsiteX78" fmla="*/ 941500 w 3216516"/>
                <a:gd name="connsiteY78" fmla="*/ 70110 h 4515224"/>
                <a:gd name="connsiteX79" fmla="*/ 960550 w 3216516"/>
                <a:gd name="connsiteY79" fmla="*/ 51060 h 4515224"/>
                <a:gd name="connsiteX80" fmla="*/ 1005000 w 3216516"/>
                <a:gd name="connsiteY80" fmla="*/ 38360 h 4515224"/>
                <a:gd name="connsiteX81" fmla="*/ 1024050 w 3216516"/>
                <a:gd name="connsiteY81" fmla="*/ 127260 h 4515224"/>
                <a:gd name="connsiteX82" fmla="*/ 1043100 w 3216516"/>
                <a:gd name="connsiteY82" fmla="*/ 146310 h 4515224"/>
                <a:gd name="connsiteX83" fmla="*/ 1081200 w 3216516"/>
                <a:gd name="connsiteY83" fmla="*/ 171710 h 4515224"/>
                <a:gd name="connsiteX84" fmla="*/ 1087550 w 3216516"/>
                <a:gd name="connsiteY84" fmla="*/ 190760 h 4515224"/>
                <a:gd name="connsiteX85" fmla="*/ 1195500 w 3216516"/>
                <a:gd name="connsiteY85" fmla="*/ 184410 h 4515224"/>
                <a:gd name="connsiteX86" fmla="*/ 1214550 w 3216516"/>
                <a:gd name="connsiteY86" fmla="*/ 165360 h 4515224"/>
                <a:gd name="connsiteX87" fmla="*/ 1259000 w 3216516"/>
                <a:gd name="connsiteY87" fmla="*/ 120910 h 4515224"/>
                <a:gd name="connsiteX88" fmla="*/ 1303450 w 3216516"/>
                <a:gd name="connsiteY88" fmla="*/ 127260 h 4515224"/>
                <a:gd name="connsiteX89" fmla="*/ 1322500 w 3216516"/>
                <a:gd name="connsiteY89" fmla="*/ 133610 h 4515224"/>
                <a:gd name="connsiteX90" fmla="*/ 1316150 w 3216516"/>
                <a:gd name="connsiteY90" fmla="*/ 165360 h 4515224"/>
                <a:gd name="connsiteX91" fmla="*/ 1303450 w 3216516"/>
                <a:gd name="connsiteY91" fmla="*/ 203460 h 4515224"/>
                <a:gd name="connsiteX92" fmla="*/ 1328850 w 3216516"/>
                <a:gd name="connsiteY92" fmla="*/ 260610 h 4515224"/>
                <a:gd name="connsiteX93" fmla="*/ 1366950 w 3216516"/>
                <a:gd name="connsiteY93" fmla="*/ 254260 h 4515224"/>
                <a:gd name="connsiteX94" fmla="*/ 1449500 w 3216516"/>
                <a:gd name="connsiteY94" fmla="*/ 235210 h 4515224"/>
                <a:gd name="connsiteX95" fmla="*/ 1474900 w 3216516"/>
                <a:gd name="connsiteY95" fmla="*/ 241560 h 4515224"/>
                <a:gd name="connsiteX96" fmla="*/ 1487600 w 3216516"/>
                <a:gd name="connsiteY96" fmla="*/ 279660 h 4515224"/>
                <a:gd name="connsiteX97" fmla="*/ 1474900 w 3216516"/>
                <a:gd name="connsiteY97" fmla="*/ 305060 h 4515224"/>
                <a:gd name="connsiteX98" fmla="*/ 1468550 w 3216516"/>
                <a:gd name="connsiteY98" fmla="*/ 324110 h 4515224"/>
                <a:gd name="connsiteX99" fmla="*/ 1449500 w 3216516"/>
                <a:gd name="connsiteY99" fmla="*/ 336810 h 4515224"/>
                <a:gd name="connsiteX100" fmla="*/ 1462200 w 3216516"/>
                <a:gd name="connsiteY100" fmla="*/ 393960 h 4515224"/>
                <a:gd name="connsiteX101" fmla="*/ 1468550 w 3216516"/>
                <a:gd name="connsiteY101" fmla="*/ 413010 h 4515224"/>
                <a:gd name="connsiteX102" fmla="*/ 1481250 w 3216516"/>
                <a:gd name="connsiteY102" fmla="*/ 438410 h 4515224"/>
                <a:gd name="connsiteX103" fmla="*/ 1455850 w 3216516"/>
                <a:gd name="connsiteY103" fmla="*/ 476510 h 4515224"/>
                <a:gd name="connsiteX104" fmla="*/ 1443150 w 3216516"/>
                <a:gd name="connsiteY104" fmla="*/ 495560 h 4515224"/>
                <a:gd name="connsiteX105" fmla="*/ 1455850 w 3216516"/>
                <a:gd name="connsiteY105" fmla="*/ 546360 h 4515224"/>
                <a:gd name="connsiteX106" fmla="*/ 1443150 w 3216516"/>
                <a:gd name="connsiteY106" fmla="*/ 609860 h 4515224"/>
                <a:gd name="connsiteX107" fmla="*/ 1430450 w 3216516"/>
                <a:gd name="connsiteY107" fmla="*/ 730510 h 4515224"/>
                <a:gd name="connsiteX108" fmla="*/ 1424100 w 3216516"/>
                <a:gd name="connsiteY108" fmla="*/ 749560 h 4515224"/>
                <a:gd name="connsiteX109" fmla="*/ 1398700 w 3216516"/>
                <a:gd name="connsiteY109" fmla="*/ 787660 h 4515224"/>
                <a:gd name="connsiteX110" fmla="*/ 1354250 w 3216516"/>
                <a:gd name="connsiteY110" fmla="*/ 832110 h 4515224"/>
                <a:gd name="connsiteX111" fmla="*/ 1341550 w 3216516"/>
                <a:gd name="connsiteY111" fmla="*/ 889260 h 4515224"/>
                <a:gd name="connsiteX112" fmla="*/ 1328850 w 3216516"/>
                <a:gd name="connsiteY112" fmla="*/ 927360 h 4515224"/>
                <a:gd name="connsiteX113" fmla="*/ 1316150 w 3216516"/>
                <a:gd name="connsiteY113" fmla="*/ 946410 h 4515224"/>
                <a:gd name="connsiteX114" fmla="*/ 1322500 w 3216516"/>
                <a:gd name="connsiteY114" fmla="*/ 965460 h 4515224"/>
                <a:gd name="connsiteX115" fmla="*/ 1328850 w 3216516"/>
                <a:gd name="connsiteY115" fmla="*/ 1048010 h 4515224"/>
                <a:gd name="connsiteX116" fmla="*/ 1347900 w 3216516"/>
                <a:gd name="connsiteY116" fmla="*/ 1041660 h 4515224"/>
                <a:gd name="connsiteX117" fmla="*/ 1379650 w 3216516"/>
                <a:gd name="connsiteY117" fmla="*/ 1003560 h 4515224"/>
                <a:gd name="connsiteX118" fmla="*/ 1392350 w 3216516"/>
                <a:gd name="connsiteY118" fmla="*/ 984510 h 4515224"/>
                <a:gd name="connsiteX119" fmla="*/ 1449500 w 3216516"/>
                <a:gd name="connsiteY119" fmla="*/ 971810 h 4515224"/>
                <a:gd name="connsiteX120" fmla="*/ 1481250 w 3216516"/>
                <a:gd name="connsiteY120" fmla="*/ 952760 h 4515224"/>
                <a:gd name="connsiteX121" fmla="*/ 1487600 w 3216516"/>
                <a:gd name="connsiteY121" fmla="*/ 927360 h 4515224"/>
                <a:gd name="connsiteX122" fmla="*/ 1500300 w 3216516"/>
                <a:gd name="connsiteY122" fmla="*/ 889260 h 4515224"/>
                <a:gd name="connsiteX123" fmla="*/ 1500300 w 3216516"/>
                <a:gd name="connsiteY123" fmla="*/ 889260 h 4515224"/>
                <a:gd name="connsiteX124" fmla="*/ 1532050 w 3216516"/>
                <a:gd name="connsiteY124" fmla="*/ 851160 h 4515224"/>
                <a:gd name="connsiteX125" fmla="*/ 1551100 w 3216516"/>
                <a:gd name="connsiteY125" fmla="*/ 832110 h 4515224"/>
                <a:gd name="connsiteX126" fmla="*/ 1589200 w 3216516"/>
                <a:gd name="connsiteY126" fmla="*/ 762260 h 4515224"/>
                <a:gd name="connsiteX127" fmla="*/ 1652700 w 3216516"/>
                <a:gd name="connsiteY127" fmla="*/ 774960 h 4515224"/>
                <a:gd name="connsiteX128" fmla="*/ 1684450 w 3216516"/>
                <a:gd name="connsiteY128" fmla="*/ 781310 h 4515224"/>
                <a:gd name="connsiteX129" fmla="*/ 1767000 w 3216516"/>
                <a:gd name="connsiteY129" fmla="*/ 800360 h 4515224"/>
                <a:gd name="connsiteX130" fmla="*/ 1779700 w 3216516"/>
                <a:gd name="connsiteY130" fmla="*/ 781310 h 4515224"/>
                <a:gd name="connsiteX131" fmla="*/ 1747950 w 3216516"/>
                <a:gd name="connsiteY131" fmla="*/ 743210 h 4515224"/>
                <a:gd name="connsiteX132" fmla="*/ 1728900 w 3216516"/>
                <a:gd name="connsiteY132" fmla="*/ 730510 h 4515224"/>
                <a:gd name="connsiteX133" fmla="*/ 1716200 w 3216516"/>
                <a:gd name="connsiteY133" fmla="*/ 705110 h 4515224"/>
                <a:gd name="connsiteX134" fmla="*/ 1741600 w 3216516"/>
                <a:gd name="connsiteY134" fmla="*/ 660660 h 4515224"/>
                <a:gd name="connsiteX135" fmla="*/ 1760650 w 3216516"/>
                <a:gd name="connsiteY135" fmla="*/ 616210 h 4515224"/>
                <a:gd name="connsiteX136" fmla="*/ 1786050 w 3216516"/>
                <a:gd name="connsiteY136" fmla="*/ 559060 h 4515224"/>
                <a:gd name="connsiteX137" fmla="*/ 1792400 w 3216516"/>
                <a:gd name="connsiteY137" fmla="*/ 501910 h 4515224"/>
                <a:gd name="connsiteX138" fmla="*/ 1798750 w 3216516"/>
                <a:gd name="connsiteY138" fmla="*/ 482860 h 4515224"/>
                <a:gd name="connsiteX139" fmla="*/ 1779700 w 3216516"/>
                <a:gd name="connsiteY139" fmla="*/ 400310 h 4515224"/>
                <a:gd name="connsiteX140" fmla="*/ 1760650 w 3216516"/>
                <a:gd name="connsiteY140" fmla="*/ 349510 h 4515224"/>
                <a:gd name="connsiteX141" fmla="*/ 1741600 w 3216516"/>
                <a:gd name="connsiteY141" fmla="*/ 343160 h 4515224"/>
                <a:gd name="connsiteX142" fmla="*/ 1741600 w 3216516"/>
                <a:gd name="connsiteY142" fmla="*/ 298710 h 4515224"/>
                <a:gd name="connsiteX143" fmla="*/ 1773350 w 3216516"/>
                <a:gd name="connsiteY143" fmla="*/ 241560 h 4515224"/>
                <a:gd name="connsiteX144" fmla="*/ 1792400 w 3216516"/>
                <a:gd name="connsiteY144" fmla="*/ 235210 h 4515224"/>
                <a:gd name="connsiteX145" fmla="*/ 1817800 w 3216516"/>
                <a:gd name="connsiteY145" fmla="*/ 241560 h 4515224"/>
                <a:gd name="connsiteX146" fmla="*/ 1843200 w 3216516"/>
                <a:gd name="connsiteY146" fmla="*/ 279660 h 4515224"/>
                <a:gd name="connsiteX147" fmla="*/ 1874950 w 3216516"/>
                <a:gd name="connsiteY147" fmla="*/ 317760 h 4515224"/>
                <a:gd name="connsiteX148" fmla="*/ 1894000 w 3216516"/>
                <a:gd name="connsiteY148" fmla="*/ 324110 h 4515224"/>
                <a:gd name="connsiteX149" fmla="*/ 1919400 w 3216516"/>
                <a:gd name="connsiteY149" fmla="*/ 317760 h 4515224"/>
                <a:gd name="connsiteX150" fmla="*/ 1938450 w 3216516"/>
                <a:gd name="connsiteY150" fmla="*/ 305060 h 4515224"/>
                <a:gd name="connsiteX151" fmla="*/ 2027350 w 3216516"/>
                <a:gd name="connsiteY151" fmla="*/ 298710 h 4515224"/>
                <a:gd name="connsiteX152" fmla="*/ 2033700 w 3216516"/>
                <a:gd name="connsiteY152" fmla="*/ 279660 h 4515224"/>
                <a:gd name="connsiteX153" fmla="*/ 2052750 w 3216516"/>
                <a:gd name="connsiteY153" fmla="*/ 273310 h 4515224"/>
                <a:gd name="connsiteX154" fmla="*/ 2122600 w 3216516"/>
                <a:gd name="connsiteY154" fmla="*/ 266960 h 4515224"/>
                <a:gd name="connsiteX155" fmla="*/ 2154350 w 3216516"/>
                <a:gd name="connsiteY155" fmla="*/ 228860 h 4515224"/>
                <a:gd name="connsiteX156" fmla="*/ 2167050 w 3216516"/>
                <a:gd name="connsiteY156" fmla="*/ 190760 h 4515224"/>
                <a:gd name="connsiteX157" fmla="*/ 2192450 w 3216516"/>
                <a:gd name="connsiteY157" fmla="*/ 152660 h 4515224"/>
                <a:gd name="connsiteX158" fmla="*/ 2211500 w 3216516"/>
                <a:gd name="connsiteY158" fmla="*/ 114560 h 4515224"/>
                <a:gd name="connsiteX159" fmla="*/ 2230550 w 3216516"/>
                <a:gd name="connsiteY159" fmla="*/ 70110 h 4515224"/>
                <a:gd name="connsiteX160" fmla="*/ 2249600 w 3216516"/>
                <a:gd name="connsiteY160" fmla="*/ 51060 h 4515224"/>
                <a:gd name="connsiteX161" fmla="*/ 2262300 w 3216516"/>
                <a:gd name="connsiteY161" fmla="*/ 32010 h 4515224"/>
                <a:gd name="connsiteX162" fmla="*/ 2300400 w 3216516"/>
                <a:gd name="connsiteY162" fmla="*/ 12960 h 4515224"/>
                <a:gd name="connsiteX163" fmla="*/ 2319450 w 3216516"/>
                <a:gd name="connsiteY163" fmla="*/ 260 h 4515224"/>
                <a:gd name="connsiteX164" fmla="*/ 2446450 w 3216516"/>
                <a:gd name="connsiteY164" fmla="*/ 12960 h 4515224"/>
                <a:gd name="connsiteX165" fmla="*/ 2465500 w 3216516"/>
                <a:gd name="connsiteY165" fmla="*/ 25660 h 4515224"/>
                <a:gd name="connsiteX166" fmla="*/ 2484550 w 3216516"/>
                <a:gd name="connsiteY166" fmla="*/ 101860 h 4515224"/>
                <a:gd name="connsiteX167" fmla="*/ 2529000 w 3216516"/>
                <a:gd name="connsiteY167" fmla="*/ 133610 h 4515224"/>
                <a:gd name="connsiteX168" fmla="*/ 2560750 w 3216516"/>
                <a:gd name="connsiteY168" fmla="*/ 146310 h 4515224"/>
                <a:gd name="connsiteX169" fmla="*/ 2579800 w 3216516"/>
                <a:gd name="connsiteY169" fmla="*/ 324110 h 4515224"/>
                <a:gd name="connsiteX170" fmla="*/ 2592500 w 3216516"/>
                <a:gd name="connsiteY170" fmla="*/ 343160 h 4515224"/>
                <a:gd name="connsiteX171" fmla="*/ 2605200 w 3216516"/>
                <a:gd name="connsiteY171" fmla="*/ 381260 h 4515224"/>
                <a:gd name="connsiteX172" fmla="*/ 2579800 w 3216516"/>
                <a:gd name="connsiteY172" fmla="*/ 419360 h 4515224"/>
                <a:gd name="connsiteX173" fmla="*/ 2573450 w 3216516"/>
                <a:gd name="connsiteY173" fmla="*/ 482860 h 4515224"/>
                <a:gd name="connsiteX174" fmla="*/ 2560750 w 3216516"/>
                <a:gd name="connsiteY174" fmla="*/ 501910 h 4515224"/>
                <a:gd name="connsiteX175" fmla="*/ 2548050 w 3216516"/>
                <a:gd name="connsiteY175" fmla="*/ 578110 h 4515224"/>
                <a:gd name="connsiteX176" fmla="*/ 2529000 w 3216516"/>
                <a:gd name="connsiteY176" fmla="*/ 597160 h 4515224"/>
                <a:gd name="connsiteX177" fmla="*/ 2516300 w 3216516"/>
                <a:gd name="connsiteY177" fmla="*/ 616210 h 4515224"/>
                <a:gd name="connsiteX178" fmla="*/ 2529000 w 3216516"/>
                <a:gd name="connsiteY178" fmla="*/ 660660 h 4515224"/>
                <a:gd name="connsiteX179" fmla="*/ 2573450 w 3216516"/>
                <a:gd name="connsiteY179" fmla="*/ 686060 h 4515224"/>
                <a:gd name="connsiteX180" fmla="*/ 2605200 w 3216516"/>
                <a:gd name="connsiteY180" fmla="*/ 692410 h 4515224"/>
                <a:gd name="connsiteX181" fmla="*/ 2630600 w 3216516"/>
                <a:gd name="connsiteY181" fmla="*/ 705110 h 4515224"/>
                <a:gd name="connsiteX182" fmla="*/ 2649650 w 3216516"/>
                <a:gd name="connsiteY182" fmla="*/ 711460 h 4515224"/>
                <a:gd name="connsiteX183" fmla="*/ 2675050 w 3216516"/>
                <a:gd name="connsiteY183" fmla="*/ 724160 h 4515224"/>
                <a:gd name="connsiteX184" fmla="*/ 2668700 w 3216516"/>
                <a:gd name="connsiteY184" fmla="*/ 768610 h 4515224"/>
                <a:gd name="connsiteX185" fmla="*/ 2649650 w 3216516"/>
                <a:gd name="connsiteY185" fmla="*/ 787660 h 4515224"/>
                <a:gd name="connsiteX186" fmla="*/ 2636950 w 3216516"/>
                <a:gd name="connsiteY186" fmla="*/ 806710 h 4515224"/>
                <a:gd name="connsiteX187" fmla="*/ 2630600 w 3216516"/>
                <a:gd name="connsiteY187" fmla="*/ 838460 h 4515224"/>
                <a:gd name="connsiteX188" fmla="*/ 2624250 w 3216516"/>
                <a:gd name="connsiteY188" fmla="*/ 857510 h 4515224"/>
                <a:gd name="connsiteX189" fmla="*/ 2617900 w 3216516"/>
                <a:gd name="connsiteY189" fmla="*/ 882910 h 4515224"/>
                <a:gd name="connsiteX190" fmla="*/ 2636950 w 3216516"/>
                <a:gd name="connsiteY190" fmla="*/ 933710 h 4515224"/>
                <a:gd name="connsiteX191" fmla="*/ 2656000 w 3216516"/>
                <a:gd name="connsiteY191" fmla="*/ 927360 h 4515224"/>
                <a:gd name="connsiteX192" fmla="*/ 2662350 w 3216516"/>
                <a:gd name="connsiteY192" fmla="*/ 889260 h 4515224"/>
                <a:gd name="connsiteX193" fmla="*/ 2675050 w 3216516"/>
                <a:gd name="connsiteY193" fmla="*/ 819410 h 4515224"/>
                <a:gd name="connsiteX194" fmla="*/ 2687750 w 3216516"/>
                <a:gd name="connsiteY194" fmla="*/ 705110 h 4515224"/>
                <a:gd name="connsiteX195" fmla="*/ 2700450 w 3216516"/>
                <a:gd name="connsiteY195" fmla="*/ 686060 h 4515224"/>
                <a:gd name="connsiteX196" fmla="*/ 2706800 w 3216516"/>
                <a:gd name="connsiteY196" fmla="*/ 647960 h 4515224"/>
                <a:gd name="connsiteX197" fmla="*/ 2725850 w 3216516"/>
                <a:gd name="connsiteY197" fmla="*/ 660660 h 4515224"/>
                <a:gd name="connsiteX198" fmla="*/ 2763950 w 3216516"/>
                <a:gd name="connsiteY198" fmla="*/ 711460 h 4515224"/>
                <a:gd name="connsiteX199" fmla="*/ 2808400 w 3216516"/>
                <a:gd name="connsiteY199" fmla="*/ 743210 h 4515224"/>
                <a:gd name="connsiteX200" fmla="*/ 2833800 w 3216516"/>
                <a:gd name="connsiteY200" fmla="*/ 781310 h 4515224"/>
                <a:gd name="connsiteX201" fmla="*/ 2846500 w 3216516"/>
                <a:gd name="connsiteY201" fmla="*/ 800360 h 4515224"/>
                <a:gd name="connsiteX202" fmla="*/ 2871900 w 3216516"/>
                <a:gd name="connsiteY202" fmla="*/ 876560 h 4515224"/>
                <a:gd name="connsiteX203" fmla="*/ 2890950 w 3216516"/>
                <a:gd name="connsiteY203" fmla="*/ 895610 h 4515224"/>
                <a:gd name="connsiteX204" fmla="*/ 2916350 w 3216516"/>
                <a:gd name="connsiteY204" fmla="*/ 908310 h 4515224"/>
                <a:gd name="connsiteX205" fmla="*/ 2929050 w 3216516"/>
                <a:gd name="connsiteY205" fmla="*/ 927360 h 4515224"/>
                <a:gd name="connsiteX206" fmla="*/ 2948100 w 3216516"/>
                <a:gd name="connsiteY206" fmla="*/ 946410 h 4515224"/>
                <a:gd name="connsiteX207" fmla="*/ 2979850 w 3216516"/>
                <a:gd name="connsiteY207" fmla="*/ 1003560 h 4515224"/>
                <a:gd name="connsiteX208" fmla="*/ 2986200 w 3216516"/>
                <a:gd name="connsiteY208" fmla="*/ 1041660 h 4515224"/>
                <a:gd name="connsiteX209" fmla="*/ 2998900 w 3216516"/>
                <a:gd name="connsiteY209" fmla="*/ 1060710 h 4515224"/>
                <a:gd name="connsiteX210" fmla="*/ 3024300 w 3216516"/>
                <a:gd name="connsiteY210" fmla="*/ 1098810 h 4515224"/>
                <a:gd name="connsiteX211" fmla="*/ 3043350 w 3216516"/>
                <a:gd name="connsiteY211" fmla="*/ 1136910 h 4515224"/>
                <a:gd name="connsiteX212" fmla="*/ 3062400 w 3216516"/>
                <a:gd name="connsiteY212" fmla="*/ 1155960 h 4515224"/>
                <a:gd name="connsiteX213" fmla="*/ 3094150 w 3216516"/>
                <a:gd name="connsiteY213" fmla="*/ 1194060 h 4515224"/>
                <a:gd name="connsiteX214" fmla="*/ 3132250 w 3216516"/>
                <a:gd name="connsiteY214" fmla="*/ 1219460 h 4515224"/>
                <a:gd name="connsiteX215" fmla="*/ 3170350 w 3216516"/>
                <a:gd name="connsiteY215" fmla="*/ 1251210 h 4515224"/>
                <a:gd name="connsiteX216" fmla="*/ 3176700 w 3216516"/>
                <a:gd name="connsiteY216" fmla="*/ 1270260 h 4515224"/>
                <a:gd name="connsiteX217" fmla="*/ 3189400 w 3216516"/>
                <a:gd name="connsiteY217" fmla="*/ 1340110 h 4515224"/>
                <a:gd name="connsiteX218" fmla="*/ 3208450 w 3216516"/>
                <a:gd name="connsiteY218" fmla="*/ 1352810 h 4515224"/>
                <a:gd name="connsiteX219" fmla="*/ 3208450 w 3216516"/>
                <a:gd name="connsiteY219" fmla="*/ 1403610 h 4515224"/>
                <a:gd name="connsiteX220" fmla="*/ 3170350 w 3216516"/>
                <a:gd name="connsiteY220" fmla="*/ 1416310 h 4515224"/>
                <a:gd name="connsiteX221" fmla="*/ 3151300 w 3216516"/>
                <a:gd name="connsiteY221" fmla="*/ 1429010 h 4515224"/>
                <a:gd name="connsiteX222" fmla="*/ 3138600 w 3216516"/>
                <a:gd name="connsiteY222" fmla="*/ 1479810 h 4515224"/>
                <a:gd name="connsiteX223" fmla="*/ 3100500 w 3216516"/>
                <a:gd name="connsiteY223" fmla="*/ 1511560 h 4515224"/>
                <a:gd name="connsiteX224" fmla="*/ 3081450 w 3216516"/>
                <a:gd name="connsiteY224" fmla="*/ 1517910 h 4515224"/>
                <a:gd name="connsiteX225" fmla="*/ 3062400 w 3216516"/>
                <a:gd name="connsiteY225" fmla="*/ 1530610 h 4515224"/>
                <a:gd name="connsiteX226" fmla="*/ 3024300 w 3216516"/>
                <a:gd name="connsiteY226" fmla="*/ 1543310 h 4515224"/>
                <a:gd name="connsiteX227" fmla="*/ 2998900 w 3216516"/>
                <a:gd name="connsiteY227" fmla="*/ 1556010 h 4515224"/>
                <a:gd name="connsiteX228" fmla="*/ 2973500 w 3216516"/>
                <a:gd name="connsiteY228" fmla="*/ 1594110 h 4515224"/>
                <a:gd name="connsiteX229" fmla="*/ 2922700 w 3216516"/>
                <a:gd name="connsiteY229" fmla="*/ 1632210 h 4515224"/>
                <a:gd name="connsiteX230" fmla="*/ 2929050 w 3216516"/>
                <a:gd name="connsiteY230" fmla="*/ 1714760 h 4515224"/>
                <a:gd name="connsiteX231" fmla="*/ 2948100 w 3216516"/>
                <a:gd name="connsiteY231" fmla="*/ 1733810 h 4515224"/>
                <a:gd name="connsiteX232" fmla="*/ 2960800 w 3216516"/>
                <a:gd name="connsiteY232" fmla="*/ 1771910 h 4515224"/>
                <a:gd name="connsiteX233" fmla="*/ 2954450 w 3216516"/>
                <a:gd name="connsiteY233" fmla="*/ 1848110 h 4515224"/>
                <a:gd name="connsiteX234" fmla="*/ 2935400 w 3216516"/>
                <a:gd name="connsiteY234" fmla="*/ 1860810 h 4515224"/>
                <a:gd name="connsiteX235" fmla="*/ 2922700 w 3216516"/>
                <a:gd name="connsiteY235" fmla="*/ 1879860 h 4515224"/>
                <a:gd name="connsiteX236" fmla="*/ 2910000 w 3216516"/>
                <a:gd name="connsiteY236" fmla="*/ 1975110 h 4515224"/>
                <a:gd name="connsiteX237" fmla="*/ 2903650 w 3216516"/>
                <a:gd name="connsiteY237" fmla="*/ 2000510 h 4515224"/>
                <a:gd name="connsiteX238" fmla="*/ 2878250 w 3216516"/>
                <a:gd name="connsiteY238" fmla="*/ 2044960 h 4515224"/>
                <a:gd name="connsiteX239" fmla="*/ 2871900 w 3216516"/>
                <a:gd name="connsiteY239" fmla="*/ 2095760 h 4515224"/>
                <a:gd name="connsiteX240" fmla="*/ 2865550 w 3216516"/>
                <a:gd name="connsiteY240" fmla="*/ 2121160 h 4515224"/>
                <a:gd name="connsiteX241" fmla="*/ 2808400 w 3216516"/>
                <a:gd name="connsiteY241" fmla="*/ 2171960 h 4515224"/>
                <a:gd name="connsiteX242" fmla="*/ 2795700 w 3216516"/>
                <a:gd name="connsiteY242" fmla="*/ 2235460 h 4515224"/>
                <a:gd name="connsiteX243" fmla="*/ 2789350 w 3216516"/>
                <a:gd name="connsiteY243" fmla="*/ 2305310 h 4515224"/>
                <a:gd name="connsiteX244" fmla="*/ 2770300 w 3216516"/>
                <a:gd name="connsiteY244" fmla="*/ 2318010 h 4515224"/>
                <a:gd name="connsiteX245" fmla="*/ 2719500 w 3216516"/>
                <a:gd name="connsiteY245" fmla="*/ 2356110 h 4515224"/>
                <a:gd name="connsiteX246" fmla="*/ 2681400 w 3216516"/>
                <a:gd name="connsiteY246" fmla="*/ 2387860 h 4515224"/>
                <a:gd name="connsiteX247" fmla="*/ 2656000 w 3216516"/>
                <a:gd name="connsiteY247" fmla="*/ 2425960 h 4515224"/>
                <a:gd name="connsiteX248" fmla="*/ 2617900 w 3216516"/>
                <a:gd name="connsiteY248" fmla="*/ 2438660 h 4515224"/>
                <a:gd name="connsiteX249" fmla="*/ 2579800 w 3216516"/>
                <a:gd name="connsiteY249" fmla="*/ 2464060 h 4515224"/>
                <a:gd name="connsiteX250" fmla="*/ 2573450 w 3216516"/>
                <a:gd name="connsiteY250" fmla="*/ 2483110 h 4515224"/>
                <a:gd name="connsiteX251" fmla="*/ 2560750 w 3216516"/>
                <a:gd name="connsiteY251" fmla="*/ 2533910 h 4515224"/>
                <a:gd name="connsiteX252" fmla="*/ 2554400 w 3216516"/>
                <a:gd name="connsiteY252" fmla="*/ 2572010 h 4515224"/>
                <a:gd name="connsiteX253" fmla="*/ 2529000 w 3216516"/>
                <a:gd name="connsiteY253" fmla="*/ 2597410 h 4515224"/>
                <a:gd name="connsiteX254" fmla="*/ 2497250 w 3216516"/>
                <a:gd name="connsiteY254" fmla="*/ 2635510 h 4515224"/>
                <a:gd name="connsiteX255" fmla="*/ 2459150 w 3216516"/>
                <a:gd name="connsiteY255" fmla="*/ 2673610 h 4515224"/>
                <a:gd name="connsiteX256" fmla="*/ 2440100 w 3216516"/>
                <a:gd name="connsiteY256" fmla="*/ 2711710 h 4515224"/>
                <a:gd name="connsiteX257" fmla="*/ 2427400 w 3216516"/>
                <a:gd name="connsiteY257" fmla="*/ 2730760 h 4515224"/>
                <a:gd name="connsiteX258" fmla="*/ 2414700 w 3216516"/>
                <a:gd name="connsiteY258" fmla="*/ 2832360 h 4515224"/>
                <a:gd name="connsiteX259" fmla="*/ 2408350 w 3216516"/>
                <a:gd name="connsiteY259" fmla="*/ 2857760 h 4515224"/>
                <a:gd name="connsiteX260" fmla="*/ 2389300 w 3216516"/>
                <a:gd name="connsiteY260" fmla="*/ 2883160 h 4515224"/>
                <a:gd name="connsiteX261" fmla="*/ 2382950 w 3216516"/>
                <a:gd name="connsiteY261" fmla="*/ 2927610 h 4515224"/>
                <a:gd name="connsiteX262" fmla="*/ 2357550 w 3216516"/>
                <a:gd name="connsiteY262" fmla="*/ 3029210 h 4515224"/>
                <a:gd name="connsiteX263" fmla="*/ 2344850 w 3216516"/>
                <a:gd name="connsiteY263" fmla="*/ 3048260 h 4515224"/>
                <a:gd name="connsiteX264" fmla="*/ 2325800 w 3216516"/>
                <a:gd name="connsiteY264" fmla="*/ 3054610 h 4515224"/>
                <a:gd name="connsiteX265" fmla="*/ 2306750 w 3216516"/>
                <a:gd name="connsiteY265" fmla="*/ 3067310 h 4515224"/>
                <a:gd name="connsiteX266" fmla="*/ 2287700 w 3216516"/>
                <a:gd name="connsiteY266" fmla="*/ 3105410 h 4515224"/>
                <a:gd name="connsiteX267" fmla="*/ 2268650 w 3216516"/>
                <a:gd name="connsiteY267" fmla="*/ 3124460 h 4515224"/>
                <a:gd name="connsiteX268" fmla="*/ 2255950 w 3216516"/>
                <a:gd name="connsiteY268" fmla="*/ 3143510 h 4515224"/>
                <a:gd name="connsiteX269" fmla="*/ 2236900 w 3216516"/>
                <a:gd name="connsiteY269" fmla="*/ 3181610 h 4515224"/>
                <a:gd name="connsiteX270" fmla="*/ 2192450 w 3216516"/>
                <a:gd name="connsiteY270" fmla="*/ 3200660 h 4515224"/>
                <a:gd name="connsiteX271" fmla="*/ 2135300 w 3216516"/>
                <a:gd name="connsiteY271" fmla="*/ 3232410 h 4515224"/>
                <a:gd name="connsiteX272" fmla="*/ 2109900 w 3216516"/>
                <a:gd name="connsiteY272" fmla="*/ 3251460 h 4515224"/>
                <a:gd name="connsiteX273" fmla="*/ 2090850 w 3216516"/>
                <a:gd name="connsiteY273" fmla="*/ 3257810 h 4515224"/>
                <a:gd name="connsiteX274" fmla="*/ 2071800 w 3216516"/>
                <a:gd name="connsiteY274" fmla="*/ 3276860 h 4515224"/>
                <a:gd name="connsiteX275" fmla="*/ 2052750 w 3216516"/>
                <a:gd name="connsiteY275" fmla="*/ 3359410 h 4515224"/>
                <a:gd name="connsiteX276" fmla="*/ 2046400 w 3216516"/>
                <a:gd name="connsiteY276" fmla="*/ 3416560 h 4515224"/>
                <a:gd name="connsiteX277" fmla="*/ 2021000 w 3216516"/>
                <a:gd name="connsiteY277" fmla="*/ 3448310 h 4515224"/>
                <a:gd name="connsiteX278" fmla="*/ 2014650 w 3216516"/>
                <a:gd name="connsiteY278" fmla="*/ 3480060 h 4515224"/>
                <a:gd name="connsiteX279" fmla="*/ 1982900 w 3216516"/>
                <a:gd name="connsiteY279" fmla="*/ 3518160 h 4515224"/>
                <a:gd name="connsiteX280" fmla="*/ 1963850 w 3216516"/>
                <a:gd name="connsiteY280" fmla="*/ 3530860 h 4515224"/>
                <a:gd name="connsiteX281" fmla="*/ 1925750 w 3216516"/>
                <a:gd name="connsiteY281" fmla="*/ 3537210 h 4515224"/>
                <a:gd name="connsiteX282" fmla="*/ 1913050 w 3216516"/>
                <a:gd name="connsiteY282" fmla="*/ 3607060 h 4515224"/>
                <a:gd name="connsiteX283" fmla="*/ 1881300 w 3216516"/>
                <a:gd name="connsiteY283" fmla="*/ 3664210 h 4515224"/>
                <a:gd name="connsiteX284" fmla="*/ 1849550 w 3216516"/>
                <a:gd name="connsiteY284" fmla="*/ 3695960 h 4515224"/>
                <a:gd name="connsiteX285" fmla="*/ 1830500 w 3216516"/>
                <a:gd name="connsiteY285" fmla="*/ 3740410 h 4515224"/>
                <a:gd name="connsiteX286" fmla="*/ 1817800 w 3216516"/>
                <a:gd name="connsiteY286" fmla="*/ 3759460 h 4515224"/>
                <a:gd name="connsiteX287" fmla="*/ 1811450 w 3216516"/>
                <a:gd name="connsiteY287" fmla="*/ 3778510 h 4515224"/>
                <a:gd name="connsiteX288" fmla="*/ 1792400 w 3216516"/>
                <a:gd name="connsiteY288" fmla="*/ 3797560 h 4515224"/>
                <a:gd name="connsiteX289" fmla="*/ 1754300 w 3216516"/>
                <a:gd name="connsiteY289" fmla="*/ 3842010 h 4515224"/>
                <a:gd name="connsiteX290" fmla="*/ 1735250 w 3216516"/>
                <a:gd name="connsiteY290" fmla="*/ 3880110 h 4515224"/>
                <a:gd name="connsiteX291" fmla="*/ 1697150 w 3216516"/>
                <a:gd name="connsiteY291" fmla="*/ 3892810 h 4515224"/>
                <a:gd name="connsiteX292" fmla="*/ 1678100 w 3216516"/>
                <a:gd name="connsiteY292" fmla="*/ 3911860 h 4515224"/>
                <a:gd name="connsiteX293" fmla="*/ 1633650 w 3216516"/>
                <a:gd name="connsiteY293" fmla="*/ 3924560 h 4515224"/>
                <a:gd name="connsiteX294" fmla="*/ 1614600 w 3216516"/>
                <a:gd name="connsiteY294" fmla="*/ 3937260 h 4515224"/>
                <a:gd name="connsiteX295" fmla="*/ 1563800 w 3216516"/>
                <a:gd name="connsiteY295" fmla="*/ 3930910 h 4515224"/>
                <a:gd name="connsiteX296" fmla="*/ 1525700 w 3216516"/>
                <a:gd name="connsiteY296" fmla="*/ 3899160 h 4515224"/>
                <a:gd name="connsiteX297" fmla="*/ 1500300 w 3216516"/>
                <a:gd name="connsiteY297" fmla="*/ 3892810 h 4515224"/>
                <a:gd name="connsiteX298" fmla="*/ 1443150 w 3216516"/>
                <a:gd name="connsiteY298" fmla="*/ 3911860 h 4515224"/>
                <a:gd name="connsiteX299" fmla="*/ 1405050 w 3216516"/>
                <a:gd name="connsiteY299" fmla="*/ 3924560 h 4515224"/>
                <a:gd name="connsiteX300" fmla="*/ 1360600 w 3216516"/>
                <a:gd name="connsiteY300" fmla="*/ 3969010 h 4515224"/>
                <a:gd name="connsiteX301" fmla="*/ 1322500 w 3216516"/>
                <a:gd name="connsiteY301" fmla="*/ 3994410 h 4515224"/>
                <a:gd name="connsiteX302" fmla="*/ 1309800 w 3216516"/>
                <a:gd name="connsiteY302" fmla="*/ 4013460 h 4515224"/>
                <a:gd name="connsiteX303" fmla="*/ 1290750 w 3216516"/>
                <a:gd name="connsiteY303" fmla="*/ 4051560 h 4515224"/>
                <a:gd name="connsiteX304" fmla="*/ 1271700 w 3216516"/>
                <a:gd name="connsiteY304" fmla="*/ 4064260 h 4515224"/>
                <a:gd name="connsiteX305" fmla="*/ 1239950 w 3216516"/>
                <a:gd name="connsiteY305" fmla="*/ 4102360 h 4515224"/>
                <a:gd name="connsiteX306" fmla="*/ 1220900 w 3216516"/>
                <a:gd name="connsiteY306" fmla="*/ 4115060 h 4515224"/>
                <a:gd name="connsiteX307" fmla="*/ 1195500 w 3216516"/>
                <a:gd name="connsiteY307" fmla="*/ 4153160 h 4515224"/>
                <a:gd name="connsiteX308" fmla="*/ 1163750 w 3216516"/>
                <a:gd name="connsiteY308" fmla="*/ 4184910 h 4515224"/>
                <a:gd name="connsiteX309" fmla="*/ 1151050 w 3216516"/>
                <a:gd name="connsiteY309" fmla="*/ 4203960 h 4515224"/>
                <a:gd name="connsiteX310" fmla="*/ 1100250 w 3216516"/>
                <a:gd name="connsiteY310" fmla="*/ 4235710 h 4515224"/>
                <a:gd name="connsiteX311" fmla="*/ 1055800 w 3216516"/>
                <a:gd name="connsiteY311" fmla="*/ 4261110 h 4515224"/>
                <a:gd name="connsiteX312" fmla="*/ 1011350 w 3216516"/>
                <a:gd name="connsiteY312" fmla="*/ 4286510 h 4515224"/>
                <a:gd name="connsiteX313" fmla="*/ 973250 w 3216516"/>
                <a:gd name="connsiteY313" fmla="*/ 4305560 h 4515224"/>
                <a:gd name="connsiteX314" fmla="*/ 954200 w 3216516"/>
                <a:gd name="connsiteY314" fmla="*/ 4318260 h 4515224"/>
                <a:gd name="connsiteX315" fmla="*/ 935150 w 3216516"/>
                <a:gd name="connsiteY315" fmla="*/ 4324610 h 4515224"/>
                <a:gd name="connsiteX316" fmla="*/ 897050 w 3216516"/>
                <a:gd name="connsiteY316" fmla="*/ 4350010 h 4515224"/>
                <a:gd name="connsiteX317" fmla="*/ 878000 w 3216516"/>
                <a:gd name="connsiteY317" fmla="*/ 4362710 h 4515224"/>
                <a:gd name="connsiteX318" fmla="*/ 852600 w 3216516"/>
                <a:gd name="connsiteY318" fmla="*/ 4381760 h 4515224"/>
                <a:gd name="connsiteX319" fmla="*/ 833550 w 3216516"/>
                <a:gd name="connsiteY319" fmla="*/ 4388110 h 4515224"/>
                <a:gd name="connsiteX320" fmla="*/ 776400 w 3216516"/>
                <a:gd name="connsiteY320" fmla="*/ 4426210 h 4515224"/>
                <a:gd name="connsiteX321" fmla="*/ 751000 w 3216516"/>
                <a:gd name="connsiteY321" fmla="*/ 4438910 h 4515224"/>
                <a:gd name="connsiteX322" fmla="*/ 731950 w 3216516"/>
                <a:gd name="connsiteY322" fmla="*/ 4457960 h 4515224"/>
                <a:gd name="connsiteX323" fmla="*/ 712900 w 3216516"/>
                <a:gd name="connsiteY323" fmla="*/ 4470660 h 4515224"/>
                <a:gd name="connsiteX324" fmla="*/ 681150 w 3216516"/>
                <a:gd name="connsiteY324" fmla="*/ 4515110 h 4515224"/>
                <a:gd name="connsiteX325" fmla="*/ 649400 w 3216516"/>
                <a:gd name="connsiteY325" fmla="*/ 4496060 h 4515224"/>
                <a:gd name="connsiteX326" fmla="*/ 617650 w 3216516"/>
                <a:gd name="connsiteY326" fmla="*/ 4457960 h 4515224"/>
                <a:gd name="connsiteX327" fmla="*/ 592250 w 3216516"/>
                <a:gd name="connsiteY327" fmla="*/ 4419860 h 4515224"/>
                <a:gd name="connsiteX328" fmla="*/ 579550 w 3216516"/>
                <a:gd name="connsiteY328" fmla="*/ 4400810 h 4515224"/>
                <a:gd name="connsiteX329" fmla="*/ 592250 w 3216516"/>
                <a:gd name="connsiteY329" fmla="*/ 4350010 h 4515224"/>
                <a:gd name="connsiteX330" fmla="*/ 573200 w 3216516"/>
                <a:gd name="connsiteY330" fmla="*/ 4292860 h 4515224"/>
                <a:gd name="connsiteX331" fmla="*/ 560500 w 3216516"/>
                <a:gd name="connsiteY331" fmla="*/ 4273810 h 4515224"/>
                <a:gd name="connsiteX332" fmla="*/ 535100 w 3216516"/>
                <a:gd name="connsiteY332" fmla="*/ 4242060 h 4515224"/>
                <a:gd name="connsiteX333" fmla="*/ 484300 w 3216516"/>
                <a:gd name="connsiteY333" fmla="*/ 4235710 h 4515224"/>
                <a:gd name="connsiteX334" fmla="*/ 465250 w 3216516"/>
                <a:gd name="connsiteY334" fmla="*/ 4229360 h 4515224"/>
                <a:gd name="connsiteX335" fmla="*/ 458900 w 3216516"/>
                <a:gd name="connsiteY335" fmla="*/ 4210310 h 4515224"/>
                <a:gd name="connsiteX336" fmla="*/ 433500 w 3216516"/>
                <a:gd name="connsiteY336" fmla="*/ 4165860 h 4515224"/>
                <a:gd name="connsiteX337" fmla="*/ 414450 w 3216516"/>
                <a:gd name="connsiteY337" fmla="*/ 4146810 h 4515224"/>
                <a:gd name="connsiteX338" fmla="*/ 370000 w 3216516"/>
                <a:gd name="connsiteY338" fmla="*/ 4115060 h 4515224"/>
                <a:gd name="connsiteX339" fmla="*/ 357300 w 3216516"/>
                <a:gd name="connsiteY339" fmla="*/ 4096010 h 4515224"/>
                <a:gd name="connsiteX340" fmla="*/ 350950 w 3216516"/>
                <a:gd name="connsiteY340" fmla="*/ 4076960 h 4515224"/>
                <a:gd name="connsiteX341" fmla="*/ 331900 w 3216516"/>
                <a:gd name="connsiteY341" fmla="*/ 4070610 h 4515224"/>
                <a:gd name="connsiteX342" fmla="*/ 300150 w 3216516"/>
                <a:gd name="connsiteY342" fmla="*/ 4096010 h 4515224"/>
                <a:gd name="connsiteX343" fmla="*/ 281100 w 3216516"/>
                <a:gd name="connsiteY343" fmla="*/ 4108710 h 4515224"/>
                <a:gd name="connsiteX344" fmla="*/ 262050 w 3216516"/>
                <a:gd name="connsiteY344" fmla="*/ 4127760 h 4515224"/>
                <a:gd name="connsiteX345" fmla="*/ 243000 w 3216516"/>
                <a:gd name="connsiteY345" fmla="*/ 4140460 h 4515224"/>
                <a:gd name="connsiteX346" fmla="*/ 204900 w 3216516"/>
                <a:gd name="connsiteY346" fmla="*/ 4178560 h 4515224"/>
                <a:gd name="connsiteX347" fmla="*/ 198550 w 3216516"/>
                <a:gd name="connsiteY347" fmla="*/ 4197610 h 4515224"/>
                <a:gd name="connsiteX348" fmla="*/ 192200 w 3216516"/>
                <a:gd name="connsiteY348" fmla="*/ 4242060 h 4515224"/>
                <a:gd name="connsiteX349" fmla="*/ 179500 w 3216516"/>
                <a:gd name="connsiteY349" fmla="*/ 4261110 h 4515224"/>
                <a:gd name="connsiteX350" fmla="*/ 173150 w 3216516"/>
                <a:gd name="connsiteY350" fmla="*/ 4280160 h 4515224"/>
                <a:gd name="connsiteX351" fmla="*/ 147750 w 3216516"/>
                <a:gd name="connsiteY351" fmla="*/ 4318260 h 4515224"/>
                <a:gd name="connsiteX352" fmla="*/ 77900 w 3216516"/>
                <a:gd name="connsiteY352" fmla="*/ 4280160 h 4515224"/>
                <a:gd name="connsiteX353" fmla="*/ 58850 w 3216516"/>
                <a:gd name="connsiteY353" fmla="*/ 4267460 h 4515224"/>
                <a:gd name="connsiteX354" fmla="*/ 20750 w 3216516"/>
                <a:gd name="connsiteY354" fmla="*/ 4235710 h 4515224"/>
                <a:gd name="connsiteX355" fmla="*/ 27100 w 3216516"/>
                <a:gd name="connsiteY355" fmla="*/ 4178560 h 4515224"/>
                <a:gd name="connsiteX356" fmla="*/ 33450 w 3216516"/>
                <a:gd name="connsiteY356" fmla="*/ 4127760 h 4515224"/>
                <a:gd name="connsiteX357" fmla="*/ 52500 w 3216516"/>
                <a:gd name="connsiteY357" fmla="*/ 4000760 h 4515224"/>
                <a:gd name="connsiteX358" fmla="*/ 46150 w 3216516"/>
                <a:gd name="connsiteY358" fmla="*/ 3873760 h 4515224"/>
                <a:gd name="connsiteX359" fmla="*/ 39800 w 3216516"/>
                <a:gd name="connsiteY359" fmla="*/ 3848360 h 4515224"/>
                <a:gd name="connsiteX360" fmla="*/ 33450 w 3216516"/>
                <a:gd name="connsiteY360" fmla="*/ 3759460 h 4515224"/>
                <a:gd name="connsiteX361" fmla="*/ 52500 w 3216516"/>
                <a:gd name="connsiteY361" fmla="*/ 3626110 h 4515224"/>
                <a:gd name="connsiteX362" fmla="*/ 122350 w 3216516"/>
                <a:gd name="connsiteY362" fmla="*/ 3607060 h 4515224"/>
                <a:gd name="connsiteX363" fmla="*/ 147750 w 3216516"/>
                <a:gd name="connsiteY363" fmla="*/ 3600710 h 4515224"/>
                <a:gd name="connsiteX364" fmla="*/ 192200 w 3216516"/>
                <a:gd name="connsiteY364" fmla="*/ 3575310 h 4515224"/>
                <a:gd name="connsiteX365" fmla="*/ 236650 w 3216516"/>
                <a:gd name="connsiteY365" fmla="*/ 3556260 h 4515224"/>
                <a:gd name="connsiteX366" fmla="*/ 274750 w 3216516"/>
                <a:gd name="connsiteY366" fmla="*/ 3530860 h 4515224"/>
                <a:gd name="connsiteX367" fmla="*/ 306500 w 3216516"/>
                <a:gd name="connsiteY367" fmla="*/ 3499110 h 4515224"/>
                <a:gd name="connsiteX368" fmla="*/ 319200 w 3216516"/>
                <a:gd name="connsiteY368" fmla="*/ 3480060 h 4515224"/>
                <a:gd name="connsiteX369" fmla="*/ 338250 w 3216516"/>
                <a:gd name="connsiteY369" fmla="*/ 3473710 h 4515224"/>
                <a:gd name="connsiteX370" fmla="*/ 363650 w 3216516"/>
                <a:gd name="connsiteY370" fmla="*/ 3461010 h 4515224"/>
                <a:gd name="connsiteX371" fmla="*/ 401750 w 3216516"/>
                <a:gd name="connsiteY371" fmla="*/ 3435610 h 4515224"/>
                <a:gd name="connsiteX372" fmla="*/ 414450 w 3216516"/>
                <a:gd name="connsiteY372" fmla="*/ 3397510 h 4515224"/>
                <a:gd name="connsiteX373" fmla="*/ 420800 w 3216516"/>
                <a:gd name="connsiteY373" fmla="*/ 3372110 h 4515224"/>
                <a:gd name="connsiteX374" fmla="*/ 439850 w 3216516"/>
                <a:gd name="connsiteY374" fmla="*/ 3346710 h 4515224"/>
                <a:gd name="connsiteX375" fmla="*/ 458900 w 3216516"/>
                <a:gd name="connsiteY375" fmla="*/ 3302260 h 4515224"/>
                <a:gd name="connsiteX376" fmla="*/ 503350 w 3216516"/>
                <a:gd name="connsiteY376" fmla="*/ 3308610 h 4515224"/>
                <a:gd name="connsiteX377" fmla="*/ 522400 w 3216516"/>
                <a:gd name="connsiteY377" fmla="*/ 3321310 h 4515224"/>
                <a:gd name="connsiteX378" fmla="*/ 541450 w 3216516"/>
                <a:gd name="connsiteY378" fmla="*/ 3340360 h 4515224"/>
                <a:gd name="connsiteX379" fmla="*/ 560500 w 3216516"/>
                <a:gd name="connsiteY379" fmla="*/ 3334010 h 4515224"/>
                <a:gd name="connsiteX380" fmla="*/ 579550 w 3216516"/>
                <a:gd name="connsiteY380" fmla="*/ 3321310 h 4515224"/>
                <a:gd name="connsiteX381" fmla="*/ 598600 w 3216516"/>
                <a:gd name="connsiteY381" fmla="*/ 3302260 h 4515224"/>
                <a:gd name="connsiteX382" fmla="*/ 630350 w 3216516"/>
                <a:gd name="connsiteY382" fmla="*/ 3295910 h 4515224"/>
                <a:gd name="connsiteX383" fmla="*/ 649400 w 3216516"/>
                <a:gd name="connsiteY383" fmla="*/ 3289560 h 4515224"/>
                <a:gd name="connsiteX384" fmla="*/ 820850 w 3216516"/>
                <a:gd name="connsiteY384" fmla="*/ 3238760 h 4515224"/>
                <a:gd name="connsiteX385" fmla="*/ 858950 w 3216516"/>
                <a:gd name="connsiteY385" fmla="*/ 3207010 h 4515224"/>
                <a:gd name="connsiteX386" fmla="*/ 846250 w 3216516"/>
                <a:gd name="connsiteY386" fmla="*/ 3187960 h 4515224"/>
                <a:gd name="connsiteX387" fmla="*/ 808150 w 3216516"/>
                <a:gd name="connsiteY387" fmla="*/ 3168910 h 4515224"/>
                <a:gd name="connsiteX388" fmla="*/ 820850 w 3216516"/>
                <a:gd name="connsiteY388" fmla="*/ 3092710 h 4515224"/>
                <a:gd name="connsiteX389" fmla="*/ 827200 w 3216516"/>
                <a:gd name="connsiteY389" fmla="*/ 3073660 h 4515224"/>
                <a:gd name="connsiteX390" fmla="*/ 814500 w 3216516"/>
                <a:gd name="connsiteY390" fmla="*/ 3003810 h 4515224"/>
                <a:gd name="connsiteX391" fmla="*/ 757350 w 3216516"/>
                <a:gd name="connsiteY391" fmla="*/ 2997460 h 4515224"/>
                <a:gd name="connsiteX392" fmla="*/ 668450 w 3216516"/>
                <a:gd name="connsiteY392" fmla="*/ 2978410 h 4515224"/>
                <a:gd name="connsiteX393" fmla="*/ 611300 w 3216516"/>
                <a:gd name="connsiteY393" fmla="*/ 2972060 h 4515224"/>
                <a:gd name="connsiteX394" fmla="*/ 573200 w 3216516"/>
                <a:gd name="connsiteY394" fmla="*/ 2953010 h 4515224"/>
                <a:gd name="connsiteX395" fmla="*/ 554150 w 3216516"/>
                <a:gd name="connsiteY395" fmla="*/ 2946660 h 4515224"/>
                <a:gd name="connsiteX396" fmla="*/ 516050 w 3216516"/>
                <a:gd name="connsiteY396" fmla="*/ 2914910 h 4515224"/>
                <a:gd name="connsiteX397" fmla="*/ 477950 w 3216516"/>
                <a:gd name="connsiteY397" fmla="*/ 2902210 h 4515224"/>
                <a:gd name="connsiteX398" fmla="*/ 458900 w 3216516"/>
                <a:gd name="connsiteY398" fmla="*/ 2889510 h 4515224"/>
                <a:gd name="connsiteX399" fmla="*/ 408100 w 3216516"/>
                <a:gd name="connsiteY399" fmla="*/ 2876810 h 4515224"/>
                <a:gd name="connsiteX400" fmla="*/ 389050 w 3216516"/>
                <a:gd name="connsiteY400" fmla="*/ 2870460 h 4515224"/>
                <a:gd name="connsiteX401" fmla="*/ 325550 w 3216516"/>
                <a:gd name="connsiteY401" fmla="*/ 2857760 h 4515224"/>
                <a:gd name="connsiteX402" fmla="*/ 300150 w 3216516"/>
                <a:gd name="connsiteY402" fmla="*/ 2845060 h 4515224"/>
                <a:gd name="connsiteX403" fmla="*/ 287450 w 3216516"/>
                <a:gd name="connsiteY403" fmla="*/ 2826010 h 4515224"/>
                <a:gd name="connsiteX404" fmla="*/ 243000 w 3216516"/>
                <a:gd name="connsiteY404" fmla="*/ 2768860 h 4515224"/>
                <a:gd name="connsiteX405" fmla="*/ 230300 w 3216516"/>
                <a:gd name="connsiteY405" fmla="*/ 2718060 h 4515224"/>
                <a:gd name="connsiteX406" fmla="*/ 223950 w 3216516"/>
                <a:gd name="connsiteY406" fmla="*/ 2699010 h 4515224"/>
                <a:gd name="connsiteX407" fmla="*/ 135050 w 3216516"/>
                <a:gd name="connsiteY407" fmla="*/ 2692660 h 4515224"/>
                <a:gd name="connsiteX408" fmla="*/ 84250 w 3216516"/>
                <a:gd name="connsiteY408" fmla="*/ 2679960 h 4515224"/>
                <a:gd name="connsiteX409" fmla="*/ 65200 w 3216516"/>
                <a:gd name="connsiteY409" fmla="*/ 2667260 h 4515224"/>
                <a:gd name="connsiteX410" fmla="*/ 1700 w 3216516"/>
                <a:gd name="connsiteY410" fmla="*/ 2660910 h 4515224"/>
                <a:gd name="connsiteX0" fmla="*/ 1700 w 3216516"/>
                <a:gd name="connsiteY0" fmla="*/ 2660910 h 4515224"/>
                <a:gd name="connsiteX1" fmla="*/ 20750 w 3216516"/>
                <a:gd name="connsiteY1" fmla="*/ 2603760 h 4515224"/>
                <a:gd name="connsiteX2" fmla="*/ 71550 w 3216516"/>
                <a:gd name="connsiteY2" fmla="*/ 2546610 h 4515224"/>
                <a:gd name="connsiteX3" fmla="*/ 90600 w 3216516"/>
                <a:gd name="connsiteY3" fmla="*/ 2527560 h 4515224"/>
                <a:gd name="connsiteX4" fmla="*/ 141400 w 3216516"/>
                <a:gd name="connsiteY4" fmla="*/ 2495810 h 4515224"/>
                <a:gd name="connsiteX5" fmla="*/ 179500 w 3216516"/>
                <a:gd name="connsiteY5" fmla="*/ 2457710 h 4515224"/>
                <a:gd name="connsiteX6" fmla="*/ 192200 w 3216516"/>
                <a:gd name="connsiteY6" fmla="*/ 2438660 h 4515224"/>
                <a:gd name="connsiteX7" fmla="*/ 211250 w 3216516"/>
                <a:gd name="connsiteY7" fmla="*/ 2432310 h 4515224"/>
                <a:gd name="connsiteX8" fmla="*/ 262050 w 3216516"/>
                <a:gd name="connsiteY8" fmla="*/ 2425960 h 4515224"/>
                <a:gd name="connsiteX9" fmla="*/ 319200 w 3216516"/>
                <a:gd name="connsiteY9" fmla="*/ 2381510 h 4515224"/>
                <a:gd name="connsiteX10" fmla="*/ 338250 w 3216516"/>
                <a:gd name="connsiteY10" fmla="*/ 2375160 h 4515224"/>
                <a:gd name="connsiteX11" fmla="*/ 363650 w 3216516"/>
                <a:gd name="connsiteY11" fmla="*/ 2381510 h 4515224"/>
                <a:gd name="connsiteX12" fmla="*/ 408100 w 3216516"/>
                <a:gd name="connsiteY12" fmla="*/ 2362460 h 4515224"/>
                <a:gd name="connsiteX13" fmla="*/ 427150 w 3216516"/>
                <a:gd name="connsiteY13" fmla="*/ 2343410 h 4515224"/>
                <a:gd name="connsiteX14" fmla="*/ 439850 w 3216516"/>
                <a:gd name="connsiteY14" fmla="*/ 2324360 h 4515224"/>
                <a:gd name="connsiteX15" fmla="*/ 458900 w 3216516"/>
                <a:gd name="connsiteY15" fmla="*/ 2279910 h 4515224"/>
                <a:gd name="connsiteX16" fmla="*/ 477950 w 3216516"/>
                <a:gd name="connsiteY16" fmla="*/ 2267210 h 4515224"/>
                <a:gd name="connsiteX17" fmla="*/ 497000 w 3216516"/>
                <a:gd name="connsiteY17" fmla="*/ 2248160 h 4515224"/>
                <a:gd name="connsiteX18" fmla="*/ 592250 w 3216516"/>
                <a:gd name="connsiteY18" fmla="*/ 2235460 h 4515224"/>
                <a:gd name="connsiteX19" fmla="*/ 611300 w 3216516"/>
                <a:gd name="connsiteY19" fmla="*/ 2222760 h 4515224"/>
                <a:gd name="connsiteX20" fmla="*/ 630350 w 3216516"/>
                <a:gd name="connsiteY20" fmla="*/ 2216410 h 4515224"/>
                <a:gd name="connsiteX21" fmla="*/ 636700 w 3216516"/>
                <a:gd name="connsiteY21" fmla="*/ 2197360 h 4515224"/>
                <a:gd name="connsiteX22" fmla="*/ 630350 w 3216516"/>
                <a:gd name="connsiteY22" fmla="*/ 2044960 h 4515224"/>
                <a:gd name="connsiteX23" fmla="*/ 611300 w 3216516"/>
                <a:gd name="connsiteY23" fmla="*/ 2025910 h 4515224"/>
                <a:gd name="connsiteX24" fmla="*/ 604950 w 3216516"/>
                <a:gd name="connsiteY24" fmla="*/ 2006860 h 4515224"/>
                <a:gd name="connsiteX25" fmla="*/ 611300 w 3216516"/>
                <a:gd name="connsiteY25" fmla="*/ 1892560 h 4515224"/>
                <a:gd name="connsiteX26" fmla="*/ 630350 w 3216516"/>
                <a:gd name="connsiteY26" fmla="*/ 1867160 h 4515224"/>
                <a:gd name="connsiteX27" fmla="*/ 662100 w 3216516"/>
                <a:gd name="connsiteY27" fmla="*/ 1829060 h 4515224"/>
                <a:gd name="connsiteX28" fmla="*/ 681150 w 3216516"/>
                <a:gd name="connsiteY28" fmla="*/ 1778260 h 4515224"/>
                <a:gd name="connsiteX29" fmla="*/ 700200 w 3216516"/>
                <a:gd name="connsiteY29" fmla="*/ 1765560 h 4515224"/>
                <a:gd name="connsiteX30" fmla="*/ 706550 w 3216516"/>
                <a:gd name="connsiteY30" fmla="*/ 1746510 h 4515224"/>
                <a:gd name="connsiteX31" fmla="*/ 687500 w 3216516"/>
                <a:gd name="connsiteY31" fmla="*/ 1683010 h 4515224"/>
                <a:gd name="connsiteX32" fmla="*/ 700200 w 3216516"/>
                <a:gd name="connsiteY32" fmla="*/ 1625860 h 4515224"/>
                <a:gd name="connsiteX33" fmla="*/ 706550 w 3216516"/>
                <a:gd name="connsiteY33" fmla="*/ 1606810 h 4515224"/>
                <a:gd name="connsiteX34" fmla="*/ 719250 w 3216516"/>
                <a:gd name="connsiteY34" fmla="*/ 1562360 h 4515224"/>
                <a:gd name="connsiteX35" fmla="*/ 693850 w 3216516"/>
                <a:gd name="connsiteY35" fmla="*/ 1492510 h 4515224"/>
                <a:gd name="connsiteX36" fmla="*/ 674800 w 3216516"/>
                <a:gd name="connsiteY36" fmla="*/ 1460760 h 4515224"/>
                <a:gd name="connsiteX37" fmla="*/ 674800 w 3216516"/>
                <a:gd name="connsiteY37" fmla="*/ 1384560 h 4515224"/>
                <a:gd name="connsiteX38" fmla="*/ 693850 w 3216516"/>
                <a:gd name="connsiteY38" fmla="*/ 1238510 h 4515224"/>
                <a:gd name="connsiteX39" fmla="*/ 712900 w 3216516"/>
                <a:gd name="connsiteY39" fmla="*/ 1155960 h 4515224"/>
                <a:gd name="connsiteX40" fmla="*/ 725600 w 3216516"/>
                <a:gd name="connsiteY40" fmla="*/ 1136910 h 4515224"/>
                <a:gd name="connsiteX41" fmla="*/ 731950 w 3216516"/>
                <a:gd name="connsiteY41" fmla="*/ 1117860 h 4515224"/>
                <a:gd name="connsiteX42" fmla="*/ 770050 w 3216516"/>
                <a:gd name="connsiteY42" fmla="*/ 1079760 h 4515224"/>
                <a:gd name="connsiteX43" fmla="*/ 789100 w 3216516"/>
                <a:gd name="connsiteY43" fmla="*/ 1060710 h 4515224"/>
                <a:gd name="connsiteX44" fmla="*/ 808150 w 3216516"/>
                <a:gd name="connsiteY44" fmla="*/ 1041660 h 4515224"/>
                <a:gd name="connsiteX45" fmla="*/ 827200 w 3216516"/>
                <a:gd name="connsiteY45" fmla="*/ 1016260 h 4515224"/>
                <a:gd name="connsiteX46" fmla="*/ 846250 w 3216516"/>
                <a:gd name="connsiteY46" fmla="*/ 1003560 h 4515224"/>
                <a:gd name="connsiteX47" fmla="*/ 865300 w 3216516"/>
                <a:gd name="connsiteY47" fmla="*/ 984510 h 4515224"/>
                <a:gd name="connsiteX48" fmla="*/ 884350 w 3216516"/>
                <a:gd name="connsiteY48" fmla="*/ 971810 h 4515224"/>
                <a:gd name="connsiteX49" fmla="*/ 903400 w 3216516"/>
                <a:gd name="connsiteY49" fmla="*/ 952760 h 4515224"/>
                <a:gd name="connsiteX50" fmla="*/ 954200 w 3216516"/>
                <a:gd name="connsiteY50" fmla="*/ 940060 h 4515224"/>
                <a:gd name="connsiteX51" fmla="*/ 979600 w 3216516"/>
                <a:gd name="connsiteY51" fmla="*/ 946410 h 4515224"/>
                <a:gd name="connsiteX52" fmla="*/ 1011350 w 3216516"/>
                <a:gd name="connsiteY52" fmla="*/ 971810 h 4515224"/>
                <a:gd name="connsiteX53" fmla="*/ 1049450 w 3216516"/>
                <a:gd name="connsiteY53" fmla="*/ 946410 h 4515224"/>
                <a:gd name="connsiteX54" fmla="*/ 1068500 w 3216516"/>
                <a:gd name="connsiteY54" fmla="*/ 933710 h 4515224"/>
                <a:gd name="connsiteX55" fmla="*/ 1087550 w 3216516"/>
                <a:gd name="connsiteY55" fmla="*/ 914660 h 4515224"/>
                <a:gd name="connsiteX56" fmla="*/ 1125650 w 3216516"/>
                <a:gd name="connsiteY56" fmla="*/ 901960 h 4515224"/>
                <a:gd name="connsiteX57" fmla="*/ 1144700 w 3216516"/>
                <a:gd name="connsiteY57" fmla="*/ 895610 h 4515224"/>
                <a:gd name="connsiteX58" fmla="*/ 1163750 w 3216516"/>
                <a:gd name="connsiteY58" fmla="*/ 882910 h 4515224"/>
                <a:gd name="connsiteX59" fmla="*/ 1214550 w 3216516"/>
                <a:gd name="connsiteY59" fmla="*/ 870210 h 4515224"/>
                <a:gd name="connsiteX60" fmla="*/ 1227250 w 3216516"/>
                <a:gd name="connsiteY60" fmla="*/ 851160 h 4515224"/>
                <a:gd name="connsiteX61" fmla="*/ 1227250 w 3216516"/>
                <a:gd name="connsiteY61" fmla="*/ 711460 h 4515224"/>
                <a:gd name="connsiteX62" fmla="*/ 1220900 w 3216516"/>
                <a:gd name="connsiteY62" fmla="*/ 603510 h 4515224"/>
                <a:gd name="connsiteX63" fmla="*/ 1208200 w 3216516"/>
                <a:gd name="connsiteY63" fmla="*/ 584460 h 4515224"/>
                <a:gd name="connsiteX64" fmla="*/ 1195500 w 3216516"/>
                <a:gd name="connsiteY64" fmla="*/ 546360 h 4515224"/>
                <a:gd name="connsiteX65" fmla="*/ 1163750 w 3216516"/>
                <a:gd name="connsiteY65" fmla="*/ 520960 h 4515224"/>
                <a:gd name="connsiteX66" fmla="*/ 1132000 w 3216516"/>
                <a:gd name="connsiteY66" fmla="*/ 501910 h 4515224"/>
                <a:gd name="connsiteX67" fmla="*/ 1093900 w 3216516"/>
                <a:gd name="connsiteY67" fmla="*/ 463810 h 4515224"/>
                <a:gd name="connsiteX68" fmla="*/ 1087550 w 3216516"/>
                <a:gd name="connsiteY68" fmla="*/ 438410 h 4515224"/>
                <a:gd name="connsiteX69" fmla="*/ 1036750 w 3216516"/>
                <a:gd name="connsiteY69" fmla="*/ 400310 h 4515224"/>
                <a:gd name="connsiteX70" fmla="*/ 998650 w 3216516"/>
                <a:gd name="connsiteY70" fmla="*/ 387610 h 4515224"/>
                <a:gd name="connsiteX71" fmla="*/ 992300 w 3216516"/>
                <a:gd name="connsiteY71" fmla="*/ 298710 h 4515224"/>
                <a:gd name="connsiteX72" fmla="*/ 979600 w 3216516"/>
                <a:gd name="connsiteY72" fmla="*/ 279660 h 4515224"/>
                <a:gd name="connsiteX73" fmla="*/ 941500 w 3216516"/>
                <a:gd name="connsiteY73" fmla="*/ 235210 h 4515224"/>
                <a:gd name="connsiteX74" fmla="*/ 935150 w 3216516"/>
                <a:gd name="connsiteY74" fmla="*/ 184410 h 4515224"/>
                <a:gd name="connsiteX75" fmla="*/ 928800 w 3216516"/>
                <a:gd name="connsiteY75" fmla="*/ 165360 h 4515224"/>
                <a:gd name="connsiteX76" fmla="*/ 909750 w 3216516"/>
                <a:gd name="connsiteY76" fmla="*/ 152660 h 4515224"/>
                <a:gd name="connsiteX77" fmla="*/ 897050 w 3216516"/>
                <a:gd name="connsiteY77" fmla="*/ 133610 h 4515224"/>
                <a:gd name="connsiteX78" fmla="*/ 941500 w 3216516"/>
                <a:gd name="connsiteY78" fmla="*/ 70110 h 4515224"/>
                <a:gd name="connsiteX79" fmla="*/ 960550 w 3216516"/>
                <a:gd name="connsiteY79" fmla="*/ 51060 h 4515224"/>
                <a:gd name="connsiteX80" fmla="*/ 1005000 w 3216516"/>
                <a:gd name="connsiteY80" fmla="*/ 38360 h 4515224"/>
                <a:gd name="connsiteX81" fmla="*/ 1024050 w 3216516"/>
                <a:gd name="connsiteY81" fmla="*/ 127260 h 4515224"/>
                <a:gd name="connsiteX82" fmla="*/ 1043100 w 3216516"/>
                <a:gd name="connsiteY82" fmla="*/ 146310 h 4515224"/>
                <a:gd name="connsiteX83" fmla="*/ 1081200 w 3216516"/>
                <a:gd name="connsiteY83" fmla="*/ 171710 h 4515224"/>
                <a:gd name="connsiteX84" fmla="*/ 1087550 w 3216516"/>
                <a:gd name="connsiteY84" fmla="*/ 190760 h 4515224"/>
                <a:gd name="connsiteX85" fmla="*/ 1195500 w 3216516"/>
                <a:gd name="connsiteY85" fmla="*/ 184410 h 4515224"/>
                <a:gd name="connsiteX86" fmla="*/ 1214550 w 3216516"/>
                <a:gd name="connsiteY86" fmla="*/ 165360 h 4515224"/>
                <a:gd name="connsiteX87" fmla="*/ 1259000 w 3216516"/>
                <a:gd name="connsiteY87" fmla="*/ 120910 h 4515224"/>
                <a:gd name="connsiteX88" fmla="*/ 1303450 w 3216516"/>
                <a:gd name="connsiteY88" fmla="*/ 127260 h 4515224"/>
                <a:gd name="connsiteX89" fmla="*/ 1322500 w 3216516"/>
                <a:gd name="connsiteY89" fmla="*/ 133610 h 4515224"/>
                <a:gd name="connsiteX90" fmla="*/ 1316150 w 3216516"/>
                <a:gd name="connsiteY90" fmla="*/ 165360 h 4515224"/>
                <a:gd name="connsiteX91" fmla="*/ 1303450 w 3216516"/>
                <a:gd name="connsiteY91" fmla="*/ 203460 h 4515224"/>
                <a:gd name="connsiteX92" fmla="*/ 1328850 w 3216516"/>
                <a:gd name="connsiteY92" fmla="*/ 260610 h 4515224"/>
                <a:gd name="connsiteX93" fmla="*/ 1366950 w 3216516"/>
                <a:gd name="connsiteY93" fmla="*/ 254260 h 4515224"/>
                <a:gd name="connsiteX94" fmla="*/ 1449500 w 3216516"/>
                <a:gd name="connsiteY94" fmla="*/ 235210 h 4515224"/>
                <a:gd name="connsiteX95" fmla="*/ 1474900 w 3216516"/>
                <a:gd name="connsiteY95" fmla="*/ 241560 h 4515224"/>
                <a:gd name="connsiteX96" fmla="*/ 1487600 w 3216516"/>
                <a:gd name="connsiteY96" fmla="*/ 279660 h 4515224"/>
                <a:gd name="connsiteX97" fmla="*/ 1474900 w 3216516"/>
                <a:gd name="connsiteY97" fmla="*/ 305060 h 4515224"/>
                <a:gd name="connsiteX98" fmla="*/ 1468550 w 3216516"/>
                <a:gd name="connsiteY98" fmla="*/ 324110 h 4515224"/>
                <a:gd name="connsiteX99" fmla="*/ 1449500 w 3216516"/>
                <a:gd name="connsiteY99" fmla="*/ 336810 h 4515224"/>
                <a:gd name="connsiteX100" fmla="*/ 1462200 w 3216516"/>
                <a:gd name="connsiteY100" fmla="*/ 393960 h 4515224"/>
                <a:gd name="connsiteX101" fmla="*/ 1468550 w 3216516"/>
                <a:gd name="connsiteY101" fmla="*/ 413010 h 4515224"/>
                <a:gd name="connsiteX102" fmla="*/ 1481250 w 3216516"/>
                <a:gd name="connsiteY102" fmla="*/ 438410 h 4515224"/>
                <a:gd name="connsiteX103" fmla="*/ 1455850 w 3216516"/>
                <a:gd name="connsiteY103" fmla="*/ 476510 h 4515224"/>
                <a:gd name="connsiteX104" fmla="*/ 1443150 w 3216516"/>
                <a:gd name="connsiteY104" fmla="*/ 495560 h 4515224"/>
                <a:gd name="connsiteX105" fmla="*/ 1455850 w 3216516"/>
                <a:gd name="connsiteY105" fmla="*/ 546360 h 4515224"/>
                <a:gd name="connsiteX106" fmla="*/ 1443150 w 3216516"/>
                <a:gd name="connsiteY106" fmla="*/ 609860 h 4515224"/>
                <a:gd name="connsiteX107" fmla="*/ 1430450 w 3216516"/>
                <a:gd name="connsiteY107" fmla="*/ 730510 h 4515224"/>
                <a:gd name="connsiteX108" fmla="*/ 1424100 w 3216516"/>
                <a:gd name="connsiteY108" fmla="*/ 749560 h 4515224"/>
                <a:gd name="connsiteX109" fmla="*/ 1398700 w 3216516"/>
                <a:gd name="connsiteY109" fmla="*/ 787660 h 4515224"/>
                <a:gd name="connsiteX110" fmla="*/ 1354250 w 3216516"/>
                <a:gd name="connsiteY110" fmla="*/ 832110 h 4515224"/>
                <a:gd name="connsiteX111" fmla="*/ 1341550 w 3216516"/>
                <a:gd name="connsiteY111" fmla="*/ 889260 h 4515224"/>
                <a:gd name="connsiteX112" fmla="*/ 1328850 w 3216516"/>
                <a:gd name="connsiteY112" fmla="*/ 927360 h 4515224"/>
                <a:gd name="connsiteX113" fmla="*/ 1316150 w 3216516"/>
                <a:gd name="connsiteY113" fmla="*/ 946410 h 4515224"/>
                <a:gd name="connsiteX114" fmla="*/ 1322500 w 3216516"/>
                <a:gd name="connsiteY114" fmla="*/ 965460 h 4515224"/>
                <a:gd name="connsiteX115" fmla="*/ 1328850 w 3216516"/>
                <a:gd name="connsiteY115" fmla="*/ 1048010 h 4515224"/>
                <a:gd name="connsiteX116" fmla="*/ 1347900 w 3216516"/>
                <a:gd name="connsiteY116" fmla="*/ 1041660 h 4515224"/>
                <a:gd name="connsiteX117" fmla="*/ 1379650 w 3216516"/>
                <a:gd name="connsiteY117" fmla="*/ 1003560 h 4515224"/>
                <a:gd name="connsiteX118" fmla="*/ 1392350 w 3216516"/>
                <a:gd name="connsiteY118" fmla="*/ 984510 h 4515224"/>
                <a:gd name="connsiteX119" fmla="*/ 1449500 w 3216516"/>
                <a:gd name="connsiteY119" fmla="*/ 971810 h 4515224"/>
                <a:gd name="connsiteX120" fmla="*/ 1481250 w 3216516"/>
                <a:gd name="connsiteY120" fmla="*/ 952760 h 4515224"/>
                <a:gd name="connsiteX121" fmla="*/ 1487600 w 3216516"/>
                <a:gd name="connsiteY121" fmla="*/ 927360 h 4515224"/>
                <a:gd name="connsiteX122" fmla="*/ 1500300 w 3216516"/>
                <a:gd name="connsiteY122" fmla="*/ 889260 h 4515224"/>
                <a:gd name="connsiteX123" fmla="*/ 1500300 w 3216516"/>
                <a:gd name="connsiteY123" fmla="*/ 889260 h 4515224"/>
                <a:gd name="connsiteX124" fmla="*/ 1532050 w 3216516"/>
                <a:gd name="connsiteY124" fmla="*/ 851160 h 4515224"/>
                <a:gd name="connsiteX125" fmla="*/ 1551100 w 3216516"/>
                <a:gd name="connsiteY125" fmla="*/ 832110 h 4515224"/>
                <a:gd name="connsiteX126" fmla="*/ 1589200 w 3216516"/>
                <a:gd name="connsiteY126" fmla="*/ 762260 h 4515224"/>
                <a:gd name="connsiteX127" fmla="*/ 1652700 w 3216516"/>
                <a:gd name="connsiteY127" fmla="*/ 774960 h 4515224"/>
                <a:gd name="connsiteX128" fmla="*/ 1684450 w 3216516"/>
                <a:gd name="connsiteY128" fmla="*/ 781310 h 4515224"/>
                <a:gd name="connsiteX129" fmla="*/ 1767000 w 3216516"/>
                <a:gd name="connsiteY129" fmla="*/ 800360 h 4515224"/>
                <a:gd name="connsiteX130" fmla="*/ 1779700 w 3216516"/>
                <a:gd name="connsiteY130" fmla="*/ 781310 h 4515224"/>
                <a:gd name="connsiteX131" fmla="*/ 1747950 w 3216516"/>
                <a:gd name="connsiteY131" fmla="*/ 743210 h 4515224"/>
                <a:gd name="connsiteX132" fmla="*/ 1728900 w 3216516"/>
                <a:gd name="connsiteY132" fmla="*/ 730510 h 4515224"/>
                <a:gd name="connsiteX133" fmla="*/ 1716200 w 3216516"/>
                <a:gd name="connsiteY133" fmla="*/ 705110 h 4515224"/>
                <a:gd name="connsiteX134" fmla="*/ 1741600 w 3216516"/>
                <a:gd name="connsiteY134" fmla="*/ 660660 h 4515224"/>
                <a:gd name="connsiteX135" fmla="*/ 1760650 w 3216516"/>
                <a:gd name="connsiteY135" fmla="*/ 616210 h 4515224"/>
                <a:gd name="connsiteX136" fmla="*/ 1786050 w 3216516"/>
                <a:gd name="connsiteY136" fmla="*/ 559060 h 4515224"/>
                <a:gd name="connsiteX137" fmla="*/ 1792400 w 3216516"/>
                <a:gd name="connsiteY137" fmla="*/ 501910 h 4515224"/>
                <a:gd name="connsiteX138" fmla="*/ 1798750 w 3216516"/>
                <a:gd name="connsiteY138" fmla="*/ 482860 h 4515224"/>
                <a:gd name="connsiteX139" fmla="*/ 1779700 w 3216516"/>
                <a:gd name="connsiteY139" fmla="*/ 400310 h 4515224"/>
                <a:gd name="connsiteX140" fmla="*/ 1760650 w 3216516"/>
                <a:gd name="connsiteY140" fmla="*/ 349510 h 4515224"/>
                <a:gd name="connsiteX141" fmla="*/ 1741600 w 3216516"/>
                <a:gd name="connsiteY141" fmla="*/ 343160 h 4515224"/>
                <a:gd name="connsiteX142" fmla="*/ 1741600 w 3216516"/>
                <a:gd name="connsiteY142" fmla="*/ 298710 h 4515224"/>
                <a:gd name="connsiteX143" fmla="*/ 1773350 w 3216516"/>
                <a:gd name="connsiteY143" fmla="*/ 241560 h 4515224"/>
                <a:gd name="connsiteX144" fmla="*/ 1792400 w 3216516"/>
                <a:gd name="connsiteY144" fmla="*/ 235210 h 4515224"/>
                <a:gd name="connsiteX145" fmla="*/ 1817800 w 3216516"/>
                <a:gd name="connsiteY145" fmla="*/ 241560 h 4515224"/>
                <a:gd name="connsiteX146" fmla="*/ 1843200 w 3216516"/>
                <a:gd name="connsiteY146" fmla="*/ 279660 h 4515224"/>
                <a:gd name="connsiteX147" fmla="*/ 1874950 w 3216516"/>
                <a:gd name="connsiteY147" fmla="*/ 317760 h 4515224"/>
                <a:gd name="connsiteX148" fmla="*/ 1894000 w 3216516"/>
                <a:gd name="connsiteY148" fmla="*/ 324110 h 4515224"/>
                <a:gd name="connsiteX149" fmla="*/ 1919400 w 3216516"/>
                <a:gd name="connsiteY149" fmla="*/ 317760 h 4515224"/>
                <a:gd name="connsiteX150" fmla="*/ 1938450 w 3216516"/>
                <a:gd name="connsiteY150" fmla="*/ 305060 h 4515224"/>
                <a:gd name="connsiteX151" fmla="*/ 2027350 w 3216516"/>
                <a:gd name="connsiteY151" fmla="*/ 298710 h 4515224"/>
                <a:gd name="connsiteX152" fmla="*/ 2033700 w 3216516"/>
                <a:gd name="connsiteY152" fmla="*/ 279660 h 4515224"/>
                <a:gd name="connsiteX153" fmla="*/ 2052750 w 3216516"/>
                <a:gd name="connsiteY153" fmla="*/ 273310 h 4515224"/>
                <a:gd name="connsiteX154" fmla="*/ 2122600 w 3216516"/>
                <a:gd name="connsiteY154" fmla="*/ 266960 h 4515224"/>
                <a:gd name="connsiteX155" fmla="*/ 2154350 w 3216516"/>
                <a:gd name="connsiteY155" fmla="*/ 228860 h 4515224"/>
                <a:gd name="connsiteX156" fmla="*/ 2167050 w 3216516"/>
                <a:gd name="connsiteY156" fmla="*/ 190760 h 4515224"/>
                <a:gd name="connsiteX157" fmla="*/ 2192450 w 3216516"/>
                <a:gd name="connsiteY157" fmla="*/ 152660 h 4515224"/>
                <a:gd name="connsiteX158" fmla="*/ 2211500 w 3216516"/>
                <a:gd name="connsiteY158" fmla="*/ 114560 h 4515224"/>
                <a:gd name="connsiteX159" fmla="*/ 2230550 w 3216516"/>
                <a:gd name="connsiteY159" fmla="*/ 70110 h 4515224"/>
                <a:gd name="connsiteX160" fmla="*/ 2249600 w 3216516"/>
                <a:gd name="connsiteY160" fmla="*/ 51060 h 4515224"/>
                <a:gd name="connsiteX161" fmla="*/ 2262300 w 3216516"/>
                <a:gd name="connsiteY161" fmla="*/ 32010 h 4515224"/>
                <a:gd name="connsiteX162" fmla="*/ 2300400 w 3216516"/>
                <a:gd name="connsiteY162" fmla="*/ 12960 h 4515224"/>
                <a:gd name="connsiteX163" fmla="*/ 2319450 w 3216516"/>
                <a:gd name="connsiteY163" fmla="*/ 260 h 4515224"/>
                <a:gd name="connsiteX164" fmla="*/ 2446450 w 3216516"/>
                <a:gd name="connsiteY164" fmla="*/ 12960 h 4515224"/>
                <a:gd name="connsiteX165" fmla="*/ 2465500 w 3216516"/>
                <a:gd name="connsiteY165" fmla="*/ 25660 h 4515224"/>
                <a:gd name="connsiteX166" fmla="*/ 2484550 w 3216516"/>
                <a:gd name="connsiteY166" fmla="*/ 101860 h 4515224"/>
                <a:gd name="connsiteX167" fmla="*/ 2529000 w 3216516"/>
                <a:gd name="connsiteY167" fmla="*/ 133610 h 4515224"/>
                <a:gd name="connsiteX168" fmla="*/ 2560750 w 3216516"/>
                <a:gd name="connsiteY168" fmla="*/ 146310 h 4515224"/>
                <a:gd name="connsiteX169" fmla="*/ 2579800 w 3216516"/>
                <a:gd name="connsiteY169" fmla="*/ 324110 h 4515224"/>
                <a:gd name="connsiteX170" fmla="*/ 2592500 w 3216516"/>
                <a:gd name="connsiteY170" fmla="*/ 343160 h 4515224"/>
                <a:gd name="connsiteX171" fmla="*/ 2605200 w 3216516"/>
                <a:gd name="connsiteY171" fmla="*/ 381260 h 4515224"/>
                <a:gd name="connsiteX172" fmla="*/ 2579800 w 3216516"/>
                <a:gd name="connsiteY172" fmla="*/ 419360 h 4515224"/>
                <a:gd name="connsiteX173" fmla="*/ 2573450 w 3216516"/>
                <a:gd name="connsiteY173" fmla="*/ 482860 h 4515224"/>
                <a:gd name="connsiteX174" fmla="*/ 2560750 w 3216516"/>
                <a:gd name="connsiteY174" fmla="*/ 501910 h 4515224"/>
                <a:gd name="connsiteX175" fmla="*/ 2548050 w 3216516"/>
                <a:gd name="connsiteY175" fmla="*/ 578110 h 4515224"/>
                <a:gd name="connsiteX176" fmla="*/ 2529000 w 3216516"/>
                <a:gd name="connsiteY176" fmla="*/ 597160 h 4515224"/>
                <a:gd name="connsiteX177" fmla="*/ 2516300 w 3216516"/>
                <a:gd name="connsiteY177" fmla="*/ 616210 h 4515224"/>
                <a:gd name="connsiteX178" fmla="*/ 2529000 w 3216516"/>
                <a:gd name="connsiteY178" fmla="*/ 660660 h 4515224"/>
                <a:gd name="connsiteX179" fmla="*/ 2573450 w 3216516"/>
                <a:gd name="connsiteY179" fmla="*/ 686060 h 4515224"/>
                <a:gd name="connsiteX180" fmla="*/ 2605200 w 3216516"/>
                <a:gd name="connsiteY180" fmla="*/ 692410 h 4515224"/>
                <a:gd name="connsiteX181" fmla="*/ 2630600 w 3216516"/>
                <a:gd name="connsiteY181" fmla="*/ 705110 h 4515224"/>
                <a:gd name="connsiteX182" fmla="*/ 2649650 w 3216516"/>
                <a:gd name="connsiteY182" fmla="*/ 711460 h 4515224"/>
                <a:gd name="connsiteX183" fmla="*/ 2675050 w 3216516"/>
                <a:gd name="connsiteY183" fmla="*/ 724160 h 4515224"/>
                <a:gd name="connsiteX184" fmla="*/ 2668700 w 3216516"/>
                <a:gd name="connsiteY184" fmla="*/ 768610 h 4515224"/>
                <a:gd name="connsiteX185" fmla="*/ 2649650 w 3216516"/>
                <a:gd name="connsiteY185" fmla="*/ 787660 h 4515224"/>
                <a:gd name="connsiteX186" fmla="*/ 2636950 w 3216516"/>
                <a:gd name="connsiteY186" fmla="*/ 806710 h 4515224"/>
                <a:gd name="connsiteX187" fmla="*/ 2630600 w 3216516"/>
                <a:gd name="connsiteY187" fmla="*/ 838460 h 4515224"/>
                <a:gd name="connsiteX188" fmla="*/ 2624250 w 3216516"/>
                <a:gd name="connsiteY188" fmla="*/ 857510 h 4515224"/>
                <a:gd name="connsiteX189" fmla="*/ 2617900 w 3216516"/>
                <a:gd name="connsiteY189" fmla="*/ 882910 h 4515224"/>
                <a:gd name="connsiteX190" fmla="*/ 2636950 w 3216516"/>
                <a:gd name="connsiteY190" fmla="*/ 933710 h 4515224"/>
                <a:gd name="connsiteX191" fmla="*/ 2656000 w 3216516"/>
                <a:gd name="connsiteY191" fmla="*/ 927360 h 4515224"/>
                <a:gd name="connsiteX192" fmla="*/ 2662350 w 3216516"/>
                <a:gd name="connsiteY192" fmla="*/ 889260 h 4515224"/>
                <a:gd name="connsiteX193" fmla="*/ 2675050 w 3216516"/>
                <a:gd name="connsiteY193" fmla="*/ 819410 h 4515224"/>
                <a:gd name="connsiteX194" fmla="*/ 2687750 w 3216516"/>
                <a:gd name="connsiteY194" fmla="*/ 705110 h 4515224"/>
                <a:gd name="connsiteX195" fmla="*/ 2700450 w 3216516"/>
                <a:gd name="connsiteY195" fmla="*/ 686060 h 4515224"/>
                <a:gd name="connsiteX196" fmla="*/ 2706800 w 3216516"/>
                <a:gd name="connsiteY196" fmla="*/ 647960 h 4515224"/>
                <a:gd name="connsiteX197" fmla="*/ 2725850 w 3216516"/>
                <a:gd name="connsiteY197" fmla="*/ 660660 h 4515224"/>
                <a:gd name="connsiteX198" fmla="*/ 2763950 w 3216516"/>
                <a:gd name="connsiteY198" fmla="*/ 711460 h 4515224"/>
                <a:gd name="connsiteX199" fmla="*/ 2808400 w 3216516"/>
                <a:gd name="connsiteY199" fmla="*/ 743210 h 4515224"/>
                <a:gd name="connsiteX200" fmla="*/ 2833800 w 3216516"/>
                <a:gd name="connsiteY200" fmla="*/ 781310 h 4515224"/>
                <a:gd name="connsiteX201" fmla="*/ 2846500 w 3216516"/>
                <a:gd name="connsiteY201" fmla="*/ 800360 h 4515224"/>
                <a:gd name="connsiteX202" fmla="*/ 2871900 w 3216516"/>
                <a:gd name="connsiteY202" fmla="*/ 876560 h 4515224"/>
                <a:gd name="connsiteX203" fmla="*/ 2890950 w 3216516"/>
                <a:gd name="connsiteY203" fmla="*/ 895610 h 4515224"/>
                <a:gd name="connsiteX204" fmla="*/ 2916350 w 3216516"/>
                <a:gd name="connsiteY204" fmla="*/ 908310 h 4515224"/>
                <a:gd name="connsiteX205" fmla="*/ 2929050 w 3216516"/>
                <a:gd name="connsiteY205" fmla="*/ 927360 h 4515224"/>
                <a:gd name="connsiteX206" fmla="*/ 2948100 w 3216516"/>
                <a:gd name="connsiteY206" fmla="*/ 946410 h 4515224"/>
                <a:gd name="connsiteX207" fmla="*/ 2979850 w 3216516"/>
                <a:gd name="connsiteY207" fmla="*/ 1003560 h 4515224"/>
                <a:gd name="connsiteX208" fmla="*/ 2986200 w 3216516"/>
                <a:gd name="connsiteY208" fmla="*/ 1041660 h 4515224"/>
                <a:gd name="connsiteX209" fmla="*/ 2998900 w 3216516"/>
                <a:gd name="connsiteY209" fmla="*/ 1060710 h 4515224"/>
                <a:gd name="connsiteX210" fmla="*/ 3024300 w 3216516"/>
                <a:gd name="connsiteY210" fmla="*/ 1098810 h 4515224"/>
                <a:gd name="connsiteX211" fmla="*/ 3043350 w 3216516"/>
                <a:gd name="connsiteY211" fmla="*/ 1136910 h 4515224"/>
                <a:gd name="connsiteX212" fmla="*/ 3062400 w 3216516"/>
                <a:gd name="connsiteY212" fmla="*/ 1155960 h 4515224"/>
                <a:gd name="connsiteX213" fmla="*/ 3094150 w 3216516"/>
                <a:gd name="connsiteY213" fmla="*/ 1194060 h 4515224"/>
                <a:gd name="connsiteX214" fmla="*/ 3132250 w 3216516"/>
                <a:gd name="connsiteY214" fmla="*/ 1219460 h 4515224"/>
                <a:gd name="connsiteX215" fmla="*/ 3170350 w 3216516"/>
                <a:gd name="connsiteY215" fmla="*/ 1251210 h 4515224"/>
                <a:gd name="connsiteX216" fmla="*/ 3176700 w 3216516"/>
                <a:gd name="connsiteY216" fmla="*/ 1270260 h 4515224"/>
                <a:gd name="connsiteX217" fmla="*/ 3189400 w 3216516"/>
                <a:gd name="connsiteY217" fmla="*/ 1340110 h 4515224"/>
                <a:gd name="connsiteX218" fmla="*/ 3208450 w 3216516"/>
                <a:gd name="connsiteY218" fmla="*/ 1352810 h 4515224"/>
                <a:gd name="connsiteX219" fmla="*/ 3208450 w 3216516"/>
                <a:gd name="connsiteY219" fmla="*/ 1403610 h 4515224"/>
                <a:gd name="connsiteX220" fmla="*/ 3170350 w 3216516"/>
                <a:gd name="connsiteY220" fmla="*/ 1416310 h 4515224"/>
                <a:gd name="connsiteX221" fmla="*/ 3151300 w 3216516"/>
                <a:gd name="connsiteY221" fmla="*/ 1429010 h 4515224"/>
                <a:gd name="connsiteX222" fmla="*/ 3138600 w 3216516"/>
                <a:gd name="connsiteY222" fmla="*/ 1479810 h 4515224"/>
                <a:gd name="connsiteX223" fmla="*/ 3100500 w 3216516"/>
                <a:gd name="connsiteY223" fmla="*/ 1511560 h 4515224"/>
                <a:gd name="connsiteX224" fmla="*/ 3081450 w 3216516"/>
                <a:gd name="connsiteY224" fmla="*/ 1517910 h 4515224"/>
                <a:gd name="connsiteX225" fmla="*/ 3062400 w 3216516"/>
                <a:gd name="connsiteY225" fmla="*/ 1530610 h 4515224"/>
                <a:gd name="connsiteX226" fmla="*/ 3024300 w 3216516"/>
                <a:gd name="connsiteY226" fmla="*/ 1543310 h 4515224"/>
                <a:gd name="connsiteX227" fmla="*/ 2998900 w 3216516"/>
                <a:gd name="connsiteY227" fmla="*/ 1556010 h 4515224"/>
                <a:gd name="connsiteX228" fmla="*/ 2973500 w 3216516"/>
                <a:gd name="connsiteY228" fmla="*/ 1594110 h 4515224"/>
                <a:gd name="connsiteX229" fmla="*/ 2922700 w 3216516"/>
                <a:gd name="connsiteY229" fmla="*/ 1632210 h 4515224"/>
                <a:gd name="connsiteX230" fmla="*/ 2929050 w 3216516"/>
                <a:gd name="connsiteY230" fmla="*/ 1714760 h 4515224"/>
                <a:gd name="connsiteX231" fmla="*/ 2948100 w 3216516"/>
                <a:gd name="connsiteY231" fmla="*/ 1733810 h 4515224"/>
                <a:gd name="connsiteX232" fmla="*/ 2960800 w 3216516"/>
                <a:gd name="connsiteY232" fmla="*/ 1771910 h 4515224"/>
                <a:gd name="connsiteX233" fmla="*/ 2954450 w 3216516"/>
                <a:gd name="connsiteY233" fmla="*/ 1848110 h 4515224"/>
                <a:gd name="connsiteX234" fmla="*/ 2935400 w 3216516"/>
                <a:gd name="connsiteY234" fmla="*/ 1860810 h 4515224"/>
                <a:gd name="connsiteX235" fmla="*/ 2922700 w 3216516"/>
                <a:gd name="connsiteY235" fmla="*/ 1879860 h 4515224"/>
                <a:gd name="connsiteX236" fmla="*/ 2910000 w 3216516"/>
                <a:gd name="connsiteY236" fmla="*/ 1975110 h 4515224"/>
                <a:gd name="connsiteX237" fmla="*/ 2903650 w 3216516"/>
                <a:gd name="connsiteY237" fmla="*/ 2000510 h 4515224"/>
                <a:gd name="connsiteX238" fmla="*/ 2878250 w 3216516"/>
                <a:gd name="connsiteY238" fmla="*/ 2044960 h 4515224"/>
                <a:gd name="connsiteX239" fmla="*/ 2871900 w 3216516"/>
                <a:gd name="connsiteY239" fmla="*/ 2095760 h 4515224"/>
                <a:gd name="connsiteX240" fmla="*/ 2865550 w 3216516"/>
                <a:gd name="connsiteY240" fmla="*/ 2121160 h 4515224"/>
                <a:gd name="connsiteX241" fmla="*/ 2808400 w 3216516"/>
                <a:gd name="connsiteY241" fmla="*/ 2171960 h 4515224"/>
                <a:gd name="connsiteX242" fmla="*/ 2795700 w 3216516"/>
                <a:gd name="connsiteY242" fmla="*/ 2235460 h 4515224"/>
                <a:gd name="connsiteX243" fmla="*/ 2789350 w 3216516"/>
                <a:gd name="connsiteY243" fmla="*/ 2305310 h 4515224"/>
                <a:gd name="connsiteX244" fmla="*/ 2770300 w 3216516"/>
                <a:gd name="connsiteY244" fmla="*/ 2318010 h 4515224"/>
                <a:gd name="connsiteX245" fmla="*/ 2719500 w 3216516"/>
                <a:gd name="connsiteY245" fmla="*/ 2356110 h 4515224"/>
                <a:gd name="connsiteX246" fmla="*/ 2681400 w 3216516"/>
                <a:gd name="connsiteY246" fmla="*/ 2387860 h 4515224"/>
                <a:gd name="connsiteX247" fmla="*/ 2656000 w 3216516"/>
                <a:gd name="connsiteY247" fmla="*/ 2425960 h 4515224"/>
                <a:gd name="connsiteX248" fmla="*/ 2617900 w 3216516"/>
                <a:gd name="connsiteY248" fmla="*/ 2438660 h 4515224"/>
                <a:gd name="connsiteX249" fmla="*/ 2579800 w 3216516"/>
                <a:gd name="connsiteY249" fmla="*/ 2464060 h 4515224"/>
                <a:gd name="connsiteX250" fmla="*/ 2573450 w 3216516"/>
                <a:gd name="connsiteY250" fmla="*/ 2483110 h 4515224"/>
                <a:gd name="connsiteX251" fmla="*/ 2560750 w 3216516"/>
                <a:gd name="connsiteY251" fmla="*/ 2533910 h 4515224"/>
                <a:gd name="connsiteX252" fmla="*/ 2554400 w 3216516"/>
                <a:gd name="connsiteY252" fmla="*/ 2572010 h 4515224"/>
                <a:gd name="connsiteX253" fmla="*/ 2529000 w 3216516"/>
                <a:gd name="connsiteY253" fmla="*/ 2597410 h 4515224"/>
                <a:gd name="connsiteX254" fmla="*/ 2497250 w 3216516"/>
                <a:gd name="connsiteY254" fmla="*/ 2635510 h 4515224"/>
                <a:gd name="connsiteX255" fmla="*/ 2459150 w 3216516"/>
                <a:gd name="connsiteY255" fmla="*/ 2673610 h 4515224"/>
                <a:gd name="connsiteX256" fmla="*/ 2440100 w 3216516"/>
                <a:gd name="connsiteY256" fmla="*/ 2711710 h 4515224"/>
                <a:gd name="connsiteX257" fmla="*/ 2427400 w 3216516"/>
                <a:gd name="connsiteY257" fmla="*/ 2730760 h 4515224"/>
                <a:gd name="connsiteX258" fmla="*/ 2414700 w 3216516"/>
                <a:gd name="connsiteY258" fmla="*/ 2832360 h 4515224"/>
                <a:gd name="connsiteX259" fmla="*/ 2408350 w 3216516"/>
                <a:gd name="connsiteY259" fmla="*/ 2857760 h 4515224"/>
                <a:gd name="connsiteX260" fmla="*/ 2389300 w 3216516"/>
                <a:gd name="connsiteY260" fmla="*/ 2883160 h 4515224"/>
                <a:gd name="connsiteX261" fmla="*/ 2382950 w 3216516"/>
                <a:gd name="connsiteY261" fmla="*/ 2927610 h 4515224"/>
                <a:gd name="connsiteX262" fmla="*/ 2357550 w 3216516"/>
                <a:gd name="connsiteY262" fmla="*/ 3029210 h 4515224"/>
                <a:gd name="connsiteX263" fmla="*/ 2344850 w 3216516"/>
                <a:gd name="connsiteY263" fmla="*/ 3048260 h 4515224"/>
                <a:gd name="connsiteX264" fmla="*/ 2325800 w 3216516"/>
                <a:gd name="connsiteY264" fmla="*/ 3054610 h 4515224"/>
                <a:gd name="connsiteX265" fmla="*/ 2306750 w 3216516"/>
                <a:gd name="connsiteY265" fmla="*/ 3067310 h 4515224"/>
                <a:gd name="connsiteX266" fmla="*/ 2287700 w 3216516"/>
                <a:gd name="connsiteY266" fmla="*/ 3105410 h 4515224"/>
                <a:gd name="connsiteX267" fmla="*/ 2268650 w 3216516"/>
                <a:gd name="connsiteY267" fmla="*/ 3124460 h 4515224"/>
                <a:gd name="connsiteX268" fmla="*/ 2255950 w 3216516"/>
                <a:gd name="connsiteY268" fmla="*/ 3143510 h 4515224"/>
                <a:gd name="connsiteX269" fmla="*/ 2236900 w 3216516"/>
                <a:gd name="connsiteY269" fmla="*/ 3181610 h 4515224"/>
                <a:gd name="connsiteX270" fmla="*/ 2192450 w 3216516"/>
                <a:gd name="connsiteY270" fmla="*/ 3200660 h 4515224"/>
                <a:gd name="connsiteX271" fmla="*/ 2135300 w 3216516"/>
                <a:gd name="connsiteY271" fmla="*/ 3232410 h 4515224"/>
                <a:gd name="connsiteX272" fmla="*/ 2109900 w 3216516"/>
                <a:gd name="connsiteY272" fmla="*/ 3251460 h 4515224"/>
                <a:gd name="connsiteX273" fmla="*/ 2090850 w 3216516"/>
                <a:gd name="connsiteY273" fmla="*/ 3257810 h 4515224"/>
                <a:gd name="connsiteX274" fmla="*/ 2071800 w 3216516"/>
                <a:gd name="connsiteY274" fmla="*/ 3276860 h 4515224"/>
                <a:gd name="connsiteX275" fmla="*/ 2052750 w 3216516"/>
                <a:gd name="connsiteY275" fmla="*/ 3359410 h 4515224"/>
                <a:gd name="connsiteX276" fmla="*/ 2046400 w 3216516"/>
                <a:gd name="connsiteY276" fmla="*/ 3416560 h 4515224"/>
                <a:gd name="connsiteX277" fmla="*/ 2021000 w 3216516"/>
                <a:gd name="connsiteY277" fmla="*/ 3448310 h 4515224"/>
                <a:gd name="connsiteX278" fmla="*/ 2014650 w 3216516"/>
                <a:gd name="connsiteY278" fmla="*/ 3480060 h 4515224"/>
                <a:gd name="connsiteX279" fmla="*/ 1982900 w 3216516"/>
                <a:gd name="connsiteY279" fmla="*/ 3518160 h 4515224"/>
                <a:gd name="connsiteX280" fmla="*/ 1963850 w 3216516"/>
                <a:gd name="connsiteY280" fmla="*/ 3530860 h 4515224"/>
                <a:gd name="connsiteX281" fmla="*/ 1925750 w 3216516"/>
                <a:gd name="connsiteY281" fmla="*/ 3537210 h 4515224"/>
                <a:gd name="connsiteX282" fmla="*/ 1913050 w 3216516"/>
                <a:gd name="connsiteY282" fmla="*/ 3607060 h 4515224"/>
                <a:gd name="connsiteX283" fmla="*/ 1881300 w 3216516"/>
                <a:gd name="connsiteY283" fmla="*/ 3664210 h 4515224"/>
                <a:gd name="connsiteX284" fmla="*/ 1849550 w 3216516"/>
                <a:gd name="connsiteY284" fmla="*/ 3695960 h 4515224"/>
                <a:gd name="connsiteX285" fmla="*/ 1830500 w 3216516"/>
                <a:gd name="connsiteY285" fmla="*/ 3740410 h 4515224"/>
                <a:gd name="connsiteX286" fmla="*/ 1817800 w 3216516"/>
                <a:gd name="connsiteY286" fmla="*/ 3759460 h 4515224"/>
                <a:gd name="connsiteX287" fmla="*/ 1811450 w 3216516"/>
                <a:gd name="connsiteY287" fmla="*/ 3778510 h 4515224"/>
                <a:gd name="connsiteX288" fmla="*/ 1792400 w 3216516"/>
                <a:gd name="connsiteY288" fmla="*/ 3797560 h 4515224"/>
                <a:gd name="connsiteX289" fmla="*/ 1754300 w 3216516"/>
                <a:gd name="connsiteY289" fmla="*/ 3842010 h 4515224"/>
                <a:gd name="connsiteX290" fmla="*/ 1735250 w 3216516"/>
                <a:gd name="connsiteY290" fmla="*/ 3880110 h 4515224"/>
                <a:gd name="connsiteX291" fmla="*/ 1697150 w 3216516"/>
                <a:gd name="connsiteY291" fmla="*/ 3892810 h 4515224"/>
                <a:gd name="connsiteX292" fmla="*/ 1678100 w 3216516"/>
                <a:gd name="connsiteY292" fmla="*/ 3911860 h 4515224"/>
                <a:gd name="connsiteX293" fmla="*/ 1633650 w 3216516"/>
                <a:gd name="connsiteY293" fmla="*/ 3924560 h 4515224"/>
                <a:gd name="connsiteX294" fmla="*/ 1614600 w 3216516"/>
                <a:gd name="connsiteY294" fmla="*/ 3937260 h 4515224"/>
                <a:gd name="connsiteX295" fmla="*/ 1563800 w 3216516"/>
                <a:gd name="connsiteY295" fmla="*/ 3930910 h 4515224"/>
                <a:gd name="connsiteX296" fmla="*/ 1525700 w 3216516"/>
                <a:gd name="connsiteY296" fmla="*/ 3899160 h 4515224"/>
                <a:gd name="connsiteX297" fmla="*/ 1500300 w 3216516"/>
                <a:gd name="connsiteY297" fmla="*/ 3892810 h 4515224"/>
                <a:gd name="connsiteX298" fmla="*/ 1443150 w 3216516"/>
                <a:gd name="connsiteY298" fmla="*/ 3911860 h 4515224"/>
                <a:gd name="connsiteX299" fmla="*/ 1405050 w 3216516"/>
                <a:gd name="connsiteY299" fmla="*/ 3924560 h 4515224"/>
                <a:gd name="connsiteX300" fmla="*/ 1360600 w 3216516"/>
                <a:gd name="connsiteY300" fmla="*/ 3969010 h 4515224"/>
                <a:gd name="connsiteX301" fmla="*/ 1322500 w 3216516"/>
                <a:gd name="connsiteY301" fmla="*/ 3994410 h 4515224"/>
                <a:gd name="connsiteX302" fmla="*/ 1309800 w 3216516"/>
                <a:gd name="connsiteY302" fmla="*/ 4013460 h 4515224"/>
                <a:gd name="connsiteX303" fmla="*/ 1290750 w 3216516"/>
                <a:gd name="connsiteY303" fmla="*/ 4051560 h 4515224"/>
                <a:gd name="connsiteX304" fmla="*/ 1271700 w 3216516"/>
                <a:gd name="connsiteY304" fmla="*/ 4064260 h 4515224"/>
                <a:gd name="connsiteX305" fmla="*/ 1239950 w 3216516"/>
                <a:gd name="connsiteY305" fmla="*/ 4102360 h 4515224"/>
                <a:gd name="connsiteX306" fmla="*/ 1220900 w 3216516"/>
                <a:gd name="connsiteY306" fmla="*/ 4115060 h 4515224"/>
                <a:gd name="connsiteX307" fmla="*/ 1195500 w 3216516"/>
                <a:gd name="connsiteY307" fmla="*/ 4153160 h 4515224"/>
                <a:gd name="connsiteX308" fmla="*/ 1163750 w 3216516"/>
                <a:gd name="connsiteY308" fmla="*/ 4184910 h 4515224"/>
                <a:gd name="connsiteX309" fmla="*/ 1151050 w 3216516"/>
                <a:gd name="connsiteY309" fmla="*/ 4203960 h 4515224"/>
                <a:gd name="connsiteX310" fmla="*/ 1100250 w 3216516"/>
                <a:gd name="connsiteY310" fmla="*/ 4235710 h 4515224"/>
                <a:gd name="connsiteX311" fmla="*/ 1055800 w 3216516"/>
                <a:gd name="connsiteY311" fmla="*/ 4261110 h 4515224"/>
                <a:gd name="connsiteX312" fmla="*/ 1011350 w 3216516"/>
                <a:gd name="connsiteY312" fmla="*/ 4286510 h 4515224"/>
                <a:gd name="connsiteX313" fmla="*/ 973250 w 3216516"/>
                <a:gd name="connsiteY313" fmla="*/ 4305560 h 4515224"/>
                <a:gd name="connsiteX314" fmla="*/ 954200 w 3216516"/>
                <a:gd name="connsiteY314" fmla="*/ 4318260 h 4515224"/>
                <a:gd name="connsiteX315" fmla="*/ 935150 w 3216516"/>
                <a:gd name="connsiteY315" fmla="*/ 4324610 h 4515224"/>
                <a:gd name="connsiteX316" fmla="*/ 897050 w 3216516"/>
                <a:gd name="connsiteY316" fmla="*/ 4350010 h 4515224"/>
                <a:gd name="connsiteX317" fmla="*/ 878000 w 3216516"/>
                <a:gd name="connsiteY317" fmla="*/ 4362710 h 4515224"/>
                <a:gd name="connsiteX318" fmla="*/ 852600 w 3216516"/>
                <a:gd name="connsiteY318" fmla="*/ 4381760 h 4515224"/>
                <a:gd name="connsiteX319" fmla="*/ 833550 w 3216516"/>
                <a:gd name="connsiteY319" fmla="*/ 4388110 h 4515224"/>
                <a:gd name="connsiteX320" fmla="*/ 776400 w 3216516"/>
                <a:gd name="connsiteY320" fmla="*/ 4426210 h 4515224"/>
                <a:gd name="connsiteX321" fmla="*/ 751000 w 3216516"/>
                <a:gd name="connsiteY321" fmla="*/ 4438910 h 4515224"/>
                <a:gd name="connsiteX322" fmla="*/ 731950 w 3216516"/>
                <a:gd name="connsiteY322" fmla="*/ 4457960 h 4515224"/>
                <a:gd name="connsiteX323" fmla="*/ 712900 w 3216516"/>
                <a:gd name="connsiteY323" fmla="*/ 4470660 h 4515224"/>
                <a:gd name="connsiteX324" fmla="*/ 681150 w 3216516"/>
                <a:gd name="connsiteY324" fmla="*/ 4515110 h 4515224"/>
                <a:gd name="connsiteX325" fmla="*/ 649400 w 3216516"/>
                <a:gd name="connsiteY325" fmla="*/ 4496060 h 4515224"/>
                <a:gd name="connsiteX326" fmla="*/ 617650 w 3216516"/>
                <a:gd name="connsiteY326" fmla="*/ 4457960 h 4515224"/>
                <a:gd name="connsiteX327" fmla="*/ 592250 w 3216516"/>
                <a:gd name="connsiteY327" fmla="*/ 4419860 h 4515224"/>
                <a:gd name="connsiteX328" fmla="*/ 579550 w 3216516"/>
                <a:gd name="connsiteY328" fmla="*/ 4400810 h 4515224"/>
                <a:gd name="connsiteX329" fmla="*/ 592250 w 3216516"/>
                <a:gd name="connsiteY329" fmla="*/ 4350010 h 4515224"/>
                <a:gd name="connsiteX330" fmla="*/ 573200 w 3216516"/>
                <a:gd name="connsiteY330" fmla="*/ 4292860 h 4515224"/>
                <a:gd name="connsiteX331" fmla="*/ 560500 w 3216516"/>
                <a:gd name="connsiteY331" fmla="*/ 4273810 h 4515224"/>
                <a:gd name="connsiteX332" fmla="*/ 535100 w 3216516"/>
                <a:gd name="connsiteY332" fmla="*/ 4242060 h 4515224"/>
                <a:gd name="connsiteX333" fmla="*/ 484300 w 3216516"/>
                <a:gd name="connsiteY333" fmla="*/ 4235710 h 4515224"/>
                <a:gd name="connsiteX334" fmla="*/ 465250 w 3216516"/>
                <a:gd name="connsiteY334" fmla="*/ 4229360 h 4515224"/>
                <a:gd name="connsiteX335" fmla="*/ 458900 w 3216516"/>
                <a:gd name="connsiteY335" fmla="*/ 4210310 h 4515224"/>
                <a:gd name="connsiteX336" fmla="*/ 433500 w 3216516"/>
                <a:gd name="connsiteY336" fmla="*/ 4165860 h 4515224"/>
                <a:gd name="connsiteX337" fmla="*/ 414450 w 3216516"/>
                <a:gd name="connsiteY337" fmla="*/ 4146810 h 4515224"/>
                <a:gd name="connsiteX338" fmla="*/ 370000 w 3216516"/>
                <a:gd name="connsiteY338" fmla="*/ 4115060 h 4515224"/>
                <a:gd name="connsiteX339" fmla="*/ 357300 w 3216516"/>
                <a:gd name="connsiteY339" fmla="*/ 4096010 h 4515224"/>
                <a:gd name="connsiteX340" fmla="*/ 350950 w 3216516"/>
                <a:gd name="connsiteY340" fmla="*/ 4076960 h 4515224"/>
                <a:gd name="connsiteX341" fmla="*/ 331900 w 3216516"/>
                <a:gd name="connsiteY341" fmla="*/ 4070610 h 4515224"/>
                <a:gd name="connsiteX342" fmla="*/ 300150 w 3216516"/>
                <a:gd name="connsiteY342" fmla="*/ 4096010 h 4515224"/>
                <a:gd name="connsiteX343" fmla="*/ 281100 w 3216516"/>
                <a:gd name="connsiteY343" fmla="*/ 4108710 h 4515224"/>
                <a:gd name="connsiteX344" fmla="*/ 262050 w 3216516"/>
                <a:gd name="connsiteY344" fmla="*/ 4127760 h 4515224"/>
                <a:gd name="connsiteX345" fmla="*/ 243000 w 3216516"/>
                <a:gd name="connsiteY345" fmla="*/ 4140460 h 4515224"/>
                <a:gd name="connsiteX346" fmla="*/ 204900 w 3216516"/>
                <a:gd name="connsiteY346" fmla="*/ 4178560 h 4515224"/>
                <a:gd name="connsiteX347" fmla="*/ 198550 w 3216516"/>
                <a:gd name="connsiteY347" fmla="*/ 4197610 h 4515224"/>
                <a:gd name="connsiteX348" fmla="*/ 192200 w 3216516"/>
                <a:gd name="connsiteY348" fmla="*/ 4242060 h 4515224"/>
                <a:gd name="connsiteX349" fmla="*/ 179500 w 3216516"/>
                <a:gd name="connsiteY349" fmla="*/ 4261110 h 4515224"/>
                <a:gd name="connsiteX350" fmla="*/ 173150 w 3216516"/>
                <a:gd name="connsiteY350" fmla="*/ 4280160 h 4515224"/>
                <a:gd name="connsiteX351" fmla="*/ 147750 w 3216516"/>
                <a:gd name="connsiteY351" fmla="*/ 4318260 h 4515224"/>
                <a:gd name="connsiteX352" fmla="*/ 77900 w 3216516"/>
                <a:gd name="connsiteY352" fmla="*/ 4280160 h 4515224"/>
                <a:gd name="connsiteX353" fmla="*/ 58850 w 3216516"/>
                <a:gd name="connsiteY353" fmla="*/ 4267460 h 4515224"/>
                <a:gd name="connsiteX354" fmla="*/ 20750 w 3216516"/>
                <a:gd name="connsiteY354" fmla="*/ 4235710 h 4515224"/>
                <a:gd name="connsiteX355" fmla="*/ 27100 w 3216516"/>
                <a:gd name="connsiteY355" fmla="*/ 4178560 h 4515224"/>
                <a:gd name="connsiteX356" fmla="*/ 33450 w 3216516"/>
                <a:gd name="connsiteY356" fmla="*/ 4127760 h 4515224"/>
                <a:gd name="connsiteX357" fmla="*/ 52500 w 3216516"/>
                <a:gd name="connsiteY357" fmla="*/ 4000760 h 4515224"/>
                <a:gd name="connsiteX358" fmla="*/ 46150 w 3216516"/>
                <a:gd name="connsiteY358" fmla="*/ 3873760 h 4515224"/>
                <a:gd name="connsiteX359" fmla="*/ 39800 w 3216516"/>
                <a:gd name="connsiteY359" fmla="*/ 3848360 h 4515224"/>
                <a:gd name="connsiteX360" fmla="*/ 33450 w 3216516"/>
                <a:gd name="connsiteY360" fmla="*/ 3759460 h 4515224"/>
                <a:gd name="connsiteX361" fmla="*/ 52500 w 3216516"/>
                <a:gd name="connsiteY361" fmla="*/ 3626110 h 4515224"/>
                <a:gd name="connsiteX362" fmla="*/ 122350 w 3216516"/>
                <a:gd name="connsiteY362" fmla="*/ 3607060 h 4515224"/>
                <a:gd name="connsiteX363" fmla="*/ 147750 w 3216516"/>
                <a:gd name="connsiteY363" fmla="*/ 3600710 h 4515224"/>
                <a:gd name="connsiteX364" fmla="*/ 192200 w 3216516"/>
                <a:gd name="connsiteY364" fmla="*/ 3575310 h 4515224"/>
                <a:gd name="connsiteX365" fmla="*/ 236650 w 3216516"/>
                <a:gd name="connsiteY365" fmla="*/ 3556260 h 4515224"/>
                <a:gd name="connsiteX366" fmla="*/ 274750 w 3216516"/>
                <a:gd name="connsiteY366" fmla="*/ 3530860 h 4515224"/>
                <a:gd name="connsiteX367" fmla="*/ 306500 w 3216516"/>
                <a:gd name="connsiteY367" fmla="*/ 3499110 h 4515224"/>
                <a:gd name="connsiteX368" fmla="*/ 319200 w 3216516"/>
                <a:gd name="connsiteY368" fmla="*/ 3480060 h 4515224"/>
                <a:gd name="connsiteX369" fmla="*/ 338250 w 3216516"/>
                <a:gd name="connsiteY369" fmla="*/ 3473710 h 4515224"/>
                <a:gd name="connsiteX370" fmla="*/ 363650 w 3216516"/>
                <a:gd name="connsiteY370" fmla="*/ 3461010 h 4515224"/>
                <a:gd name="connsiteX371" fmla="*/ 401750 w 3216516"/>
                <a:gd name="connsiteY371" fmla="*/ 3435610 h 4515224"/>
                <a:gd name="connsiteX372" fmla="*/ 414450 w 3216516"/>
                <a:gd name="connsiteY372" fmla="*/ 3397510 h 4515224"/>
                <a:gd name="connsiteX373" fmla="*/ 420800 w 3216516"/>
                <a:gd name="connsiteY373" fmla="*/ 3372110 h 4515224"/>
                <a:gd name="connsiteX374" fmla="*/ 439850 w 3216516"/>
                <a:gd name="connsiteY374" fmla="*/ 3346710 h 4515224"/>
                <a:gd name="connsiteX375" fmla="*/ 458900 w 3216516"/>
                <a:gd name="connsiteY375" fmla="*/ 3302260 h 4515224"/>
                <a:gd name="connsiteX376" fmla="*/ 503350 w 3216516"/>
                <a:gd name="connsiteY376" fmla="*/ 3308610 h 4515224"/>
                <a:gd name="connsiteX377" fmla="*/ 522400 w 3216516"/>
                <a:gd name="connsiteY377" fmla="*/ 3321310 h 4515224"/>
                <a:gd name="connsiteX378" fmla="*/ 541450 w 3216516"/>
                <a:gd name="connsiteY378" fmla="*/ 3340360 h 4515224"/>
                <a:gd name="connsiteX379" fmla="*/ 560500 w 3216516"/>
                <a:gd name="connsiteY379" fmla="*/ 3334010 h 4515224"/>
                <a:gd name="connsiteX380" fmla="*/ 579550 w 3216516"/>
                <a:gd name="connsiteY380" fmla="*/ 3321310 h 4515224"/>
                <a:gd name="connsiteX381" fmla="*/ 598600 w 3216516"/>
                <a:gd name="connsiteY381" fmla="*/ 3302260 h 4515224"/>
                <a:gd name="connsiteX382" fmla="*/ 630350 w 3216516"/>
                <a:gd name="connsiteY382" fmla="*/ 3295910 h 4515224"/>
                <a:gd name="connsiteX383" fmla="*/ 649400 w 3216516"/>
                <a:gd name="connsiteY383" fmla="*/ 3289560 h 4515224"/>
                <a:gd name="connsiteX384" fmla="*/ 751000 w 3216516"/>
                <a:gd name="connsiteY384" fmla="*/ 3251460 h 4515224"/>
                <a:gd name="connsiteX385" fmla="*/ 858950 w 3216516"/>
                <a:gd name="connsiteY385" fmla="*/ 3207010 h 4515224"/>
                <a:gd name="connsiteX386" fmla="*/ 846250 w 3216516"/>
                <a:gd name="connsiteY386" fmla="*/ 3187960 h 4515224"/>
                <a:gd name="connsiteX387" fmla="*/ 808150 w 3216516"/>
                <a:gd name="connsiteY387" fmla="*/ 3168910 h 4515224"/>
                <a:gd name="connsiteX388" fmla="*/ 820850 w 3216516"/>
                <a:gd name="connsiteY388" fmla="*/ 3092710 h 4515224"/>
                <a:gd name="connsiteX389" fmla="*/ 827200 w 3216516"/>
                <a:gd name="connsiteY389" fmla="*/ 3073660 h 4515224"/>
                <a:gd name="connsiteX390" fmla="*/ 814500 w 3216516"/>
                <a:gd name="connsiteY390" fmla="*/ 3003810 h 4515224"/>
                <a:gd name="connsiteX391" fmla="*/ 757350 w 3216516"/>
                <a:gd name="connsiteY391" fmla="*/ 2997460 h 4515224"/>
                <a:gd name="connsiteX392" fmla="*/ 668450 w 3216516"/>
                <a:gd name="connsiteY392" fmla="*/ 2978410 h 4515224"/>
                <a:gd name="connsiteX393" fmla="*/ 611300 w 3216516"/>
                <a:gd name="connsiteY393" fmla="*/ 2972060 h 4515224"/>
                <a:gd name="connsiteX394" fmla="*/ 573200 w 3216516"/>
                <a:gd name="connsiteY394" fmla="*/ 2953010 h 4515224"/>
                <a:gd name="connsiteX395" fmla="*/ 554150 w 3216516"/>
                <a:gd name="connsiteY395" fmla="*/ 2946660 h 4515224"/>
                <a:gd name="connsiteX396" fmla="*/ 516050 w 3216516"/>
                <a:gd name="connsiteY396" fmla="*/ 2914910 h 4515224"/>
                <a:gd name="connsiteX397" fmla="*/ 477950 w 3216516"/>
                <a:gd name="connsiteY397" fmla="*/ 2902210 h 4515224"/>
                <a:gd name="connsiteX398" fmla="*/ 458900 w 3216516"/>
                <a:gd name="connsiteY398" fmla="*/ 2889510 h 4515224"/>
                <a:gd name="connsiteX399" fmla="*/ 408100 w 3216516"/>
                <a:gd name="connsiteY399" fmla="*/ 2876810 h 4515224"/>
                <a:gd name="connsiteX400" fmla="*/ 389050 w 3216516"/>
                <a:gd name="connsiteY400" fmla="*/ 2870460 h 4515224"/>
                <a:gd name="connsiteX401" fmla="*/ 325550 w 3216516"/>
                <a:gd name="connsiteY401" fmla="*/ 2857760 h 4515224"/>
                <a:gd name="connsiteX402" fmla="*/ 300150 w 3216516"/>
                <a:gd name="connsiteY402" fmla="*/ 2845060 h 4515224"/>
                <a:gd name="connsiteX403" fmla="*/ 287450 w 3216516"/>
                <a:gd name="connsiteY403" fmla="*/ 2826010 h 4515224"/>
                <a:gd name="connsiteX404" fmla="*/ 243000 w 3216516"/>
                <a:gd name="connsiteY404" fmla="*/ 2768860 h 4515224"/>
                <a:gd name="connsiteX405" fmla="*/ 230300 w 3216516"/>
                <a:gd name="connsiteY405" fmla="*/ 2718060 h 4515224"/>
                <a:gd name="connsiteX406" fmla="*/ 223950 w 3216516"/>
                <a:gd name="connsiteY406" fmla="*/ 2699010 h 4515224"/>
                <a:gd name="connsiteX407" fmla="*/ 135050 w 3216516"/>
                <a:gd name="connsiteY407" fmla="*/ 2692660 h 4515224"/>
                <a:gd name="connsiteX408" fmla="*/ 84250 w 3216516"/>
                <a:gd name="connsiteY408" fmla="*/ 2679960 h 4515224"/>
                <a:gd name="connsiteX409" fmla="*/ 65200 w 3216516"/>
                <a:gd name="connsiteY409" fmla="*/ 2667260 h 4515224"/>
                <a:gd name="connsiteX410" fmla="*/ 1700 w 3216516"/>
                <a:gd name="connsiteY410" fmla="*/ 2660910 h 4515224"/>
                <a:gd name="connsiteX0" fmla="*/ 1700 w 3216516"/>
                <a:gd name="connsiteY0" fmla="*/ 2660910 h 4515224"/>
                <a:gd name="connsiteX1" fmla="*/ 20750 w 3216516"/>
                <a:gd name="connsiteY1" fmla="*/ 2603760 h 4515224"/>
                <a:gd name="connsiteX2" fmla="*/ 71550 w 3216516"/>
                <a:gd name="connsiteY2" fmla="*/ 2546610 h 4515224"/>
                <a:gd name="connsiteX3" fmla="*/ 90600 w 3216516"/>
                <a:gd name="connsiteY3" fmla="*/ 2527560 h 4515224"/>
                <a:gd name="connsiteX4" fmla="*/ 141400 w 3216516"/>
                <a:gd name="connsiteY4" fmla="*/ 2495810 h 4515224"/>
                <a:gd name="connsiteX5" fmla="*/ 179500 w 3216516"/>
                <a:gd name="connsiteY5" fmla="*/ 2457710 h 4515224"/>
                <a:gd name="connsiteX6" fmla="*/ 192200 w 3216516"/>
                <a:gd name="connsiteY6" fmla="*/ 2438660 h 4515224"/>
                <a:gd name="connsiteX7" fmla="*/ 211250 w 3216516"/>
                <a:gd name="connsiteY7" fmla="*/ 2432310 h 4515224"/>
                <a:gd name="connsiteX8" fmla="*/ 262050 w 3216516"/>
                <a:gd name="connsiteY8" fmla="*/ 2425960 h 4515224"/>
                <a:gd name="connsiteX9" fmla="*/ 319200 w 3216516"/>
                <a:gd name="connsiteY9" fmla="*/ 2381510 h 4515224"/>
                <a:gd name="connsiteX10" fmla="*/ 338250 w 3216516"/>
                <a:gd name="connsiteY10" fmla="*/ 2375160 h 4515224"/>
                <a:gd name="connsiteX11" fmla="*/ 363650 w 3216516"/>
                <a:gd name="connsiteY11" fmla="*/ 2381510 h 4515224"/>
                <a:gd name="connsiteX12" fmla="*/ 408100 w 3216516"/>
                <a:gd name="connsiteY12" fmla="*/ 2362460 h 4515224"/>
                <a:gd name="connsiteX13" fmla="*/ 427150 w 3216516"/>
                <a:gd name="connsiteY13" fmla="*/ 2343410 h 4515224"/>
                <a:gd name="connsiteX14" fmla="*/ 439850 w 3216516"/>
                <a:gd name="connsiteY14" fmla="*/ 2324360 h 4515224"/>
                <a:gd name="connsiteX15" fmla="*/ 458900 w 3216516"/>
                <a:gd name="connsiteY15" fmla="*/ 2279910 h 4515224"/>
                <a:gd name="connsiteX16" fmla="*/ 477950 w 3216516"/>
                <a:gd name="connsiteY16" fmla="*/ 2267210 h 4515224"/>
                <a:gd name="connsiteX17" fmla="*/ 497000 w 3216516"/>
                <a:gd name="connsiteY17" fmla="*/ 2248160 h 4515224"/>
                <a:gd name="connsiteX18" fmla="*/ 592250 w 3216516"/>
                <a:gd name="connsiteY18" fmla="*/ 2235460 h 4515224"/>
                <a:gd name="connsiteX19" fmla="*/ 611300 w 3216516"/>
                <a:gd name="connsiteY19" fmla="*/ 2222760 h 4515224"/>
                <a:gd name="connsiteX20" fmla="*/ 630350 w 3216516"/>
                <a:gd name="connsiteY20" fmla="*/ 2216410 h 4515224"/>
                <a:gd name="connsiteX21" fmla="*/ 636700 w 3216516"/>
                <a:gd name="connsiteY21" fmla="*/ 2197360 h 4515224"/>
                <a:gd name="connsiteX22" fmla="*/ 630350 w 3216516"/>
                <a:gd name="connsiteY22" fmla="*/ 2044960 h 4515224"/>
                <a:gd name="connsiteX23" fmla="*/ 611300 w 3216516"/>
                <a:gd name="connsiteY23" fmla="*/ 2025910 h 4515224"/>
                <a:gd name="connsiteX24" fmla="*/ 604950 w 3216516"/>
                <a:gd name="connsiteY24" fmla="*/ 2006860 h 4515224"/>
                <a:gd name="connsiteX25" fmla="*/ 611300 w 3216516"/>
                <a:gd name="connsiteY25" fmla="*/ 1892560 h 4515224"/>
                <a:gd name="connsiteX26" fmla="*/ 630350 w 3216516"/>
                <a:gd name="connsiteY26" fmla="*/ 1867160 h 4515224"/>
                <a:gd name="connsiteX27" fmla="*/ 662100 w 3216516"/>
                <a:gd name="connsiteY27" fmla="*/ 1829060 h 4515224"/>
                <a:gd name="connsiteX28" fmla="*/ 681150 w 3216516"/>
                <a:gd name="connsiteY28" fmla="*/ 1778260 h 4515224"/>
                <a:gd name="connsiteX29" fmla="*/ 700200 w 3216516"/>
                <a:gd name="connsiteY29" fmla="*/ 1765560 h 4515224"/>
                <a:gd name="connsiteX30" fmla="*/ 706550 w 3216516"/>
                <a:gd name="connsiteY30" fmla="*/ 1746510 h 4515224"/>
                <a:gd name="connsiteX31" fmla="*/ 687500 w 3216516"/>
                <a:gd name="connsiteY31" fmla="*/ 1683010 h 4515224"/>
                <a:gd name="connsiteX32" fmla="*/ 700200 w 3216516"/>
                <a:gd name="connsiteY32" fmla="*/ 1625860 h 4515224"/>
                <a:gd name="connsiteX33" fmla="*/ 706550 w 3216516"/>
                <a:gd name="connsiteY33" fmla="*/ 1606810 h 4515224"/>
                <a:gd name="connsiteX34" fmla="*/ 719250 w 3216516"/>
                <a:gd name="connsiteY34" fmla="*/ 1562360 h 4515224"/>
                <a:gd name="connsiteX35" fmla="*/ 693850 w 3216516"/>
                <a:gd name="connsiteY35" fmla="*/ 1492510 h 4515224"/>
                <a:gd name="connsiteX36" fmla="*/ 674800 w 3216516"/>
                <a:gd name="connsiteY36" fmla="*/ 1460760 h 4515224"/>
                <a:gd name="connsiteX37" fmla="*/ 674800 w 3216516"/>
                <a:gd name="connsiteY37" fmla="*/ 1384560 h 4515224"/>
                <a:gd name="connsiteX38" fmla="*/ 693850 w 3216516"/>
                <a:gd name="connsiteY38" fmla="*/ 1238510 h 4515224"/>
                <a:gd name="connsiteX39" fmla="*/ 712900 w 3216516"/>
                <a:gd name="connsiteY39" fmla="*/ 1155960 h 4515224"/>
                <a:gd name="connsiteX40" fmla="*/ 725600 w 3216516"/>
                <a:gd name="connsiteY40" fmla="*/ 1136910 h 4515224"/>
                <a:gd name="connsiteX41" fmla="*/ 731950 w 3216516"/>
                <a:gd name="connsiteY41" fmla="*/ 1117860 h 4515224"/>
                <a:gd name="connsiteX42" fmla="*/ 770050 w 3216516"/>
                <a:gd name="connsiteY42" fmla="*/ 1079760 h 4515224"/>
                <a:gd name="connsiteX43" fmla="*/ 789100 w 3216516"/>
                <a:gd name="connsiteY43" fmla="*/ 1060710 h 4515224"/>
                <a:gd name="connsiteX44" fmla="*/ 808150 w 3216516"/>
                <a:gd name="connsiteY44" fmla="*/ 1041660 h 4515224"/>
                <a:gd name="connsiteX45" fmla="*/ 827200 w 3216516"/>
                <a:gd name="connsiteY45" fmla="*/ 1016260 h 4515224"/>
                <a:gd name="connsiteX46" fmla="*/ 846250 w 3216516"/>
                <a:gd name="connsiteY46" fmla="*/ 1003560 h 4515224"/>
                <a:gd name="connsiteX47" fmla="*/ 865300 w 3216516"/>
                <a:gd name="connsiteY47" fmla="*/ 984510 h 4515224"/>
                <a:gd name="connsiteX48" fmla="*/ 884350 w 3216516"/>
                <a:gd name="connsiteY48" fmla="*/ 971810 h 4515224"/>
                <a:gd name="connsiteX49" fmla="*/ 903400 w 3216516"/>
                <a:gd name="connsiteY49" fmla="*/ 952760 h 4515224"/>
                <a:gd name="connsiteX50" fmla="*/ 954200 w 3216516"/>
                <a:gd name="connsiteY50" fmla="*/ 940060 h 4515224"/>
                <a:gd name="connsiteX51" fmla="*/ 979600 w 3216516"/>
                <a:gd name="connsiteY51" fmla="*/ 946410 h 4515224"/>
                <a:gd name="connsiteX52" fmla="*/ 1011350 w 3216516"/>
                <a:gd name="connsiteY52" fmla="*/ 971810 h 4515224"/>
                <a:gd name="connsiteX53" fmla="*/ 1049450 w 3216516"/>
                <a:gd name="connsiteY53" fmla="*/ 946410 h 4515224"/>
                <a:gd name="connsiteX54" fmla="*/ 1068500 w 3216516"/>
                <a:gd name="connsiteY54" fmla="*/ 933710 h 4515224"/>
                <a:gd name="connsiteX55" fmla="*/ 1087550 w 3216516"/>
                <a:gd name="connsiteY55" fmla="*/ 914660 h 4515224"/>
                <a:gd name="connsiteX56" fmla="*/ 1125650 w 3216516"/>
                <a:gd name="connsiteY56" fmla="*/ 901960 h 4515224"/>
                <a:gd name="connsiteX57" fmla="*/ 1144700 w 3216516"/>
                <a:gd name="connsiteY57" fmla="*/ 895610 h 4515224"/>
                <a:gd name="connsiteX58" fmla="*/ 1163750 w 3216516"/>
                <a:gd name="connsiteY58" fmla="*/ 882910 h 4515224"/>
                <a:gd name="connsiteX59" fmla="*/ 1214550 w 3216516"/>
                <a:gd name="connsiteY59" fmla="*/ 870210 h 4515224"/>
                <a:gd name="connsiteX60" fmla="*/ 1227250 w 3216516"/>
                <a:gd name="connsiteY60" fmla="*/ 851160 h 4515224"/>
                <a:gd name="connsiteX61" fmla="*/ 1227250 w 3216516"/>
                <a:gd name="connsiteY61" fmla="*/ 711460 h 4515224"/>
                <a:gd name="connsiteX62" fmla="*/ 1220900 w 3216516"/>
                <a:gd name="connsiteY62" fmla="*/ 603510 h 4515224"/>
                <a:gd name="connsiteX63" fmla="*/ 1208200 w 3216516"/>
                <a:gd name="connsiteY63" fmla="*/ 584460 h 4515224"/>
                <a:gd name="connsiteX64" fmla="*/ 1195500 w 3216516"/>
                <a:gd name="connsiteY64" fmla="*/ 546360 h 4515224"/>
                <a:gd name="connsiteX65" fmla="*/ 1163750 w 3216516"/>
                <a:gd name="connsiteY65" fmla="*/ 520960 h 4515224"/>
                <a:gd name="connsiteX66" fmla="*/ 1132000 w 3216516"/>
                <a:gd name="connsiteY66" fmla="*/ 501910 h 4515224"/>
                <a:gd name="connsiteX67" fmla="*/ 1093900 w 3216516"/>
                <a:gd name="connsiteY67" fmla="*/ 463810 h 4515224"/>
                <a:gd name="connsiteX68" fmla="*/ 1087550 w 3216516"/>
                <a:gd name="connsiteY68" fmla="*/ 438410 h 4515224"/>
                <a:gd name="connsiteX69" fmla="*/ 1036750 w 3216516"/>
                <a:gd name="connsiteY69" fmla="*/ 400310 h 4515224"/>
                <a:gd name="connsiteX70" fmla="*/ 998650 w 3216516"/>
                <a:gd name="connsiteY70" fmla="*/ 387610 h 4515224"/>
                <a:gd name="connsiteX71" fmla="*/ 992300 w 3216516"/>
                <a:gd name="connsiteY71" fmla="*/ 298710 h 4515224"/>
                <a:gd name="connsiteX72" fmla="*/ 979600 w 3216516"/>
                <a:gd name="connsiteY72" fmla="*/ 279660 h 4515224"/>
                <a:gd name="connsiteX73" fmla="*/ 941500 w 3216516"/>
                <a:gd name="connsiteY73" fmla="*/ 235210 h 4515224"/>
                <a:gd name="connsiteX74" fmla="*/ 935150 w 3216516"/>
                <a:gd name="connsiteY74" fmla="*/ 184410 h 4515224"/>
                <a:gd name="connsiteX75" fmla="*/ 928800 w 3216516"/>
                <a:gd name="connsiteY75" fmla="*/ 165360 h 4515224"/>
                <a:gd name="connsiteX76" fmla="*/ 909750 w 3216516"/>
                <a:gd name="connsiteY76" fmla="*/ 152660 h 4515224"/>
                <a:gd name="connsiteX77" fmla="*/ 897050 w 3216516"/>
                <a:gd name="connsiteY77" fmla="*/ 133610 h 4515224"/>
                <a:gd name="connsiteX78" fmla="*/ 941500 w 3216516"/>
                <a:gd name="connsiteY78" fmla="*/ 70110 h 4515224"/>
                <a:gd name="connsiteX79" fmla="*/ 960550 w 3216516"/>
                <a:gd name="connsiteY79" fmla="*/ 51060 h 4515224"/>
                <a:gd name="connsiteX80" fmla="*/ 1005000 w 3216516"/>
                <a:gd name="connsiteY80" fmla="*/ 38360 h 4515224"/>
                <a:gd name="connsiteX81" fmla="*/ 1024050 w 3216516"/>
                <a:gd name="connsiteY81" fmla="*/ 127260 h 4515224"/>
                <a:gd name="connsiteX82" fmla="*/ 1043100 w 3216516"/>
                <a:gd name="connsiteY82" fmla="*/ 146310 h 4515224"/>
                <a:gd name="connsiteX83" fmla="*/ 1081200 w 3216516"/>
                <a:gd name="connsiteY83" fmla="*/ 171710 h 4515224"/>
                <a:gd name="connsiteX84" fmla="*/ 1087550 w 3216516"/>
                <a:gd name="connsiteY84" fmla="*/ 190760 h 4515224"/>
                <a:gd name="connsiteX85" fmla="*/ 1195500 w 3216516"/>
                <a:gd name="connsiteY85" fmla="*/ 184410 h 4515224"/>
                <a:gd name="connsiteX86" fmla="*/ 1214550 w 3216516"/>
                <a:gd name="connsiteY86" fmla="*/ 165360 h 4515224"/>
                <a:gd name="connsiteX87" fmla="*/ 1259000 w 3216516"/>
                <a:gd name="connsiteY87" fmla="*/ 120910 h 4515224"/>
                <a:gd name="connsiteX88" fmla="*/ 1303450 w 3216516"/>
                <a:gd name="connsiteY88" fmla="*/ 127260 h 4515224"/>
                <a:gd name="connsiteX89" fmla="*/ 1322500 w 3216516"/>
                <a:gd name="connsiteY89" fmla="*/ 133610 h 4515224"/>
                <a:gd name="connsiteX90" fmla="*/ 1316150 w 3216516"/>
                <a:gd name="connsiteY90" fmla="*/ 165360 h 4515224"/>
                <a:gd name="connsiteX91" fmla="*/ 1303450 w 3216516"/>
                <a:gd name="connsiteY91" fmla="*/ 203460 h 4515224"/>
                <a:gd name="connsiteX92" fmla="*/ 1328850 w 3216516"/>
                <a:gd name="connsiteY92" fmla="*/ 260610 h 4515224"/>
                <a:gd name="connsiteX93" fmla="*/ 1366950 w 3216516"/>
                <a:gd name="connsiteY93" fmla="*/ 254260 h 4515224"/>
                <a:gd name="connsiteX94" fmla="*/ 1449500 w 3216516"/>
                <a:gd name="connsiteY94" fmla="*/ 235210 h 4515224"/>
                <a:gd name="connsiteX95" fmla="*/ 1474900 w 3216516"/>
                <a:gd name="connsiteY95" fmla="*/ 241560 h 4515224"/>
                <a:gd name="connsiteX96" fmla="*/ 1487600 w 3216516"/>
                <a:gd name="connsiteY96" fmla="*/ 279660 h 4515224"/>
                <a:gd name="connsiteX97" fmla="*/ 1474900 w 3216516"/>
                <a:gd name="connsiteY97" fmla="*/ 305060 h 4515224"/>
                <a:gd name="connsiteX98" fmla="*/ 1468550 w 3216516"/>
                <a:gd name="connsiteY98" fmla="*/ 324110 h 4515224"/>
                <a:gd name="connsiteX99" fmla="*/ 1449500 w 3216516"/>
                <a:gd name="connsiteY99" fmla="*/ 336810 h 4515224"/>
                <a:gd name="connsiteX100" fmla="*/ 1462200 w 3216516"/>
                <a:gd name="connsiteY100" fmla="*/ 393960 h 4515224"/>
                <a:gd name="connsiteX101" fmla="*/ 1468550 w 3216516"/>
                <a:gd name="connsiteY101" fmla="*/ 413010 h 4515224"/>
                <a:gd name="connsiteX102" fmla="*/ 1481250 w 3216516"/>
                <a:gd name="connsiteY102" fmla="*/ 438410 h 4515224"/>
                <a:gd name="connsiteX103" fmla="*/ 1455850 w 3216516"/>
                <a:gd name="connsiteY103" fmla="*/ 476510 h 4515224"/>
                <a:gd name="connsiteX104" fmla="*/ 1443150 w 3216516"/>
                <a:gd name="connsiteY104" fmla="*/ 495560 h 4515224"/>
                <a:gd name="connsiteX105" fmla="*/ 1455850 w 3216516"/>
                <a:gd name="connsiteY105" fmla="*/ 546360 h 4515224"/>
                <a:gd name="connsiteX106" fmla="*/ 1443150 w 3216516"/>
                <a:gd name="connsiteY106" fmla="*/ 609860 h 4515224"/>
                <a:gd name="connsiteX107" fmla="*/ 1430450 w 3216516"/>
                <a:gd name="connsiteY107" fmla="*/ 730510 h 4515224"/>
                <a:gd name="connsiteX108" fmla="*/ 1424100 w 3216516"/>
                <a:gd name="connsiteY108" fmla="*/ 749560 h 4515224"/>
                <a:gd name="connsiteX109" fmla="*/ 1398700 w 3216516"/>
                <a:gd name="connsiteY109" fmla="*/ 787660 h 4515224"/>
                <a:gd name="connsiteX110" fmla="*/ 1354250 w 3216516"/>
                <a:gd name="connsiteY110" fmla="*/ 832110 h 4515224"/>
                <a:gd name="connsiteX111" fmla="*/ 1341550 w 3216516"/>
                <a:gd name="connsiteY111" fmla="*/ 889260 h 4515224"/>
                <a:gd name="connsiteX112" fmla="*/ 1328850 w 3216516"/>
                <a:gd name="connsiteY112" fmla="*/ 927360 h 4515224"/>
                <a:gd name="connsiteX113" fmla="*/ 1316150 w 3216516"/>
                <a:gd name="connsiteY113" fmla="*/ 946410 h 4515224"/>
                <a:gd name="connsiteX114" fmla="*/ 1322500 w 3216516"/>
                <a:gd name="connsiteY114" fmla="*/ 965460 h 4515224"/>
                <a:gd name="connsiteX115" fmla="*/ 1328850 w 3216516"/>
                <a:gd name="connsiteY115" fmla="*/ 1048010 h 4515224"/>
                <a:gd name="connsiteX116" fmla="*/ 1347900 w 3216516"/>
                <a:gd name="connsiteY116" fmla="*/ 1041660 h 4515224"/>
                <a:gd name="connsiteX117" fmla="*/ 1379650 w 3216516"/>
                <a:gd name="connsiteY117" fmla="*/ 1003560 h 4515224"/>
                <a:gd name="connsiteX118" fmla="*/ 1392350 w 3216516"/>
                <a:gd name="connsiteY118" fmla="*/ 984510 h 4515224"/>
                <a:gd name="connsiteX119" fmla="*/ 1449500 w 3216516"/>
                <a:gd name="connsiteY119" fmla="*/ 971810 h 4515224"/>
                <a:gd name="connsiteX120" fmla="*/ 1481250 w 3216516"/>
                <a:gd name="connsiteY120" fmla="*/ 952760 h 4515224"/>
                <a:gd name="connsiteX121" fmla="*/ 1487600 w 3216516"/>
                <a:gd name="connsiteY121" fmla="*/ 927360 h 4515224"/>
                <a:gd name="connsiteX122" fmla="*/ 1500300 w 3216516"/>
                <a:gd name="connsiteY122" fmla="*/ 889260 h 4515224"/>
                <a:gd name="connsiteX123" fmla="*/ 1500300 w 3216516"/>
                <a:gd name="connsiteY123" fmla="*/ 889260 h 4515224"/>
                <a:gd name="connsiteX124" fmla="*/ 1532050 w 3216516"/>
                <a:gd name="connsiteY124" fmla="*/ 851160 h 4515224"/>
                <a:gd name="connsiteX125" fmla="*/ 1551100 w 3216516"/>
                <a:gd name="connsiteY125" fmla="*/ 832110 h 4515224"/>
                <a:gd name="connsiteX126" fmla="*/ 1589200 w 3216516"/>
                <a:gd name="connsiteY126" fmla="*/ 762260 h 4515224"/>
                <a:gd name="connsiteX127" fmla="*/ 1652700 w 3216516"/>
                <a:gd name="connsiteY127" fmla="*/ 774960 h 4515224"/>
                <a:gd name="connsiteX128" fmla="*/ 1684450 w 3216516"/>
                <a:gd name="connsiteY128" fmla="*/ 781310 h 4515224"/>
                <a:gd name="connsiteX129" fmla="*/ 1767000 w 3216516"/>
                <a:gd name="connsiteY129" fmla="*/ 800360 h 4515224"/>
                <a:gd name="connsiteX130" fmla="*/ 1779700 w 3216516"/>
                <a:gd name="connsiteY130" fmla="*/ 781310 h 4515224"/>
                <a:gd name="connsiteX131" fmla="*/ 1747950 w 3216516"/>
                <a:gd name="connsiteY131" fmla="*/ 743210 h 4515224"/>
                <a:gd name="connsiteX132" fmla="*/ 1728900 w 3216516"/>
                <a:gd name="connsiteY132" fmla="*/ 730510 h 4515224"/>
                <a:gd name="connsiteX133" fmla="*/ 1716200 w 3216516"/>
                <a:gd name="connsiteY133" fmla="*/ 705110 h 4515224"/>
                <a:gd name="connsiteX134" fmla="*/ 1741600 w 3216516"/>
                <a:gd name="connsiteY134" fmla="*/ 660660 h 4515224"/>
                <a:gd name="connsiteX135" fmla="*/ 1760650 w 3216516"/>
                <a:gd name="connsiteY135" fmla="*/ 616210 h 4515224"/>
                <a:gd name="connsiteX136" fmla="*/ 1786050 w 3216516"/>
                <a:gd name="connsiteY136" fmla="*/ 559060 h 4515224"/>
                <a:gd name="connsiteX137" fmla="*/ 1792400 w 3216516"/>
                <a:gd name="connsiteY137" fmla="*/ 501910 h 4515224"/>
                <a:gd name="connsiteX138" fmla="*/ 1798750 w 3216516"/>
                <a:gd name="connsiteY138" fmla="*/ 482860 h 4515224"/>
                <a:gd name="connsiteX139" fmla="*/ 1779700 w 3216516"/>
                <a:gd name="connsiteY139" fmla="*/ 400310 h 4515224"/>
                <a:gd name="connsiteX140" fmla="*/ 1760650 w 3216516"/>
                <a:gd name="connsiteY140" fmla="*/ 349510 h 4515224"/>
                <a:gd name="connsiteX141" fmla="*/ 1741600 w 3216516"/>
                <a:gd name="connsiteY141" fmla="*/ 343160 h 4515224"/>
                <a:gd name="connsiteX142" fmla="*/ 1741600 w 3216516"/>
                <a:gd name="connsiteY142" fmla="*/ 298710 h 4515224"/>
                <a:gd name="connsiteX143" fmla="*/ 1773350 w 3216516"/>
                <a:gd name="connsiteY143" fmla="*/ 241560 h 4515224"/>
                <a:gd name="connsiteX144" fmla="*/ 1792400 w 3216516"/>
                <a:gd name="connsiteY144" fmla="*/ 235210 h 4515224"/>
                <a:gd name="connsiteX145" fmla="*/ 1817800 w 3216516"/>
                <a:gd name="connsiteY145" fmla="*/ 241560 h 4515224"/>
                <a:gd name="connsiteX146" fmla="*/ 1843200 w 3216516"/>
                <a:gd name="connsiteY146" fmla="*/ 279660 h 4515224"/>
                <a:gd name="connsiteX147" fmla="*/ 1874950 w 3216516"/>
                <a:gd name="connsiteY147" fmla="*/ 317760 h 4515224"/>
                <a:gd name="connsiteX148" fmla="*/ 1894000 w 3216516"/>
                <a:gd name="connsiteY148" fmla="*/ 324110 h 4515224"/>
                <a:gd name="connsiteX149" fmla="*/ 1919400 w 3216516"/>
                <a:gd name="connsiteY149" fmla="*/ 317760 h 4515224"/>
                <a:gd name="connsiteX150" fmla="*/ 1938450 w 3216516"/>
                <a:gd name="connsiteY150" fmla="*/ 305060 h 4515224"/>
                <a:gd name="connsiteX151" fmla="*/ 2027350 w 3216516"/>
                <a:gd name="connsiteY151" fmla="*/ 298710 h 4515224"/>
                <a:gd name="connsiteX152" fmla="*/ 2033700 w 3216516"/>
                <a:gd name="connsiteY152" fmla="*/ 279660 h 4515224"/>
                <a:gd name="connsiteX153" fmla="*/ 2052750 w 3216516"/>
                <a:gd name="connsiteY153" fmla="*/ 273310 h 4515224"/>
                <a:gd name="connsiteX154" fmla="*/ 2122600 w 3216516"/>
                <a:gd name="connsiteY154" fmla="*/ 266960 h 4515224"/>
                <a:gd name="connsiteX155" fmla="*/ 2154350 w 3216516"/>
                <a:gd name="connsiteY155" fmla="*/ 228860 h 4515224"/>
                <a:gd name="connsiteX156" fmla="*/ 2167050 w 3216516"/>
                <a:gd name="connsiteY156" fmla="*/ 190760 h 4515224"/>
                <a:gd name="connsiteX157" fmla="*/ 2192450 w 3216516"/>
                <a:gd name="connsiteY157" fmla="*/ 152660 h 4515224"/>
                <a:gd name="connsiteX158" fmla="*/ 2211500 w 3216516"/>
                <a:gd name="connsiteY158" fmla="*/ 114560 h 4515224"/>
                <a:gd name="connsiteX159" fmla="*/ 2230550 w 3216516"/>
                <a:gd name="connsiteY159" fmla="*/ 70110 h 4515224"/>
                <a:gd name="connsiteX160" fmla="*/ 2249600 w 3216516"/>
                <a:gd name="connsiteY160" fmla="*/ 51060 h 4515224"/>
                <a:gd name="connsiteX161" fmla="*/ 2262300 w 3216516"/>
                <a:gd name="connsiteY161" fmla="*/ 32010 h 4515224"/>
                <a:gd name="connsiteX162" fmla="*/ 2300400 w 3216516"/>
                <a:gd name="connsiteY162" fmla="*/ 12960 h 4515224"/>
                <a:gd name="connsiteX163" fmla="*/ 2319450 w 3216516"/>
                <a:gd name="connsiteY163" fmla="*/ 260 h 4515224"/>
                <a:gd name="connsiteX164" fmla="*/ 2446450 w 3216516"/>
                <a:gd name="connsiteY164" fmla="*/ 12960 h 4515224"/>
                <a:gd name="connsiteX165" fmla="*/ 2465500 w 3216516"/>
                <a:gd name="connsiteY165" fmla="*/ 25660 h 4515224"/>
                <a:gd name="connsiteX166" fmla="*/ 2484550 w 3216516"/>
                <a:gd name="connsiteY166" fmla="*/ 101860 h 4515224"/>
                <a:gd name="connsiteX167" fmla="*/ 2529000 w 3216516"/>
                <a:gd name="connsiteY167" fmla="*/ 133610 h 4515224"/>
                <a:gd name="connsiteX168" fmla="*/ 2560750 w 3216516"/>
                <a:gd name="connsiteY168" fmla="*/ 146310 h 4515224"/>
                <a:gd name="connsiteX169" fmla="*/ 2579800 w 3216516"/>
                <a:gd name="connsiteY169" fmla="*/ 324110 h 4515224"/>
                <a:gd name="connsiteX170" fmla="*/ 2592500 w 3216516"/>
                <a:gd name="connsiteY170" fmla="*/ 343160 h 4515224"/>
                <a:gd name="connsiteX171" fmla="*/ 2605200 w 3216516"/>
                <a:gd name="connsiteY171" fmla="*/ 381260 h 4515224"/>
                <a:gd name="connsiteX172" fmla="*/ 2579800 w 3216516"/>
                <a:gd name="connsiteY172" fmla="*/ 419360 h 4515224"/>
                <a:gd name="connsiteX173" fmla="*/ 2573450 w 3216516"/>
                <a:gd name="connsiteY173" fmla="*/ 482860 h 4515224"/>
                <a:gd name="connsiteX174" fmla="*/ 2560750 w 3216516"/>
                <a:gd name="connsiteY174" fmla="*/ 501910 h 4515224"/>
                <a:gd name="connsiteX175" fmla="*/ 2548050 w 3216516"/>
                <a:gd name="connsiteY175" fmla="*/ 578110 h 4515224"/>
                <a:gd name="connsiteX176" fmla="*/ 2529000 w 3216516"/>
                <a:gd name="connsiteY176" fmla="*/ 597160 h 4515224"/>
                <a:gd name="connsiteX177" fmla="*/ 2516300 w 3216516"/>
                <a:gd name="connsiteY177" fmla="*/ 616210 h 4515224"/>
                <a:gd name="connsiteX178" fmla="*/ 2529000 w 3216516"/>
                <a:gd name="connsiteY178" fmla="*/ 660660 h 4515224"/>
                <a:gd name="connsiteX179" fmla="*/ 2573450 w 3216516"/>
                <a:gd name="connsiteY179" fmla="*/ 686060 h 4515224"/>
                <a:gd name="connsiteX180" fmla="*/ 2605200 w 3216516"/>
                <a:gd name="connsiteY180" fmla="*/ 692410 h 4515224"/>
                <a:gd name="connsiteX181" fmla="*/ 2630600 w 3216516"/>
                <a:gd name="connsiteY181" fmla="*/ 705110 h 4515224"/>
                <a:gd name="connsiteX182" fmla="*/ 2649650 w 3216516"/>
                <a:gd name="connsiteY182" fmla="*/ 711460 h 4515224"/>
                <a:gd name="connsiteX183" fmla="*/ 2675050 w 3216516"/>
                <a:gd name="connsiteY183" fmla="*/ 724160 h 4515224"/>
                <a:gd name="connsiteX184" fmla="*/ 2668700 w 3216516"/>
                <a:gd name="connsiteY184" fmla="*/ 768610 h 4515224"/>
                <a:gd name="connsiteX185" fmla="*/ 2649650 w 3216516"/>
                <a:gd name="connsiteY185" fmla="*/ 787660 h 4515224"/>
                <a:gd name="connsiteX186" fmla="*/ 2636950 w 3216516"/>
                <a:gd name="connsiteY186" fmla="*/ 806710 h 4515224"/>
                <a:gd name="connsiteX187" fmla="*/ 2630600 w 3216516"/>
                <a:gd name="connsiteY187" fmla="*/ 838460 h 4515224"/>
                <a:gd name="connsiteX188" fmla="*/ 2624250 w 3216516"/>
                <a:gd name="connsiteY188" fmla="*/ 857510 h 4515224"/>
                <a:gd name="connsiteX189" fmla="*/ 2617900 w 3216516"/>
                <a:gd name="connsiteY189" fmla="*/ 882910 h 4515224"/>
                <a:gd name="connsiteX190" fmla="*/ 2636950 w 3216516"/>
                <a:gd name="connsiteY190" fmla="*/ 933710 h 4515224"/>
                <a:gd name="connsiteX191" fmla="*/ 2656000 w 3216516"/>
                <a:gd name="connsiteY191" fmla="*/ 927360 h 4515224"/>
                <a:gd name="connsiteX192" fmla="*/ 2662350 w 3216516"/>
                <a:gd name="connsiteY192" fmla="*/ 889260 h 4515224"/>
                <a:gd name="connsiteX193" fmla="*/ 2675050 w 3216516"/>
                <a:gd name="connsiteY193" fmla="*/ 819410 h 4515224"/>
                <a:gd name="connsiteX194" fmla="*/ 2687750 w 3216516"/>
                <a:gd name="connsiteY194" fmla="*/ 705110 h 4515224"/>
                <a:gd name="connsiteX195" fmla="*/ 2700450 w 3216516"/>
                <a:gd name="connsiteY195" fmla="*/ 686060 h 4515224"/>
                <a:gd name="connsiteX196" fmla="*/ 2706800 w 3216516"/>
                <a:gd name="connsiteY196" fmla="*/ 647960 h 4515224"/>
                <a:gd name="connsiteX197" fmla="*/ 2725850 w 3216516"/>
                <a:gd name="connsiteY197" fmla="*/ 660660 h 4515224"/>
                <a:gd name="connsiteX198" fmla="*/ 2763950 w 3216516"/>
                <a:gd name="connsiteY198" fmla="*/ 711460 h 4515224"/>
                <a:gd name="connsiteX199" fmla="*/ 2808400 w 3216516"/>
                <a:gd name="connsiteY199" fmla="*/ 743210 h 4515224"/>
                <a:gd name="connsiteX200" fmla="*/ 2833800 w 3216516"/>
                <a:gd name="connsiteY200" fmla="*/ 781310 h 4515224"/>
                <a:gd name="connsiteX201" fmla="*/ 2846500 w 3216516"/>
                <a:gd name="connsiteY201" fmla="*/ 800360 h 4515224"/>
                <a:gd name="connsiteX202" fmla="*/ 2871900 w 3216516"/>
                <a:gd name="connsiteY202" fmla="*/ 876560 h 4515224"/>
                <a:gd name="connsiteX203" fmla="*/ 2890950 w 3216516"/>
                <a:gd name="connsiteY203" fmla="*/ 895610 h 4515224"/>
                <a:gd name="connsiteX204" fmla="*/ 2916350 w 3216516"/>
                <a:gd name="connsiteY204" fmla="*/ 908310 h 4515224"/>
                <a:gd name="connsiteX205" fmla="*/ 2929050 w 3216516"/>
                <a:gd name="connsiteY205" fmla="*/ 927360 h 4515224"/>
                <a:gd name="connsiteX206" fmla="*/ 2948100 w 3216516"/>
                <a:gd name="connsiteY206" fmla="*/ 946410 h 4515224"/>
                <a:gd name="connsiteX207" fmla="*/ 2979850 w 3216516"/>
                <a:gd name="connsiteY207" fmla="*/ 1003560 h 4515224"/>
                <a:gd name="connsiteX208" fmla="*/ 2986200 w 3216516"/>
                <a:gd name="connsiteY208" fmla="*/ 1041660 h 4515224"/>
                <a:gd name="connsiteX209" fmla="*/ 2998900 w 3216516"/>
                <a:gd name="connsiteY209" fmla="*/ 1060710 h 4515224"/>
                <a:gd name="connsiteX210" fmla="*/ 3024300 w 3216516"/>
                <a:gd name="connsiteY210" fmla="*/ 1098810 h 4515224"/>
                <a:gd name="connsiteX211" fmla="*/ 3043350 w 3216516"/>
                <a:gd name="connsiteY211" fmla="*/ 1136910 h 4515224"/>
                <a:gd name="connsiteX212" fmla="*/ 3062400 w 3216516"/>
                <a:gd name="connsiteY212" fmla="*/ 1155960 h 4515224"/>
                <a:gd name="connsiteX213" fmla="*/ 3094150 w 3216516"/>
                <a:gd name="connsiteY213" fmla="*/ 1194060 h 4515224"/>
                <a:gd name="connsiteX214" fmla="*/ 3132250 w 3216516"/>
                <a:gd name="connsiteY214" fmla="*/ 1219460 h 4515224"/>
                <a:gd name="connsiteX215" fmla="*/ 3170350 w 3216516"/>
                <a:gd name="connsiteY215" fmla="*/ 1251210 h 4515224"/>
                <a:gd name="connsiteX216" fmla="*/ 3176700 w 3216516"/>
                <a:gd name="connsiteY216" fmla="*/ 1270260 h 4515224"/>
                <a:gd name="connsiteX217" fmla="*/ 3189400 w 3216516"/>
                <a:gd name="connsiteY217" fmla="*/ 1340110 h 4515224"/>
                <a:gd name="connsiteX218" fmla="*/ 3208450 w 3216516"/>
                <a:gd name="connsiteY218" fmla="*/ 1352810 h 4515224"/>
                <a:gd name="connsiteX219" fmla="*/ 3208450 w 3216516"/>
                <a:gd name="connsiteY219" fmla="*/ 1403610 h 4515224"/>
                <a:gd name="connsiteX220" fmla="*/ 3170350 w 3216516"/>
                <a:gd name="connsiteY220" fmla="*/ 1416310 h 4515224"/>
                <a:gd name="connsiteX221" fmla="*/ 3151300 w 3216516"/>
                <a:gd name="connsiteY221" fmla="*/ 1429010 h 4515224"/>
                <a:gd name="connsiteX222" fmla="*/ 3138600 w 3216516"/>
                <a:gd name="connsiteY222" fmla="*/ 1479810 h 4515224"/>
                <a:gd name="connsiteX223" fmla="*/ 3100500 w 3216516"/>
                <a:gd name="connsiteY223" fmla="*/ 1511560 h 4515224"/>
                <a:gd name="connsiteX224" fmla="*/ 3081450 w 3216516"/>
                <a:gd name="connsiteY224" fmla="*/ 1517910 h 4515224"/>
                <a:gd name="connsiteX225" fmla="*/ 3062400 w 3216516"/>
                <a:gd name="connsiteY225" fmla="*/ 1530610 h 4515224"/>
                <a:gd name="connsiteX226" fmla="*/ 3024300 w 3216516"/>
                <a:gd name="connsiteY226" fmla="*/ 1543310 h 4515224"/>
                <a:gd name="connsiteX227" fmla="*/ 2998900 w 3216516"/>
                <a:gd name="connsiteY227" fmla="*/ 1556010 h 4515224"/>
                <a:gd name="connsiteX228" fmla="*/ 2973500 w 3216516"/>
                <a:gd name="connsiteY228" fmla="*/ 1594110 h 4515224"/>
                <a:gd name="connsiteX229" fmla="*/ 2922700 w 3216516"/>
                <a:gd name="connsiteY229" fmla="*/ 1632210 h 4515224"/>
                <a:gd name="connsiteX230" fmla="*/ 2929050 w 3216516"/>
                <a:gd name="connsiteY230" fmla="*/ 1714760 h 4515224"/>
                <a:gd name="connsiteX231" fmla="*/ 2948100 w 3216516"/>
                <a:gd name="connsiteY231" fmla="*/ 1733810 h 4515224"/>
                <a:gd name="connsiteX232" fmla="*/ 2960800 w 3216516"/>
                <a:gd name="connsiteY232" fmla="*/ 1771910 h 4515224"/>
                <a:gd name="connsiteX233" fmla="*/ 2954450 w 3216516"/>
                <a:gd name="connsiteY233" fmla="*/ 1848110 h 4515224"/>
                <a:gd name="connsiteX234" fmla="*/ 2935400 w 3216516"/>
                <a:gd name="connsiteY234" fmla="*/ 1860810 h 4515224"/>
                <a:gd name="connsiteX235" fmla="*/ 2922700 w 3216516"/>
                <a:gd name="connsiteY235" fmla="*/ 1879860 h 4515224"/>
                <a:gd name="connsiteX236" fmla="*/ 2910000 w 3216516"/>
                <a:gd name="connsiteY236" fmla="*/ 1975110 h 4515224"/>
                <a:gd name="connsiteX237" fmla="*/ 2903650 w 3216516"/>
                <a:gd name="connsiteY237" fmla="*/ 2000510 h 4515224"/>
                <a:gd name="connsiteX238" fmla="*/ 2878250 w 3216516"/>
                <a:gd name="connsiteY238" fmla="*/ 2044960 h 4515224"/>
                <a:gd name="connsiteX239" fmla="*/ 2871900 w 3216516"/>
                <a:gd name="connsiteY239" fmla="*/ 2095760 h 4515224"/>
                <a:gd name="connsiteX240" fmla="*/ 2865550 w 3216516"/>
                <a:gd name="connsiteY240" fmla="*/ 2121160 h 4515224"/>
                <a:gd name="connsiteX241" fmla="*/ 2808400 w 3216516"/>
                <a:gd name="connsiteY241" fmla="*/ 2171960 h 4515224"/>
                <a:gd name="connsiteX242" fmla="*/ 2795700 w 3216516"/>
                <a:gd name="connsiteY242" fmla="*/ 2235460 h 4515224"/>
                <a:gd name="connsiteX243" fmla="*/ 2789350 w 3216516"/>
                <a:gd name="connsiteY243" fmla="*/ 2305310 h 4515224"/>
                <a:gd name="connsiteX244" fmla="*/ 2770300 w 3216516"/>
                <a:gd name="connsiteY244" fmla="*/ 2318010 h 4515224"/>
                <a:gd name="connsiteX245" fmla="*/ 2719500 w 3216516"/>
                <a:gd name="connsiteY245" fmla="*/ 2356110 h 4515224"/>
                <a:gd name="connsiteX246" fmla="*/ 2681400 w 3216516"/>
                <a:gd name="connsiteY246" fmla="*/ 2387860 h 4515224"/>
                <a:gd name="connsiteX247" fmla="*/ 2656000 w 3216516"/>
                <a:gd name="connsiteY247" fmla="*/ 2425960 h 4515224"/>
                <a:gd name="connsiteX248" fmla="*/ 2617900 w 3216516"/>
                <a:gd name="connsiteY248" fmla="*/ 2438660 h 4515224"/>
                <a:gd name="connsiteX249" fmla="*/ 2579800 w 3216516"/>
                <a:gd name="connsiteY249" fmla="*/ 2464060 h 4515224"/>
                <a:gd name="connsiteX250" fmla="*/ 2573450 w 3216516"/>
                <a:gd name="connsiteY250" fmla="*/ 2483110 h 4515224"/>
                <a:gd name="connsiteX251" fmla="*/ 2560750 w 3216516"/>
                <a:gd name="connsiteY251" fmla="*/ 2533910 h 4515224"/>
                <a:gd name="connsiteX252" fmla="*/ 2554400 w 3216516"/>
                <a:gd name="connsiteY252" fmla="*/ 2572010 h 4515224"/>
                <a:gd name="connsiteX253" fmla="*/ 2529000 w 3216516"/>
                <a:gd name="connsiteY253" fmla="*/ 2597410 h 4515224"/>
                <a:gd name="connsiteX254" fmla="*/ 2497250 w 3216516"/>
                <a:gd name="connsiteY254" fmla="*/ 2635510 h 4515224"/>
                <a:gd name="connsiteX255" fmla="*/ 2459150 w 3216516"/>
                <a:gd name="connsiteY255" fmla="*/ 2673610 h 4515224"/>
                <a:gd name="connsiteX256" fmla="*/ 2440100 w 3216516"/>
                <a:gd name="connsiteY256" fmla="*/ 2711710 h 4515224"/>
                <a:gd name="connsiteX257" fmla="*/ 2427400 w 3216516"/>
                <a:gd name="connsiteY257" fmla="*/ 2730760 h 4515224"/>
                <a:gd name="connsiteX258" fmla="*/ 2414700 w 3216516"/>
                <a:gd name="connsiteY258" fmla="*/ 2832360 h 4515224"/>
                <a:gd name="connsiteX259" fmla="*/ 2408350 w 3216516"/>
                <a:gd name="connsiteY259" fmla="*/ 2857760 h 4515224"/>
                <a:gd name="connsiteX260" fmla="*/ 2389300 w 3216516"/>
                <a:gd name="connsiteY260" fmla="*/ 2883160 h 4515224"/>
                <a:gd name="connsiteX261" fmla="*/ 2382950 w 3216516"/>
                <a:gd name="connsiteY261" fmla="*/ 2927610 h 4515224"/>
                <a:gd name="connsiteX262" fmla="*/ 2357550 w 3216516"/>
                <a:gd name="connsiteY262" fmla="*/ 3029210 h 4515224"/>
                <a:gd name="connsiteX263" fmla="*/ 2344850 w 3216516"/>
                <a:gd name="connsiteY263" fmla="*/ 3048260 h 4515224"/>
                <a:gd name="connsiteX264" fmla="*/ 2325800 w 3216516"/>
                <a:gd name="connsiteY264" fmla="*/ 3054610 h 4515224"/>
                <a:gd name="connsiteX265" fmla="*/ 2306750 w 3216516"/>
                <a:gd name="connsiteY265" fmla="*/ 3067310 h 4515224"/>
                <a:gd name="connsiteX266" fmla="*/ 2287700 w 3216516"/>
                <a:gd name="connsiteY266" fmla="*/ 3105410 h 4515224"/>
                <a:gd name="connsiteX267" fmla="*/ 2268650 w 3216516"/>
                <a:gd name="connsiteY267" fmla="*/ 3124460 h 4515224"/>
                <a:gd name="connsiteX268" fmla="*/ 2255950 w 3216516"/>
                <a:gd name="connsiteY268" fmla="*/ 3143510 h 4515224"/>
                <a:gd name="connsiteX269" fmla="*/ 2236900 w 3216516"/>
                <a:gd name="connsiteY269" fmla="*/ 3181610 h 4515224"/>
                <a:gd name="connsiteX270" fmla="*/ 2192450 w 3216516"/>
                <a:gd name="connsiteY270" fmla="*/ 3200660 h 4515224"/>
                <a:gd name="connsiteX271" fmla="*/ 2135300 w 3216516"/>
                <a:gd name="connsiteY271" fmla="*/ 3232410 h 4515224"/>
                <a:gd name="connsiteX272" fmla="*/ 2109900 w 3216516"/>
                <a:gd name="connsiteY272" fmla="*/ 3251460 h 4515224"/>
                <a:gd name="connsiteX273" fmla="*/ 2090850 w 3216516"/>
                <a:gd name="connsiteY273" fmla="*/ 3257810 h 4515224"/>
                <a:gd name="connsiteX274" fmla="*/ 2071800 w 3216516"/>
                <a:gd name="connsiteY274" fmla="*/ 3276860 h 4515224"/>
                <a:gd name="connsiteX275" fmla="*/ 2052750 w 3216516"/>
                <a:gd name="connsiteY275" fmla="*/ 3359410 h 4515224"/>
                <a:gd name="connsiteX276" fmla="*/ 2046400 w 3216516"/>
                <a:gd name="connsiteY276" fmla="*/ 3416560 h 4515224"/>
                <a:gd name="connsiteX277" fmla="*/ 2021000 w 3216516"/>
                <a:gd name="connsiteY277" fmla="*/ 3448310 h 4515224"/>
                <a:gd name="connsiteX278" fmla="*/ 2014650 w 3216516"/>
                <a:gd name="connsiteY278" fmla="*/ 3480060 h 4515224"/>
                <a:gd name="connsiteX279" fmla="*/ 1982900 w 3216516"/>
                <a:gd name="connsiteY279" fmla="*/ 3518160 h 4515224"/>
                <a:gd name="connsiteX280" fmla="*/ 1963850 w 3216516"/>
                <a:gd name="connsiteY280" fmla="*/ 3530860 h 4515224"/>
                <a:gd name="connsiteX281" fmla="*/ 1925750 w 3216516"/>
                <a:gd name="connsiteY281" fmla="*/ 3537210 h 4515224"/>
                <a:gd name="connsiteX282" fmla="*/ 1913050 w 3216516"/>
                <a:gd name="connsiteY282" fmla="*/ 3607060 h 4515224"/>
                <a:gd name="connsiteX283" fmla="*/ 1881300 w 3216516"/>
                <a:gd name="connsiteY283" fmla="*/ 3664210 h 4515224"/>
                <a:gd name="connsiteX284" fmla="*/ 1849550 w 3216516"/>
                <a:gd name="connsiteY284" fmla="*/ 3695960 h 4515224"/>
                <a:gd name="connsiteX285" fmla="*/ 1830500 w 3216516"/>
                <a:gd name="connsiteY285" fmla="*/ 3740410 h 4515224"/>
                <a:gd name="connsiteX286" fmla="*/ 1817800 w 3216516"/>
                <a:gd name="connsiteY286" fmla="*/ 3759460 h 4515224"/>
                <a:gd name="connsiteX287" fmla="*/ 1811450 w 3216516"/>
                <a:gd name="connsiteY287" fmla="*/ 3778510 h 4515224"/>
                <a:gd name="connsiteX288" fmla="*/ 1792400 w 3216516"/>
                <a:gd name="connsiteY288" fmla="*/ 3797560 h 4515224"/>
                <a:gd name="connsiteX289" fmla="*/ 1754300 w 3216516"/>
                <a:gd name="connsiteY289" fmla="*/ 3842010 h 4515224"/>
                <a:gd name="connsiteX290" fmla="*/ 1735250 w 3216516"/>
                <a:gd name="connsiteY290" fmla="*/ 3880110 h 4515224"/>
                <a:gd name="connsiteX291" fmla="*/ 1697150 w 3216516"/>
                <a:gd name="connsiteY291" fmla="*/ 3892810 h 4515224"/>
                <a:gd name="connsiteX292" fmla="*/ 1678100 w 3216516"/>
                <a:gd name="connsiteY292" fmla="*/ 3911860 h 4515224"/>
                <a:gd name="connsiteX293" fmla="*/ 1633650 w 3216516"/>
                <a:gd name="connsiteY293" fmla="*/ 3924560 h 4515224"/>
                <a:gd name="connsiteX294" fmla="*/ 1614600 w 3216516"/>
                <a:gd name="connsiteY294" fmla="*/ 3937260 h 4515224"/>
                <a:gd name="connsiteX295" fmla="*/ 1563800 w 3216516"/>
                <a:gd name="connsiteY295" fmla="*/ 3930910 h 4515224"/>
                <a:gd name="connsiteX296" fmla="*/ 1525700 w 3216516"/>
                <a:gd name="connsiteY296" fmla="*/ 3899160 h 4515224"/>
                <a:gd name="connsiteX297" fmla="*/ 1500300 w 3216516"/>
                <a:gd name="connsiteY297" fmla="*/ 3892810 h 4515224"/>
                <a:gd name="connsiteX298" fmla="*/ 1443150 w 3216516"/>
                <a:gd name="connsiteY298" fmla="*/ 3911860 h 4515224"/>
                <a:gd name="connsiteX299" fmla="*/ 1405050 w 3216516"/>
                <a:gd name="connsiteY299" fmla="*/ 3924560 h 4515224"/>
                <a:gd name="connsiteX300" fmla="*/ 1360600 w 3216516"/>
                <a:gd name="connsiteY300" fmla="*/ 3969010 h 4515224"/>
                <a:gd name="connsiteX301" fmla="*/ 1322500 w 3216516"/>
                <a:gd name="connsiteY301" fmla="*/ 3994410 h 4515224"/>
                <a:gd name="connsiteX302" fmla="*/ 1309800 w 3216516"/>
                <a:gd name="connsiteY302" fmla="*/ 4013460 h 4515224"/>
                <a:gd name="connsiteX303" fmla="*/ 1290750 w 3216516"/>
                <a:gd name="connsiteY303" fmla="*/ 4051560 h 4515224"/>
                <a:gd name="connsiteX304" fmla="*/ 1271700 w 3216516"/>
                <a:gd name="connsiteY304" fmla="*/ 4064260 h 4515224"/>
                <a:gd name="connsiteX305" fmla="*/ 1239950 w 3216516"/>
                <a:gd name="connsiteY305" fmla="*/ 4102360 h 4515224"/>
                <a:gd name="connsiteX306" fmla="*/ 1220900 w 3216516"/>
                <a:gd name="connsiteY306" fmla="*/ 4115060 h 4515224"/>
                <a:gd name="connsiteX307" fmla="*/ 1195500 w 3216516"/>
                <a:gd name="connsiteY307" fmla="*/ 4153160 h 4515224"/>
                <a:gd name="connsiteX308" fmla="*/ 1163750 w 3216516"/>
                <a:gd name="connsiteY308" fmla="*/ 4184910 h 4515224"/>
                <a:gd name="connsiteX309" fmla="*/ 1151050 w 3216516"/>
                <a:gd name="connsiteY309" fmla="*/ 4203960 h 4515224"/>
                <a:gd name="connsiteX310" fmla="*/ 1100250 w 3216516"/>
                <a:gd name="connsiteY310" fmla="*/ 4235710 h 4515224"/>
                <a:gd name="connsiteX311" fmla="*/ 1055800 w 3216516"/>
                <a:gd name="connsiteY311" fmla="*/ 4261110 h 4515224"/>
                <a:gd name="connsiteX312" fmla="*/ 1011350 w 3216516"/>
                <a:gd name="connsiteY312" fmla="*/ 4286510 h 4515224"/>
                <a:gd name="connsiteX313" fmla="*/ 973250 w 3216516"/>
                <a:gd name="connsiteY313" fmla="*/ 4305560 h 4515224"/>
                <a:gd name="connsiteX314" fmla="*/ 954200 w 3216516"/>
                <a:gd name="connsiteY314" fmla="*/ 4318260 h 4515224"/>
                <a:gd name="connsiteX315" fmla="*/ 935150 w 3216516"/>
                <a:gd name="connsiteY315" fmla="*/ 4324610 h 4515224"/>
                <a:gd name="connsiteX316" fmla="*/ 897050 w 3216516"/>
                <a:gd name="connsiteY316" fmla="*/ 4350010 h 4515224"/>
                <a:gd name="connsiteX317" fmla="*/ 878000 w 3216516"/>
                <a:gd name="connsiteY317" fmla="*/ 4362710 h 4515224"/>
                <a:gd name="connsiteX318" fmla="*/ 852600 w 3216516"/>
                <a:gd name="connsiteY318" fmla="*/ 4381760 h 4515224"/>
                <a:gd name="connsiteX319" fmla="*/ 833550 w 3216516"/>
                <a:gd name="connsiteY319" fmla="*/ 4388110 h 4515224"/>
                <a:gd name="connsiteX320" fmla="*/ 776400 w 3216516"/>
                <a:gd name="connsiteY320" fmla="*/ 4426210 h 4515224"/>
                <a:gd name="connsiteX321" fmla="*/ 751000 w 3216516"/>
                <a:gd name="connsiteY321" fmla="*/ 4438910 h 4515224"/>
                <a:gd name="connsiteX322" fmla="*/ 731950 w 3216516"/>
                <a:gd name="connsiteY322" fmla="*/ 4457960 h 4515224"/>
                <a:gd name="connsiteX323" fmla="*/ 712900 w 3216516"/>
                <a:gd name="connsiteY323" fmla="*/ 4470660 h 4515224"/>
                <a:gd name="connsiteX324" fmla="*/ 681150 w 3216516"/>
                <a:gd name="connsiteY324" fmla="*/ 4515110 h 4515224"/>
                <a:gd name="connsiteX325" fmla="*/ 649400 w 3216516"/>
                <a:gd name="connsiteY325" fmla="*/ 4496060 h 4515224"/>
                <a:gd name="connsiteX326" fmla="*/ 617650 w 3216516"/>
                <a:gd name="connsiteY326" fmla="*/ 4457960 h 4515224"/>
                <a:gd name="connsiteX327" fmla="*/ 592250 w 3216516"/>
                <a:gd name="connsiteY327" fmla="*/ 4419860 h 4515224"/>
                <a:gd name="connsiteX328" fmla="*/ 579550 w 3216516"/>
                <a:gd name="connsiteY328" fmla="*/ 4400810 h 4515224"/>
                <a:gd name="connsiteX329" fmla="*/ 592250 w 3216516"/>
                <a:gd name="connsiteY329" fmla="*/ 4350010 h 4515224"/>
                <a:gd name="connsiteX330" fmla="*/ 573200 w 3216516"/>
                <a:gd name="connsiteY330" fmla="*/ 4292860 h 4515224"/>
                <a:gd name="connsiteX331" fmla="*/ 560500 w 3216516"/>
                <a:gd name="connsiteY331" fmla="*/ 4273810 h 4515224"/>
                <a:gd name="connsiteX332" fmla="*/ 535100 w 3216516"/>
                <a:gd name="connsiteY332" fmla="*/ 4242060 h 4515224"/>
                <a:gd name="connsiteX333" fmla="*/ 484300 w 3216516"/>
                <a:gd name="connsiteY333" fmla="*/ 4235710 h 4515224"/>
                <a:gd name="connsiteX334" fmla="*/ 465250 w 3216516"/>
                <a:gd name="connsiteY334" fmla="*/ 4229360 h 4515224"/>
                <a:gd name="connsiteX335" fmla="*/ 458900 w 3216516"/>
                <a:gd name="connsiteY335" fmla="*/ 4210310 h 4515224"/>
                <a:gd name="connsiteX336" fmla="*/ 433500 w 3216516"/>
                <a:gd name="connsiteY336" fmla="*/ 4165860 h 4515224"/>
                <a:gd name="connsiteX337" fmla="*/ 414450 w 3216516"/>
                <a:gd name="connsiteY337" fmla="*/ 4146810 h 4515224"/>
                <a:gd name="connsiteX338" fmla="*/ 370000 w 3216516"/>
                <a:gd name="connsiteY338" fmla="*/ 4115060 h 4515224"/>
                <a:gd name="connsiteX339" fmla="*/ 357300 w 3216516"/>
                <a:gd name="connsiteY339" fmla="*/ 4096010 h 4515224"/>
                <a:gd name="connsiteX340" fmla="*/ 350950 w 3216516"/>
                <a:gd name="connsiteY340" fmla="*/ 4076960 h 4515224"/>
                <a:gd name="connsiteX341" fmla="*/ 331900 w 3216516"/>
                <a:gd name="connsiteY341" fmla="*/ 4070610 h 4515224"/>
                <a:gd name="connsiteX342" fmla="*/ 300150 w 3216516"/>
                <a:gd name="connsiteY342" fmla="*/ 4096010 h 4515224"/>
                <a:gd name="connsiteX343" fmla="*/ 281100 w 3216516"/>
                <a:gd name="connsiteY343" fmla="*/ 4108710 h 4515224"/>
                <a:gd name="connsiteX344" fmla="*/ 262050 w 3216516"/>
                <a:gd name="connsiteY344" fmla="*/ 4127760 h 4515224"/>
                <a:gd name="connsiteX345" fmla="*/ 243000 w 3216516"/>
                <a:gd name="connsiteY345" fmla="*/ 4140460 h 4515224"/>
                <a:gd name="connsiteX346" fmla="*/ 204900 w 3216516"/>
                <a:gd name="connsiteY346" fmla="*/ 4178560 h 4515224"/>
                <a:gd name="connsiteX347" fmla="*/ 198550 w 3216516"/>
                <a:gd name="connsiteY347" fmla="*/ 4197610 h 4515224"/>
                <a:gd name="connsiteX348" fmla="*/ 192200 w 3216516"/>
                <a:gd name="connsiteY348" fmla="*/ 4242060 h 4515224"/>
                <a:gd name="connsiteX349" fmla="*/ 179500 w 3216516"/>
                <a:gd name="connsiteY349" fmla="*/ 4261110 h 4515224"/>
                <a:gd name="connsiteX350" fmla="*/ 173150 w 3216516"/>
                <a:gd name="connsiteY350" fmla="*/ 4280160 h 4515224"/>
                <a:gd name="connsiteX351" fmla="*/ 147750 w 3216516"/>
                <a:gd name="connsiteY351" fmla="*/ 4318260 h 4515224"/>
                <a:gd name="connsiteX352" fmla="*/ 77900 w 3216516"/>
                <a:gd name="connsiteY352" fmla="*/ 4280160 h 4515224"/>
                <a:gd name="connsiteX353" fmla="*/ 58850 w 3216516"/>
                <a:gd name="connsiteY353" fmla="*/ 4267460 h 4515224"/>
                <a:gd name="connsiteX354" fmla="*/ 20750 w 3216516"/>
                <a:gd name="connsiteY354" fmla="*/ 4235710 h 4515224"/>
                <a:gd name="connsiteX355" fmla="*/ 27100 w 3216516"/>
                <a:gd name="connsiteY355" fmla="*/ 4178560 h 4515224"/>
                <a:gd name="connsiteX356" fmla="*/ 33450 w 3216516"/>
                <a:gd name="connsiteY356" fmla="*/ 4127760 h 4515224"/>
                <a:gd name="connsiteX357" fmla="*/ 52500 w 3216516"/>
                <a:gd name="connsiteY357" fmla="*/ 4000760 h 4515224"/>
                <a:gd name="connsiteX358" fmla="*/ 46150 w 3216516"/>
                <a:gd name="connsiteY358" fmla="*/ 3873760 h 4515224"/>
                <a:gd name="connsiteX359" fmla="*/ 39800 w 3216516"/>
                <a:gd name="connsiteY359" fmla="*/ 3848360 h 4515224"/>
                <a:gd name="connsiteX360" fmla="*/ 33450 w 3216516"/>
                <a:gd name="connsiteY360" fmla="*/ 3759460 h 4515224"/>
                <a:gd name="connsiteX361" fmla="*/ 52500 w 3216516"/>
                <a:gd name="connsiteY361" fmla="*/ 3626110 h 4515224"/>
                <a:gd name="connsiteX362" fmla="*/ 122350 w 3216516"/>
                <a:gd name="connsiteY362" fmla="*/ 3607060 h 4515224"/>
                <a:gd name="connsiteX363" fmla="*/ 147750 w 3216516"/>
                <a:gd name="connsiteY363" fmla="*/ 3600710 h 4515224"/>
                <a:gd name="connsiteX364" fmla="*/ 192200 w 3216516"/>
                <a:gd name="connsiteY364" fmla="*/ 3575310 h 4515224"/>
                <a:gd name="connsiteX365" fmla="*/ 236650 w 3216516"/>
                <a:gd name="connsiteY365" fmla="*/ 3556260 h 4515224"/>
                <a:gd name="connsiteX366" fmla="*/ 274750 w 3216516"/>
                <a:gd name="connsiteY366" fmla="*/ 3530860 h 4515224"/>
                <a:gd name="connsiteX367" fmla="*/ 306500 w 3216516"/>
                <a:gd name="connsiteY367" fmla="*/ 3499110 h 4515224"/>
                <a:gd name="connsiteX368" fmla="*/ 319200 w 3216516"/>
                <a:gd name="connsiteY368" fmla="*/ 3480060 h 4515224"/>
                <a:gd name="connsiteX369" fmla="*/ 338250 w 3216516"/>
                <a:gd name="connsiteY369" fmla="*/ 3473710 h 4515224"/>
                <a:gd name="connsiteX370" fmla="*/ 363650 w 3216516"/>
                <a:gd name="connsiteY370" fmla="*/ 3461010 h 4515224"/>
                <a:gd name="connsiteX371" fmla="*/ 401750 w 3216516"/>
                <a:gd name="connsiteY371" fmla="*/ 3435610 h 4515224"/>
                <a:gd name="connsiteX372" fmla="*/ 414450 w 3216516"/>
                <a:gd name="connsiteY372" fmla="*/ 3397510 h 4515224"/>
                <a:gd name="connsiteX373" fmla="*/ 420800 w 3216516"/>
                <a:gd name="connsiteY373" fmla="*/ 3372110 h 4515224"/>
                <a:gd name="connsiteX374" fmla="*/ 439850 w 3216516"/>
                <a:gd name="connsiteY374" fmla="*/ 3346710 h 4515224"/>
                <a:gd name="connsiteX375" fmla="*/ 458900 w 3216516"/>
                <a:gd name="connsiteY375" fmla="*/ 3302260 h 4515224"/>
                <a:gd name="connsiteX376" fmla="*/ 503350 w 3216516"/>
                <a:gd name="connsiteY376" fmla="*/ 3308610 h 4515224"/>
                <a:gd name="connsiteX377" fmla="*/ 522400 w 3216516"/>
                <a:gd name="connsiteY377" fmla="*/ 3321310 h 4515224"/>
                <a:gd name="connsiteX378" fmla="*/ 541450 w 3216516"/>
                <a:gd name="connsiteY378" fmla="*/ 3340360 h 4515224"/>
                <a:gd name="connsiteX379" fmla="*/ 560500 w 3216516"/>
                <a:gd name="connsiteY379" fmla="*/ 3334010 h 4515224"/>
                <a:gd name="connsiteX380" fmla="*/ 579550 w 3216516"/>
                <a:gd name="connsiteY380" fmla="*/ 3321310 h 4515224"/>
                <a:gd name="connsiteX381" fmla="*/ 598600 w 3216516"/>
                <a:gd name="connsiteY381" fmla="*/ 3302260 h 4515224"/>
                <a:gd name="connsiteX382" fmla="*/ 630350 w 3216516"/>
                <a:gd name="connsiteY382" fmla="*/ 3295910 h 4515224"/>
                <a:gd name="connsiteX383" fmla="*/ 649400 w 3216516"/>
                <a:gd name="connsiteY383" fmla="*/ 3289560 h 4515224"/>
                <a:gd name="connsiteX384" fmla="*/ 751000 w 3216516"/>
                <a:gd name="connsiteY384" fmla="*/ 3251460 h 4515224"/>
                <a:gd name="connsiteX385" fmla="*/ 782750 w 3216516"/>
                <a:gd name="connsiteY385" fmla="*/ 3200660 h 4515224"/>
                <a:gd name="connsiteX386" fmla="*/ 846250 w 3216516"/>
                <a:gd name="connsiteY386" fmla="*/ 3187960 h 4515224"/>
                <a:gd name="connsiteX387" fmla="*/ 808150 w 3216516"/>
                <a:gd name="connsiteY387" fmla="*/ 3168910 h 4515224"/>
                <a:gd name="connsiteX388" fmla="*/ 820850 w 3216516"/>
                <a:gd name="connsiteY388" fmla="*/ 3092710 h 4515224"/>
                <a:gd name="connsiteX389" fmla="*/ 827200 w 3216516"/>
                <a:gd name="connsiteY389" fmla="*/ 3073660 h 4515224"/>
                <a:gd name="connsiteX390" fmla="*/ 814500 w 3216516"/>
                <a:gd name="connsiteY390" fmla="*/ 3003810 h 4515224"/>
                <a:gd name="connsiteX391" fmla="*/ 757350 w 3216516"/>
                <a:gd name="connsiteY391" fmla="*/ 2997460 h 4515224"/>
                <a:gd name="connsiteX392" fmla="*/ 668450 w 3216516"/>
                <a:gd name="connsiteY392" fmla="*/ 2978410 h 4515224"/>
                <a:gd name="connsiteX393" fmla="*/ 611300 w 3216516"/>
                <a:gd name="connsiteY393" fmla="*/ 2972060 h 4515224"/>
                <a:gd name="connsiteX394" fmla="*/ 573200 w 3216516"/>
                <a:gd name="connsiteY394" fmla="*/ 2953010 h 4515224"/>
                <a:gd name="connsiteX395" fmla="*/ 554150 w 3216516"/>
                <a:gd name="connsiteY395" fmla="*/ 2946660 h 4515224"/>
                <a:gd name="connsiteX396" fmla="*/ 516050 w 3216516"/>
                <a:gd name="connsiteY396" fmla="*/ 2914910 h 4515224"/>
                <a:gd name="connsiteX397" fmla="*/ 477950 w 3216516"/>
                <a:gd name="connsiteY397" fmla="*/ 2902210 h 4515224"/>
                <a:gd name="connsiteX398" fmla="*/ 458900 w 3216516"/>
                <a:gd name="connsiteY398" fmla="*/ 2889510 h 4515224"/>
                <a:gd name="connsiteX399" fmla="*/ 408100 w 3216516"/>
                <a:gd name="connsiteY399" fmla="*/ 2876810 h 4515224"/>
                <a:gd name="connsiteX400" fmla="*/ 389050 w 3216516"/>
                <a:gd name="connsiteY400" fmla="*/ 2870460 h 4515224"/>
                <a:gd name="connsiteX401" fmla="*/ 325550 w 3216516"/>
                <a:gd name="connsiteY401" fmla="*/ 2857760 h 4515224"/>
                <a:gd name="connsiteX402" fmla="*/ 300150 w 3216516"/>
                <a:gd name="connsiteY402" fmla="*/ 2845060 h 4515224"/>
                <a:gd name="connsiteX403" fmla="*/ 287450 w 3216516"/>
                <a:gd name="connsiteY403" fmla="*/ 2826010 h 4515224"/>
                <a:gd name="connsiteX404" fmla="*/ 243000 w 3216516"/>
                <a:gd name="connsiteY404" fmla="*/ 2768860 h 4515224"/>
                <a:gd name="connsiteX405" fmla="*/ 230300 w 3216516"/>
                <a:gd name="connsiteY405" fmla="*/ 2718060 h 4515224"/>
                <a:gd name="connsiteX406" fmla="*/ 223950 w 3216516"/>
                <a:gd name="connsiteY406" fmla="*/ 2699010 h 4515224"/>
                <a:gd name="connsiteX407" fmla="*/ 135050 w 3216516"/>
                <a:gd name="connsiteY407" fmla="*/ 2692660 h 4515224"/>
                <a:gd name="connsiteX408" fmla="*/ 84250 w 3216516"/>
                <a:gd name="connsiteY408" fmla="*/ 2679960 h 4515224"/>
                <a:gd name="connsiteX409" fmla="*/ 65200 w 3216516"/>
                <a:gd name="connsiteY409" fmla="*/ 2667260 h 4515224"/>
                <a:gd name="connsiteX410" fmla="*/ 1700 w 3216516"/>
                <a:gd name="connsiteY410" fmla="*/ 2660910 h 4515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</a:cxnLst>
              <a:rect l="l" t="t" r="r" b="b"/>
              <a:pathLst>
                <a:path w="3216516" h="4515224">
                  <a:moveTo>
                    <a:pt x="1700" y="2660910"/>
                  </a:moveTo>
                  <a:cubicBezTo>
                    <a:pt x="-5708" y="2650327"/>
                    <a:pt x="13027" y="2622296"/>
                    <a:pt x="20750" y="2603760"/>
                  </a:cubicBezTo>
                  <a:cubicBezTo>
                    <a:pt x="28844" y="2584335"/>
                    <a:pt x="62340" y="2555820"/>
                    <a:pt x="71550" y="2546610"/>
                  </a:cubicBezTo>
                  <a:cubicBezTo>
                    <a:pt x="77900" y="2540260"/>
                    <a:pt x="82568" y="2531576"/>
                    <a:pt x="90600" y="2527560"/>
                  </a:cubicBezTo>
                  <a:cubicBezTo>
                    <a:pt x="114407" y="2515657"/>
                    <a:pt x="120792" y="2514357"/>
                    <a:pt x="141400" y="2495810"/>
                  </a:cubicBezTo>
                  <a:cubicBezTo>
                    <a:pt x="154750" y="2483795"/>
                    <a:pt x="169537" y="2472654"/>
                    <a:pt x="179500" y="2457710"/>
                  </a:cubicBezTo>
                  <a:cubicBezTo>
                    <a:pt x="183733" y="2451360"/>
                    <a:pt x="186241" y="2443428"/>
                    <a:pt x="192200" y="2438660"/>
                  </a:cubicBezTo>
                  <a:cubicBezTo>
                    <a:pt x="197427" y="2434479"/>
                    <a:pt x="204664" y="2433507"/>
                    <a:pt x="211250" y="2432310"/>
                  </a:cubicBezTo>
                  <a:cubicBezTo>
                    <a:pt x="228040" y="2429257"/>
                    <a:pt x="245117" y="2428077"/>
                    <a:pt x="262050" y="2425960"/>
                  </a:cubicBezTo>
                  <a:cubicBezTo>
                    <a:pt x="278487" y="2409523"/>
                    <a:pt x="296414" y="2389105"/>
                    <a:pt x="319200" y="2381510"/>
                  </a:cubicBezTo>
                  <a:lnTo>
                    <a:pt x="338250" y="2375160"/>
                  </a:lnTo>
                  <a:cubicBezTo>
                    <a:pt x="346717" y="2377277"/>
                    <a:pt x="354923" y="2381510"/>
                    <a:pt x="363650" y="2381510"/>
                  </a:cubicBezTo>
                  <a:cubicBezTo>
                    <a:pt x="380595" y="2381510"/>
                    <a:pt x="395657" y="2372829"/>
                    <a:pt x="408100" y="2362460"/>
                  </a:cubicBezTo>
                  <a:cubicBezTo>
                    <a:pt x="414999" y="2356711"/>
                    <a:pt x="421401" y="2350309"/>
                    <a:pt x="427150" y="2343410"/>
                  </a:cubicBezTo>
                  <a:cubicBezTo>
                    <a:pt x="432036" y="2337547"/>
                    <a:pt x="436437" y="2331186"/>
                    <a:pt x="439850" y="2324360"/>
                  </a:cubicBezTo>
                  <a:cubicBezTo>
                    <a:pt x="449776" y="2304508"/>
                    <a:pt x="442383" y="2299730"/>
                    <a:pt x="458900" y="2279910"/>
                  </a:cubicBezTo>
                  <a:cubicBezTo>
                    <a:pt x="463786" y="2274047"/>
                    <a:pt x="472087" y="2272096"/>
                    <a:pt x="477950" y="2267210"/>
                  </a:cubicBezTo>
                  <a:cubicBezTo>
                    <a:pt x="484849" y="2261461"/>
                    <a:pt x="488662" y="2251495"/>
                    <a:pt x="497000" y="2248160"/>
                  </a:cubicBezTo>
                  <a:cubicBezTo>
                    <a:pt x="500983" y="2246567"/>
                    <a:pt x="591999" y="2235491"/>
                    <a:pt x="592250" y="2235460"/>
                  </a:cubicBezTo>
                  <a:cubicBezTo>
                    <a:pt x="598600" y="2231227"/>
                    <a:pt x="604474" y="2226173"/>
                    <a:pt x="611300" y="2222760"/>
                  </a:cubicBezTo>
                  <a:cubicBezTo>
                    <a:pt x="617287" y="2219767"/>
                    <a:pt x="625617" y="2221143"/>
                    <a:pt x="630350" y="2216410"/>
                  </a:cubicBezTo>
                  <a:cubicBezTo>
                    <a:pt x="635083" y="2211677"/>
                    <a:pt x="634583" y="2203710"/>
                    <a:pt x="636700" y="2197360"/>
                  </a:cubicBezTo>
                  <a:cubicBezTo>
                    <a:pt x="634583" y="2146560"/>
                    <a:pt x="637801" y="2095255"/>
                    <a:pt x="630350" y="2044960"/>
                  </a:cubicBezTo>
                  <a:cubicBezTo>
                    <a:pt x="629034" y="2036077"/>
                    <a:pt x="616281" y="2033382"/>
                    <a:pt x="611300" y="2025910"/>
                  </a:cubicBezTo>
                  <a:cubicBezTo>
                    <a:pt x="607587" y="2020341"/>
                    <a:pt x="607067" y="2013210"/>
                    <a:pt x="604950" y="2006860"/>
                  </a:cubicBezTo>
                  <a:cubicBezTo>
                    <a:pt x="607067" y="1968760"/>
                    <a:pt x="604474" y="1930103"/>
                    <a:pt x="611300" y="1892560"/>
                  </a:cubicBezTo>
                  <a:cubicBezTo>
                    <a:pt x="613193" y="1882147"/>
                    <a:pt x="624199" y="1875772"/>
                    <a:pt x="630350" y="1867160"/>
                  </a:cubicBezTo>
                  <a:cubicBezTo>
                    <a:pt x="652452" y="1836218"/>
                    <a:pt x="632452" y="1858708"/>
                    <a:pt x="662100" y="1829060"/>
                  </a:cubicBezTo>
                  <a:cubicBezTo>
                    <a:pt x="665924" y="1817589"/>
                    <a:pt x="676404" y="1784904"/>
                    <a:pt x="681150" y="1778260"/>
                  </a:cubicBezTo>
                  <a:cubicBezTo>
                    <a:pt x="685586" y="1772050"/>
                    <a:pt x="693850" y="1769793"/>
                    <a:pt x="700200" y="1765560"/>
                  </a:cubicBezTo>
                  <a:cubicBezTo>
                    <a:pt x="702317" y="1759210"/>
                    <a:pt x="706550" y="1753203"/>
                    <a:pt x="706550" y="1746510"/>
                  </a:cubicBezTo>
                  <a:cubicBezTo>
                    <a:pt x="706550" y="1705649"/>
                    <a:pt x="704714" y="1708831"/>
                    <a:pt x="687500" y="1683010"/>
                  </a:cubicBezTo>
                  <a:cubicBezTo>
                    <a:pt x="691865" y="1661186"/>
                    <a:pt x="694222" y="1646785"/>
                    <a:pt x="700200" y="1625860"/>
                  </a:cubicBezTo>
                  <a:cubicBezTo>
                    <a:pt x="702039" y="1619424"/>
                    <a:pt x="704711" y="1613246"/>
                    <a:pt x="706550" y="1606810"/>
                  </a:cubicBezTo>
                  <a:cubicBezTo>
                    <a:pt x="722497" y="1550996"/>
                    <a:pt x="704025" y="1608035"/>
                    <a:pt x="719250" y="1562360"/>
                  </a:cubicBezTo>
                  <a:cubicBezTo>
                    <a:pt x="713323" y="1544578"/>
                    <a:pt x="702686" y="1510182"/>
                    <a:pt x="693850" y="1492510"/>
                  </a:cubicBezTo>
                  <a:cubicBezTo>
                    <a:pt x="688330" y="1481471"/>
                    <a:pt x="681150" y="1471343"/>
                    <a:pt x="674800" y="1460760"/>
                  </a:cubicBezTo>
                  <a:cubicBezTo>
                    <a:pt x="663519" y="1404356"/>
                    <a:pt x="669691" y="1453531"/>
                    <a:pt x="674800" y="1384560"/>
                  </a:cubicBezTo>
                  <a:cubicBezTo>
                    <a:pt x="685177" y="1244469"/>
                    <a:pt x="656982" y="1293812"/>
                    <a:pt x="693850" y="1238510"/>
                  </a:cubicBezTo>
                  <a:cubicBezTo>
                    <a:pt x="696858" y="1223472"/>
                    <a:pt x="708524" y="1162525"/>
                    <a:pt x="712900" y="1155960"/>
                  </a:cubicBezTo>
                  <a:cubicBezTo>
                    <a:pt x="717133" y="1149610"/>
                    <a:pt x="722187" y="1143736"/>
                    <a:pt x="725600" y="1136910"/>
                  </a:cubicBezTo>
                  <a:cubicBezTo>
                    <a:pt x="728593" y="1130923"/>
                    <a:pt x="727841" y="1123144"/>
                    <a:pt x="731950" y="1117860"/>
                  </a:cubicBezTo>
                  <a:cubicBezTo>
                    <a:pt x="742977" y="1103683"/>
                    <a:pt x="757350" y="1092460"/>
                    <a:pt x="770050" y="1079760"/>
                  </a:cubicBezTo>
                  <a:lnTo>
                    <a:pt x="789100" y="1060710"/>
                  </a:lnTo>
                  <a:cubicBezTo>
                    <a:pt x="795450" y="1054360"/>
                    <a:pt x="802762" y="1048844"/>
                    <a:pt x="808150" y="1041660"/>
                  </a:cubicBezTo>
                  <a:cubicBezTo>
                    <a:pt x="814500" y="1033193"/>
                    <a:pt x="819716" y="1023744"/>
                    <a:pt x="827200" y="1016260"/>
                  </a:cubicBezTo>
                  <a:cubicBezTo>
                    <a:pt x="832596" y="1010864"/>
                    <a:pt x="840387" y="1008446"/>
                    <a:pt x="846250" y="1003560"/>
                  </a:cubicBezTo>
                  <a:cubicBezTo>
                    <a:pt x="853149" y="997811"/>
                    <a:pt x="858401" y="990259"/>
                    <a:pt x="865300" y="984510"/>
                  </a:cubicBezTo>
                  <a:cubicBezTo>
                    <a:pt x="871163" y="979624"/>
                    <a:pt x="878487" y="976696"/>
                    <a:pt x="884350" y="971810"/>
                  </a:cubicBezTo>
                  <a:cubicBezTo>
                    <a:pt x="891249" y="966061"/>
                    <a:pt x="895928" y="957741"/>
                    <a:pt x="903400" y="952760"/>
                  </a:cubicBezTo>
                  <a:cubicBezTo>
                    <a:pt x="911768" y="947181"/>
                    <a:pt x="949620" y="940976"/>
                    <a:pt x="954200" y="940060"/>
                  </a:cubicBezTo>
                  <a:cubicBezTo>
                    <a:pt x="962667" y="942177"/>
                    <a:pt x="972338" y="941569"/>
                    <a:pt x="979600" y="946410"/>
                  </a:cubicBezTo>
                  <a:cubicBezTo>
                    <a:pt x="1037045" y="984707"/>
                    <a:pt x="949072" y="951051"/>
                    <a:pt x="1011350" y="971810"/>
                  </a:cubicBezTo>
                  <a:cubicBezTo>
                    <a:pt x="1044828" y="960651"/>
                    <a:pt x="1017739" y="972836"/>
                    <a:pt x="1049450" y="946410"/>
                  </a:cubicBezTo>
                  <a:cubicBezTo>
                    <a:pt x="1055313" y="941524"/>
                    <a:pt x="1062637" y="938596"/>
                    <a:pt x="1068500" y="933710"/>
                  </a:cubicBezTo>
                  <a:cubicBezTo>
                    <a:pt x="1075399" y="927961"/>
                    <a:pt x="1079700" y="919021"/>
                    <a:pt x="1087550" y="914660"/>
                  </a:cubicBezTo>
                  <a:cubicBezTo>
                    <a:pt x="1099252" y="908159"/>
                    <a:pt x="1112950" y="906193"/>
                    <a:pt x="1125650" y="901960"/>
                  </a:cubicBezTo>
                  <a:lnTo>
                    <a:pt x="1144700" y="895610"/>
                  </a:lnTo>
                  <a:cubicBezTo>
                    <a:pt x="1151050" y="891377"/>
                    <a:pt x="1156924" y="886323"/>
                    <a:pt x="1163750" y="882910"/>
                  </a:cubicBezTo>
                  <a:cubicBezTo>
                    <a:pt x="1176767" y="876401"/>
                    <a:pt x="1202474" y="872625"/>
                    <a:pt x="1214550" y="870210"/>
                  </a:cubicBezTo>
                  <a:cubicBezTo>
                    <a:pt x="1218783" y="863860"/>
                    <a:pt x="1225242" y="858523"/>
                    <a:pt x="1227250" y="851160"/>
                  </a:cubicBezTo>
                  <a:cubicBezTo>
                    <a:pt x="1239894" y="804799"/>
                    <a:pt x="1230274" y="758332"/>
                    <a:pt x="1227250" y="711460"/>
                  </a:cubicBezTo>
                  <a:cubicBezTo>
                    <a:pt x="1224929" y="675489"/>
                    <a:pt x="1226247" y="639157"/>
                    <a:pt x="1220900" y="603510"/>
                  </a:cubicBezTo>
                  <a:cubicBezTo>
                    <a:pt x="1219768" y="595963"/>
                    <a:pt x="1211300" y="591434"/>
                    <a:pt x="1208200" y="584460"/>
                  </a:cubicBezTo>
                  <a:cubicBezTo>
                    <a:pt x="1202763" y="572227"/>
                    <a:pt x="1199733" y="559060"/>
                    <a:pt x="1195500" y="546360"/>
                  </a:cubicBezTo>
                  <a:cubicBezTo>
                    <a:pt x="1186936" y="520669"/>
                    <a:pt x="1183156" y="530663"/>
                    <a:pt x="1163750" y="520960"/>
                  </a:cubicBezTo>
                  <a:cubicBezTo>
                    <a:pt x="1152711" y="515440"/>
                    <a:pt x="1141552" y="509726"/>
                    <a:pt x="1132000" y="501910"/>
                  </a:cubicBezTo>
                  <a:cubicBezTo>
                    <a:pt x="1118099" y="490537"/>
                    <a:pt x="1093900" y="463810"/>
                    <a:pt x="1093900" y="463810"/>
                  </a:cubicBezTo>
                  <a:cubicBezTo>
                    <a:pt x="1091783" y="455343"/>
                    <a:pt x="1092175" y="445811"/>
                    <a:pt x="1087550" y="438410"/>
                  </a:cubicBezTo>
                  <a:cubicBezTo>
                    <a:pt x="1075310" y="418825"/>
                    <a:pt x="1057164" y="408476"/>
                    <a:pt x="1036750" y="400310"/>
                  </a:cubicBezTo>
                  <a:cubicBezTo>
                    <a:pt x="1024321" y="395338"/>
                    <a:pt x="998650" y="387610"/>
                    <a:pt x="998650" y="387610"/>
                  </a:cubicBezTo>
                  <a:cubicBezTo>
                    <a:pt x="996533" y="357977"/>
                    <a:pt x="997463" y="327967"/>
                    <a:pt x="992300" y="298710"/>
                  </a:cubicBezTo>
                  <a:cubicBezTo>
                    <a:pt x="990974" y="291194"/>
                    <a:pt x="984486" y="285523"/>
                    <a:pt x="979600" y="279660"/>
                  </a:cubicBezTo>
                  <a:cubicBezTo>
                    <a:pt x="913266" y="200059"/>
                    <a:pt x="1012843" y="330334"/>
                    <a:pt x="941500" y="235210"/>
                  </a:cubicBezTo>
                  <a:cubicBezTo>
                    <a:pt x="939383" y="218277"/>
                    <a:pt x="938203" y="201200"/>
                    <a:pt x="935150" y="184410"/>
                  </a:cubicBezTo>
                  <a:cubicBezTo>
                    <a:pt x="933953" y="177824"/>
                    <a:pt x="932981" y="170587"/>
                    <a:pt x="928800" y="165360"/>
                  </a:cubicBezTo>
                  <a:cubicBezTo>
                    <a:pt x="924032" y="159401"/>
                    <a:pt x="916100" y="156893"/>
                    <a:pt x="909750" y="152660"/>
                  </a:cubicBezTo>
                  <a:cubicBezTo>
                    <a:pt x="905517" y="146310"/>
                    <a:pt x="898129" y="141165"/>
                    <a:pt x="897050" y="133610"/>
                  </a:cubicBezTo>
                  <a:cubicBezTo>
                    <a:pt x="893035" y="105507"/>
                    <a:pt x="927524" y="84086"/>
                    <a:pt x="941500" y="70110"/>
                  </a:cubicBezTo>
                  <a:lnTo>
                    <a:pt x="960550" y="51060"/>
                  </a:lnTo>
                  <a:cubicBezTo>
                    <a:pt x="963587" y="48023"/>
                    <a:pt x="1004780" y="38415"/>
                    <a:pt x="1005000" y="38360"/>
                  </a:cubicBezTo>
                  <a:cubicBezTo>
                    <a:pt x="1009634" y="89332"/>
                    <a:pt x="999167" y="97401"/>
                    <a:pt x="1024050" y="127260"/>
                  </a:cubicBezTo>
                  <a:cubicBezTo>
                    <a:pt x="1029799" y="134159"/>
                    <a:pt x="1036011" y="140797"/>
                    <a:pt x="1043100" y="146310"/>
                  </a:cubicBezTo>
                  <a:cubicBezTo>
                    <a:pt x="1055148" y="155681"/>
                    <a:pt x="1081200" y="171710"/>
                    <a:pt x="1081200" y="171710"/>
                  </a:cubicBezTo>
                  <a:cubicBezTo>
                    <a:pt x="1083317" y="178060"/>
                    <a:pt x="1080897" y="190021"/>
                    <a:pt x="1087550" y="190760"/>
                  </a:cubicBezTo>
                  <a:cubicBezTo>
                    <a:pt x="1123375" y="194741"/>
                    <a:pt x="1160154" y="191479"/>
                    <a:pt x="1195500" y="184410"/>
                  </a:cubicBezTo>
                  <a:cubicBezTo>
                    <a:pt x="1204306" y="182649"/>
                    <a:pt x="1209037" y="172449"/>
                    <a:pt x="1214550" y="165360"/>
                  </a:cubicBezTo>
                  <a:cubicBezTo>
                    <a:pt x="1250213" y="119507"/>
                    <a:pt x="1222597" y="133044"/>
                    <a:pt x="1259000" y="120910"/>
                  </a:cubicBezTo>
                  <a:cubicBezTo>
                    <a:pt x="1273817" y="123027"/>
                    <a:pt x="1288774" y="124325"/>
                    <a:pt x="1303450" y="127260"/>
                  </a:cubicBezTo>
                  <a:cubicBezTo>
                    <a:pt x="1310014" y="128573"/>
                    <a:pt x="1320383" y="127260"/>
                    <a:pt x="1322500" y="133610"/>
                  </a:cubicBezTo>
                  <a:cubicBezTo>
                    <a:pt x="1325913" y="143849"/>
                    <a:pt x="1318990" y="154947"/>
                    <a:pt x="1316150" y="165360"/>
                  </a:cubicBezTo>
                  <a:cubicBezTo>
                    <a:pt x="1312628" y="178275"/>
                    <a:pt x="1303450" y="203460"/>
                    <a:pt x="1303450" y="203460"/>
                  </a:cubicBezTo>
                  <a:cubicBezTo>
                    <a:pt x="1305843" y="217815"/>
                    <a:pt x="1304486" y="255196"/>
                    <a:pt x="1328850" y="260610"/>
                  </a:cubicBezTo>
                  <a:cubicBezTo>
                    <a:pt x="1341419" y="263403"/>
                    <a:pt x="1354250" y="256377"/>
                    <a:pt x="1366950" y="254260"/>
                  </a:cubicBezTo>
                  <a:cubicBezTo>
                    <a:pt x="1419249" y="236827"/>
                    <a:pt x="1391798" y="243453"/>
                    <a:pt x="1449500" y="235210"/>
                  </a:cubicBezTo>
                  <a:cubicBezTo>
                    <a:pt x="1457967" y="237327"/>
                    <a:pt x="1469220" y="234934"/>
                    <a:pt x="1474900" y="241560"/>
                  </a:cubicBezTo>
                  <a:cubicBezTo>
                    <a:pt x="1483612" y="251724"/>
                    <a:pt x="1487600" y="279660"/>
                    <a:pt x="1487600" y="279660"/>
                  </a:cubicBezTo>
                  <a:cubicBezTo>
                    <a:pt x="1483367" y="288127"/>
                    <a:pt x="1478629" y="296359"/>
                    <a:pt x="1474900" y="305060"/>
                  </a:cubicBezTo>
                  <a:cubicBezTo>
                    <a:pt x="1472263" y="311212"/>
                    <a:pt x="1472731" y="318883"/>
                    <a:pt x="1468550" y="324110"/>
                  </a:cubicBezTo>
                  <a:cubicBezTo>
                    <a:pt x="1463782" y="330069"/>
                    <a:pt x="1455850" y="332577"/>
                    <a:pt x="1449500" y="336810"/>
                  </a:cubicBezTo>
                  <a:cubicBezTo>
                    <a:pt x="1453865" y="358634"/>
                    <a:pt x="1456222" y="373035"/>
                    <a:pt x="1462200" y="393960"/>
                  </a:cubicBezTo>
                  <a:cubicBezTo>
                    <a:pt x="1464039" y="400396"/>
                    <a:pt x="1465913" y="406858"/>
                    <a:pt x="1468550" y="413010"/>
                  </a:cubicBezTo>
                  <a:cubicBezTo>
                    <a:pt x="1472279" y="421711"/>
                    <a:pt x="1477017" y="429943"/>
                    <a:pt x="1481250" y="438410"/>
                  </a:cubicBezTo>
                  <a:lnTo>
                    <a:pt x="1455850" y="476510"/>
                  </a:lnTo>
                  <a:lnTo>
                    <a:pt x="1443150" y="495560"/>
                  </a:lnTo>
                  <a:cubicBezTo>
                    <a:pt x="1448161" y="510592"/>
                    <a:pt x="1455850" y="531035"/>
                    <a:pt x="1455850" y="546360"/>
                  </a:cubicBezTo>
                  <a:cubicBezTo>
                    <a:pt x="1455850" y="561929"/>
                    <a:pt x="1447346" y="593076"/>
                    <a:pt x="1443150" y="609860"/>
                  </a:cubicBezTo>
                  <a:cubicBezTo>
                    <a:pt x="1438450" y="680367"/>
                    <a:pt x="1443906" y="683414"/>
                    <a:pt x="1430450" y="730510"/>
                  </a:cubicBezTo>
                  <a:cubicBezTo>
                    <a:pt x="1428611" y="736946"/>
                    <a:pt x="1427351" y="743709"/>
                    <a:pt x="1424100" y="749560"/>
                  </a:cubicBezTo>
                  <a:cubicBezTo>
                    <a:pt x="1416687" y="762903"/>
                    <a:pt x="1409493" y="776867"/>
                    <a:pt x="1398700" y="787660"/>
                  </a:cubicBezTo>
                  <a:lnTo>
                    <a:pt x="1354250" y="832110"/>
                  </a:lnTo>
                  <a:cubicBezTo>
                    <a:pt x="1336082" y="886614"/>
                    <a:pt x="1363901" y="799855"/>
                    <a:pt x="1341550" y="889260"/>
                  </a:cubicBezTo>
                  <a:cubicBezTo>
                    <a:pt x="1338303" y="902247"/>
                    <a:pt x="1336276" y="916221"/>
                    <a:pt x="1328850" y="927360"/>
                  </a:cubicBezTo>
                  <a:lnTo>
                    <a:pt x="1316150" y="946410"/>
                  </a:lnTo>
                  <a:cubicBezTo>
                    <a:pt x="1318267" y="952760"/>
                    <a:pt x="1321670" y="958818"/>
                    <a:pt x="1322500" y="965460"/>
                  </a:cubicBezTo>
                  <a:cubicBezTo>
                    <a:pt x="1325923" y="992845"/>
                    <a:pt x="1320123" y="1021828"/>
                    <a:pt x="1328850" y="1048010"/>
                  </a:cubicBezTo>
                  <a:cubicBezTo>
                    <a:pt x="1330967" y="1054360"/>
                    <a:pt x="1341550" y="1043777"/>
                    <a:pt x="1347900" y="1041660"/>
                  </a:cubicBezTo>
                  <a:cubicBezTo>
                    <a:pt x="1379432" y="994362"/>
                    <a:pt x="1338906" y="1052453"/>
                    <a:pt x="1379650" y="1003560"/>
                  </a:cubicBezTo>
                  <a:cubicBezTo>
                    <a:pt x="1384536" y="997697"/>
                    <a:pt x="1386391" y="989278"/>
                    <a:pt x="1392350" y="984510"/>
                  </a:cubicBezTo>
                  <a:cubicBezTo>
                    <a:pt x="1400577" y="977928"/>
                    <a:pt x="1449110" y="971875"/>
                    <a:pt x="1449500" y="971810"/>
                  </a:cubicBezTo>
                  <a:cubicBezTo>
                    <a:pt x="1460083" y="965460"/>
                    <a:pt x="1473218" y="962131"/>
                    <a:pt x="1481250" y="952760"/>
                  </a:cubicBezTo>
                  <a:cubicBezTo>
                    <a:pt x="1486930" y="946134"/>
                    <a:pt x="1485092" y="935719"/>
                    <a:pt x="1487600" y="927360"/>
                  </a:cubicBezTo>
                  <a:cubicBezTo>
                    <a:pt x="1491447" y="914538"/>
                    <a:pt x="1496067" y="901960"/>
                    <a:pt x="1500300" y="889260"/>
                  </a:cubicBezTo>
                  <a:lnTo>
                    <a:pt x="1500300" y="889260"/>
                  </a:lnTo>
                  <a:cubicBezTo>
                    <a:pt x="1555955" y="833605"/>
                    <a:pt x="1487847" y="904204"/>
                    <a:pt x="1532050" y="851160"/>
                  </a:cubicBezTo>
                  <a:cubicBezTo>
                    <a:pt x="1537799" y="844261"/>
                    <a:pt x="1545587" y="839199"/>
                    <a:pt x="1551100" y="832110"/>
                  </a:cubicBezTo>
                  <a:cubicBezTo>
                    <a:pt x="1577225" y="798521"/>
                    <a:pt x="1575012" y="797730"/>
                    <a:pt x="1589200" y="762260"/>
                  </a:cubicBezTo>
                  <a:lnTo>
                    <a:pt x="1652700" y="774960"/>
                  </a:lnTo>
                  <a:lnTo>
                    <a:pt x="1684450" y="781310"/>
                  </a:lnTo>
                  <a:cubicBezTo>
                    <a:pt x="1713038" y="800368"/>
                    <a:pt x="1718656" y="808417"/>
                    <a:pt x="1767000" y="800360"/>
                  </a:cubicBezTo>
                  <a:cubicBezTo>
                    <a:pt x="1774528" y="799105"/>
                    <a:pt x="1775467" y="787660"/>
                    <a:pt x="1779700" y="781310"/>
                  </a:cubicBezTo>
                  <a:cubicBezTo>
                    <a:pt x="1767213" y="762579"/>
                    <a:pt x="1766285" y="758489"/>
                    <a:pt x="1747950" y="743210"/>
                  </a:cubicBezTo>
                  <a:cubicBezTo>
                    <a:pt x="1742087" y="738324"/>
                    <a:pt x="1735250" y="734743"/>
                    <a:pt x="1728900" y="730510"/>
                  </a:cubicBezTo>
                  <a:cubicBezTo>
                    <a:pt x="1724667" y="722043"/>
                    <a:pt x="1717539" y="714481"/>
                    <a:pt x="1716200" y="705110"/>
                  </a:cubicBezTo>
                  <a:cubicBezTo>
                    <a:pt x="1714261" y="691535"/>
                    <a:pt x="1736932" y="666884"/>
                    <a:pt x="1741600" y="660660"/>
                  </a:cubicBezTo>
                  <a:cubicBezTo>
                    <a:pt x="1762040" y="599339"/>
                    <a:pt x="1729263" y="694677"/>
                    <a:pt x="1760650" y="616210"/>
                  </a:cubicBezTo>
                  <a:cubicBezTo>
                    <a:pt x="1783320" y="559535"/>
                    <a:pt x="1761616" y="595711"/>
                    <a:pt x="1786050" y="559060"/>
                  </a:cubicBezTo>
                  <a:cubicBezTo>
                    <a:pt x="1788167" y="540010"/>
                    <a:pt x="1789249" y="520816"/>
                    <a:pt x="1792400" y="501910"/>
                  </a:cubicBezTo>
                  <a:cubicBezTo>
                    <a:pt x="1793500" y="495308"/>
                    <a:pt x="1798750" y="489553"/>
                    <a:pt x="1798750" y="482860"/>
                  </a:cubicBezTo>
                  <a:cubicBezTo>
                    <a:pt x="1798750" y="449887"/>
                    <a:pt x="1789760" y="430490"/>
                    <a:pt x="1779700" y="400310"/>
                  </a:cubicBezTo>
                  <a:cubicBezTo>
                    <a:pt x="1773129" y="380596"/>
                    <a:pt x="1778435" y="363738"/>
                    <a:pt x="1760650" y="349510"/>
                  </a:cubicBezTo>
                  <a:cubicBezTo>
                    <a:pt x="1755423" y="345329"/>
                    <a:pt x="1747950" y="345277"/>
                    <a:pt x="1741600" y="343160"/>
                  </a:cubicBezTo>
                  <a:cubicBezTo>
                    <a:pt x="1733134" y="317762"/>
                    <a:pt x="1732787" y="328086"/>
                    <a:pt x="1741600" y="298710"/>
                  </a:cubicBezTo>
                  <a:cubicBezTo>
                    <a:pt x="1749884" y="271098"/>
                    <a:pt x="1749702" y="257326"/>
                    <a:pt x="1773350" y="241560"/>
                  </a:cubicBezTo>
                  <a:cubicBezTo>
                    <a:pt x="1778919" y="237847"/>
                    <a:pt x="1786050" y="237327"/>
                    <a:pt x="1792400" y="235210"/>
                  </a:cubicBezTo>
                  <a:cubicBezTo>
                    <a:pt x="1800867" y="237327"/>
                    <a:pt x="1811232" y="235813"/>
                    <a:pt x="1817800" y="241560"/>
                  </a:cubicBezTo>
                  <a:cubicBezTo>
                    <a:pt x="1829287" y="251611"/>
                    <a:pt x="1834733" y="266960"/>
                    <a:pt x="1843200" y="279660"/>
                  </a:cubicBezTo>
                  <a:cubicBezTo>
                    <a:pt x="1852571" y="293717"/>
                    <a:pt x="1860282" y="307981"/>
                    <a:pt x="1874950" y="317760"/>
                  </a:cubicBezTo>
                  <a:cubicBezTo>
                    <a:pt x="1880519" y="321473"/>
                    <a:pt x="1887650" y="321993"/>
                    <a:pt x="1894000" y="324110"/>
                  </a:cubicBezTo>
                  <a:cubicBezTo>
                    <a:pt x="1902467" y="321993"/>
                    <a:pt x="1911378" y="321198"/>
                    <a:pt x="1919400" y="317760"/>
                  </a:cubicBezTo>
                  <a:cubicBezTo>
                    <a:pt x="1926415" y="314754"/>
                    <a:pt x="1930934" y="306386"/>
                    <a:pt x="1938450" y="305060"/>
                  </a:cubicBezTo>
                  <a:cubicBezTo>
                    <a:pt x="1967707" y="299897"/>
                    <a:pt x="1997717" y="300827"/>
                    <a:pt x="2027350" y="298710"/>
                  </a:cubicBezTo>
                  <a:cubicBezTo>
                    <a:pt x="2029467" y="292360"/>
                    <a:pt x="2028967" y="284393"/>
                    <a:pt x="2033700" y="279660"/>
                  </a:cubicBezTo>
                  <a:cubicBezTo>
                    <a:pt x="2038433" y="274927"/>
                    <a:pt x="2046124" y="274257"/>
                    <a:pt x="2052750" y="273310"/>
                  </a:cubicBezTo>
                  <a:cubicBezTo>
                    <a:pt x="2075894" y="270004"/>
                    <a:pt x="2099317" y="269077"/>
                    <a:pt x="2122600" y="266960"/>
                  </a:cubicBezTo>
                  <a:cubicBezTo>
                    <a:pt x="2134563" y="254997"/>
                    <a:pt x="2147277" y="244773"/>
                    <a:pt x="2154350" y="228860"/>
                  </a:cubicBezTo>
                  <a:cubicBezTo>
                    <a:pt x="2159787" y="216627"/>
                    <a:pt x="2162817" y="203460"/>
                    <a:pt x="2167050" y="190760"/>
                  </a:cubicBezTo>
                  <a:cubicBezTo>
                    <a:pt x="2171877" y="176280"/>
                    <a:pt x="2187623" y="167140"/>
                    <a:pt x="2192450" y="152660"/>
                  </a:cubicBezTo>
                  <a:cubicBezTo>
                    <a:pt x="2208411" y="104777"/>
                    <a:pt x="2186881" y="163799"/>
                    <a:pt x="2211500" y="114560"/>
                  </a:cubicBezTo>
                  <a:cubicBezTo>
                    <a:pt x="2225319" y="86922"/>
                    <a:pt x="2208527" y="100942"/>
                    <a:pt x="2230550" y="70110"/>
                  </a:cubicBezTo>
                  <a:cubicBezTo>
                    <a:pt x="2235770" y="62802"/>
                    <a:pt x="2243851" y="57959"/>
                    <a:pt x="2249600" y="51060"/>
                  </a:cubicBezTo>
                  <a:cubicBezTo>
                    <a:pt x="2254486" y="45197"/>
                    <a:pt x="2256904" y="37406"/>
                    <a:pt x="2262300" y="32010"/>
                  </a:cubicBezTo>
                  <a:cubicBezTo>
                    <a:pt x="2274610" y="19700"/>
                    <a:pt x="2284906" y="18125"/>
                    <a:pt x="2300400" y="12960"/>
                  </a:cubicBezTo>
                  <a:cubicBezTo>
                    <a:pt x="2306750" y="8727"/>
                    <a:pt x="2311833" y="736"/>
                    <a:pt x="2319450" y="260"/>
                  </a:cubicBezTo>
                  <a:cubicBezTo>
                    <a:pt x="2350746" y="-1696"/>
                    <a:pt x="2410569" y="7834"/>
                    <a:pt x="2446450" y="12960"/>
                  </a:cubicBezTo>
                  <a:cubicBezTo>
                    <a:pt x="2452800" y="17193"/>
                    <a:pt x="2460104" y="20264"/>
                    <a:pt x="2465500" y="25660"/>
                  </a:cubicBezTo>
                  <a:cubicBezTo>
                    <a:pt x="2492997" y="53157"/>
                    <a:pt x="2466898" y="55965"/>
                    <a:pt x="2484550" y="101860"/>
                  </a:cubicBezTo>
                  <a:cubicBezTo>
                    <a:pt x="2494033" y="126516"/>
                    <a:pt x="2510134" y="126535"/>
                    <a:pt x="2529000" y="133610"/>
                  </a:cubicBezTo>
                  <a:cubicBezTo>
                    <a:pt x="2539673" y="137612"/>
                    <a:pt x="2550167" y="142077"/>
                    <a:pt x="2560750" y="146310"/>
                  </a:cubicBezTo>
                  <a:cubicBezTo>
                    <a:pt x="2604744" y="212302"/>
                    <a:pt x="2559835" y="137769"/>
                    <a:pt x="2579800" y="324110"/>
                  </a:cubicBezTo>
                  <a:cubicBezTo>
                    <a:pt x="2580613" y="331698"/>
                    <a:pt x="2589400" y="336186"/>
                    <a:pt x="2592500" y="343160"/>
                  </a:cubicBezTo>
                  <a:cubicBezTo>
                    <a:pt x="2597937" y="355393"/>
                    <a:pt x="2605200" y="381260"/>
                    <a:pt x="2605200" y="381260"/>
                  </a:cubicBezTo>
                  <a:lnTo>
                    <a:pt x="2579800" y="419360"/>
                  </a:lnTo>
                  <a:cubicBezTo>
                    <a:pt x="2568000" y="437060"/>
                    <a:pt x="2578233" y="462133"/>
                    <a:pt x="2573450" y="482860"/>
                  </a:cubicBezTo>
                  <a:cubicBezTo>
                    <a:pt x="2571734" y="490296"/>
                    <a:pt x="2564983" y="495560"/>
                    <a:pt x="2560750" y="501910"/>
                  </a:cubicBezTo>
                  <a:cubicBezTo>
                    <a:pt x="2560701" y="502302"/>
                    <a:pt x="2554763" y="566362"/>
                    <a:pt x="2548050" y="578110"/>
                  </a:cubicBezTo>
                  <a:cubicBezTo>
                    <a:pt x="2543595" y="585907"/>
                    <a:pt x="2534749" y="590261"/>
                    <a:pt x="2529000" y="597160"/>
                  </a:cubicBezTo>
                  <a:cubicBezTo>
                    <a:pt x="2524114" y="603023"/>
                    <a:pt x="2520533" y="609860"/>
                    <a:pt x="2516300" y="616210"/>
                  </a:cubicBezTo>
                  <a:cubicBezTo>
                    <a:pt x="2520533" y="631027"/>
                    <a:pt x="2522109" y="646877"/>
                    <a:pt x="2529000" y="660660"/>
                  </a:cubicBezTo>
                  <a:cubicBezTo>
                    <a:pt x="2539486" y="681632"/>
                    <a:pt x="2553658" y="681662"/>
                    <a:pt x="2573450" y="686060"/>
                  </a:cubicBezTo>
                  <a:cubicBezTo>
                    <a:pt x="2583986" y="688401"/>
                    <a:pt x="2594617" y="690293"/>
                    <a:pt x="2605200" y="692410"/>
                  </a:cubicBezTo>
                  <a:cubicBezTo>
                    <a:pt x="2613667" y="696643"/>
                    <a:pt x="2621899" y="701381"/>
                    <a:pt x="2630600" y="705110"/>
                  </a:cubicBezTo>
                  <a:cubicBezTo>
                    <a:pt x="2636752" y="707747"/>
                    <a:pt x="2643498" y="708823"/>
                    <a:pt x="2649650" y="711460"/>
                  </a:cubicBezTo>
                  <a:cubicBezTo>
                    <a:pt x="2658351" y="715189"/>
                    <a:pt x="2666583" y="719927"/>
                    <a:pt x="2675050" y="724160"/>
                  </a:cubicBezTo>
                  <a:cubicBezTo>
                    <a:pt x="2672933" y="738977"/>
                    <a:pt x="2674259" y="754713"/>
                    <a:pt x="2668700" y="768610"/>
                  </a:cubicBezTo>
                  <a:cubicBezTo>
                    <a:pt x="2665365" y="776948"/>
                    <a:pt x="2655399" y="780761"/>
                    <a:pt x="2649650" y="787660"/>
                  </a:cubicBezTo>
                  <a:cubicBezTo>
                    <a:pt x="2644764" y="793523"/>
                    <a:pt x="2641183" y="800360"/>
                    <a:pt x="2636950" y="806710"/>
                  </a:cubicBezTo>
                  <a:cubicBezTo>
                    <a:pt x="2634833" y="817293"/>
                    <a:pt x="2633218" y="827989"/>
                    <a:pt x="2630600" y="838460"/>
                  </a:cubicBezTo>
                  <a:cubicBezTo>
                    <a:pt x="2628977" y="844954"/>
                    <a:pt x="2626089" y="851074"/>
                    <a:pt x="2624250" y="857510"/>
                  </a:cubicBezTo>
                  <a:cubicBezTo>
                    <a:pt x="2621852" y="865901"/>
                    <a:pt x="2620017" y="874443"/>
                    <a:pt x="2617900" y="882910"/>
                  </a:cubicBezTo>
                  <a:cubicBezTo>
                    <a:pt x="2619427" y="890546"/>
                    <a:pt x="2622732" y="928023"/>
                    <a:pt x="2636950" y="933710"/>
                  </a:cubicBezTo>
                  <a:cubicBezTo>
                    <a:pt x="2643165" y="936196"/>
                    <a:pt x="2649650" y="929477"/>
                    <a:pt x="2656000" y="927360"/>
                  </a:cubicBezTo>
                  <a:cubicBezTo>
                    <a:pt x="2658117" y="914660"/>
                    <a:pt x="2660529" y="902006"/>
                    <a:pt x="2662350" y="889260"/>
                  </a:cubicBezTo>
                  <a:cubicBezTo>
                    <a:pt x="2671325" y="826433"/>
                    <a:pt x="2662599" y="856762"/>
                    <a:pt x="2675050" y="819410"/>
                  </a:cubicBezTo>
                  <a:cubicBezTo>
                    <a:pt x="2675430" y="814095"/>
                    <a:pt x="2676131" y="732221"/>
                    <a:pt x="2687750" y="705110"/>
                  </a:cubicBezTo>
                  <a:cubicBezTo>
                    <a:pt x="2690756" y="698095"/>
                    <a:pt x="2696217" y="692410"/>
                    <a:pt x="2700450" y="686060"/>
                  </a:cubicBezTo>
                  <a:cubicBezTo>
                    <a:pt x="2702567" y="673360"/>
                    <a:pt x="2697696" y="657064"/>
                    <a:pt x="2706800" y="647960"/>
                  </a:cubicBezTo>
                  <a:cubicBezTo>
                    <a:pt x="2712196" y="642564"/>
                    <a:pt x="2720745" y="654987"/>
                    <a:pt x="2725850" y="660660"/>
                  </a:cubicBezTo>
                  <a:cubicBezTo>
                    <a:pt x="2740010" y="676393"/>
                    <a:pt x="2745018" y="701994"/>
                    <a:pt x="2763950" y="711460"/>
                  </a:cubicBezTo>
                  <a:cubicBezTo>
                    <a:pt x="2787515" y="723242"/>
                    <a:pt x="2792018" y="722147"/>
                    <a:pt x="2808400" y="743210"/>
                  </a:cubicBezTo>
                  <a:cubicBezTo>
                    <a:pt x="2817771" y="755258"/>
                    <a:pt x="2825333" y="768610"/>
                    <a:pt x="2833800" y="781310"/>
                  </a:cubicBezTo>
                  <a:lnTo>
                    <a:pt x="2846500" y="800360"/>
                  </a:lnTo>
                  <a:cubicBezTo>
                    <a:pt x="2852770" y="825441"/>
                    <a:pt x="2856126" y="854477"/>
                    <a:pt x="2871900" y="876560"/>
                  </a:cubicBezTo>
                  <a:cubicBezTo>
                    <a:pt x="2877120" y="883868"/>
                    <a:pt x="2883642" y="890390"/>
                    <a:pt x="2890950" y="895610"/>
                  </a:cubicBezTo>
                  <a:cubicBezTo>
                    <a:pt x="2898653" y="901112"/>
                    <a:pt x="2907883" y="904077"/>
                    <a:pt x="2916350" y="908310"/>
                  </a:cubicBezTo>
                  <a:cubicBezTo>
                    <a:pt x="2920583" y="914660"/>
                    <a:pt x="2924164" y="921497"/>
                    <a:pt x="2929050" y="927360"/>
                  </a:cubicBezTo>
                  <a:cubicBezTo>
                    <a:pt x="2934799" y="934259"/>
                    <a:pt x="2943739" y="938560"/>
                    <a:pt x="2948100" y="946410"/>
                  </a:cubicBezTo>
                  <a:cubicBezTo>
                    <a:pt x="2986950" y="1016339"/>
                    <a:pt x="2935697" y="959407"/>
                    <a:pt x="2979850" y="1003560"/>
                  </a:cubicBezTo>
                  <a:cubicBezTo>
                    <a:pt x="2981967" y="1016260"/>
                    <a:pt x="2982129" y="1029446"/>
                    <a:pt x="2986200" y="1041660"/>
                  </a:cubicBezTo>
                  <a:cubicBezTo>
                    <a:pt x="2988613" y="1048900"/>
                    <a:pt x="2995487" y="1053884"/>
                    <a:pt x="2998900" y="1060710"/>
                  </a:cubicBezTo>
                  <a:cubicBezTo>
                    <a:pt x="3017280" y="1097469"/>
                    <a:pt x="2988188" y="1062698"/>
                    <a:pt x="3024300" y="1098810"/>
                  </a:cubicBezTo>
                  <a:cubicBezTo>
                    <a:pt x="3030664" y="1117903"/>
                    <a:pt x="3029673" y="1120497"/>
                    <a:pt x="3043350" y="1136910"/>
                  </a:cubicBezTo>
                  <a:cubicBezTo>
                    <a:pt x="3049099" y="1143809"/>
                    <a:pt x="3056651" y="1149061"/>
                    <a:pt x="3062400" y="1155960"/>
                  </a:cubicBezTo>
                  <a:cubicBezTo>
                    <a:pt x="3081710" y="1179132"/>
                    <a:pt x="3067787" y="1173556"/>
                    <a:pt x="3094150" y="1194060"/>
                  </a:cubicBezTo>
                  <a:cubicBezTo>
                    <a:pt x="3106198" y="1203431"/>
                    <a:pt x="3121457" y="1208667"/>
                    <a:pt x="3132250" y="1219460"/>
                  </a:cubicBezTo>
                  <a:cubicBezTo>
                    <a:pt x="3156696" y="1243906"/>
                    <a:pt x="3143828" y="1233529"/>
                    <a:pt x="3170350" y="1251210"/>
                  </a:cubicBezTo>
                  <a:cubicBezTo>
                    <a:pt x="3172467" y="1257560"/>
                    <a:pt x="3175298" y="1263715"/>
                    <a:pt x="3176700" y="1270260"/>
                  </a:cubicBezTo>
                  <a:cubicBezTo>
                    <a:pt x="3181659" y="1293400"/>
                    <a:pt x="3180905" y="1318022"/>
                    <a:pt x="3189400" y="1340110"/>
                  </a:cubicBezTo>
                  <a:cubicBezTo>
                    <a:pt x="3192140" y="1347233"/>
                    <a:pt x="3202100" y="1348577"/>
                    <a:pt x="3208450" y="1352810"/>
                  </a:cubicBezTo>
                  <a:cubicBezTo>
                    <a:pt x="3213461" y="1367842"/>
                    <a:pt x="3223775" y="1388285"/>
                    <a:pt x="3208450" y="1403610"/>
                  </a:cubicBezTo>
                  <a:cubicBezTo>
                    <a:pt x="3198984" y="1413076"/>
                    <a:pt x="3170350" y="1416310"/>
                    <a:pt x="3170350" y="1416310"/>
                  </a:cubicBezTo>
                  <a:cubicBezTo>
                    <a:pt x="3164000" y="1420543"/>
                    <a:pt x="3155086" y="1422384"/>
                    <a:pt x="3151300" y="1429010"/>
                  </a:cubicBezTo>
                  <a:cubicBezTo>
                    <a:pt x="3138477" y="1451451"/>
                    <a:pt x="3151564" y="1460365"/>
                    <a:pt x="3138600" y="1479810"/>
                  </a:cubicBezTo>
                  <a:cubicBezTo>
                    <a:pt x="3131578" y="1490343"/>
                    <a:pt x="3112214" y="1505703"/>
                    <a:pt x="3100500" y="1511560"/>
                  </a:cubicBezTo>
                  <a:cubicBezTo>
                    <a:pt x="3094513" y="1514553"/>
                    <a:pt x="3087800" y="1515793"/>
                    <a:pt x="3081450" y="1517910"/>
                  </a:cubicBezTo>
                  <a:cubicBezTo>
                    <a:pt x="3075100" y="1522143"/>
                    <a:pt x="3069374" y="1527510"/>
                    <a:pt x="3062400" y="1530610"/>
                  </a:cubicBezTo>
                  <a:cubicBezTo>
                    <a:pt x="3050167" y="1536047"/>
                    <a:pt x="3036274" y="1537323"/>
                    <a:pt x="3024300" y="1543310"/>
                  </a:cubicBezTo>
                  <a:lnTo>
                    <a:pt x="2998900" y="1556010"/>
                  </a:lnTo>
                  <a:cubicBezTo>
                    <a:pt x="2990433" y="1568710"/>
                    <a:pt x="2986588" y="1586257"/>
                    <a:pt x="2973500" y="1594110"/>
                  </a:cubicBezTo>
                  <a:cubicBezTo>
                    <a:pt x="2934049" y="1617780"/>
                    <a:pt x="2950477" y="1604433"/>
                    <a:pt x="2922700" y="1632210"/>
                  </a:cubicBezTo>
                  <a:cubicBezTo>
                    <a:pt x="2924817" y="1659727"/>
                    <a:pt x="2922357" y="1687986"/>
                    <a:pt x="2929050" y="1714760"/>
                  </a:cubicBezTo>
                  <a:cubicBezTo>
                    <a:pt x="2931228" y="1723472"/>
                    <a:pt x="2943739" y="1725960"/>
                    <a:pt x="2948100" y="1733810"/>
                  </a:cubicBezTo>
                  <a:cubicBezTo>
                    <a:pt x="2954601" y="1745512"/>
                    <a:pt x="2960800" y="1771910"/>
                    <a:pt x="2960800" y="1771910"/>
                  </a:cubicBezTo>
                  <a:cubicBezTo>
                    <a:pt x="2958683" y="1797310"/>
                    <a:pt x="2961452" y="1823603"/>
                    <a:pt x="2954450" y="1848110"/>
                  </a:cubicBezTo>
                  <a:cubicBezTo>
                    <a:pt x="2952353" y="1855448"/>
                    <a:pt x="2940796" y="1855414"/>
                    <a:pt x="2935400" y="1860810"/>
                  </a:cubicBezTo>
                  <a:cubicBezTo>
                    <a:pt x="2930004" y="1866206"/>
                    <a:pt x="2926933" y="1873510"/>
                    <a:pt x="2922700" y="1879860"/>
                  </a:cubicBezTo>
                  <a:cubicBezTo>
                    <a:pt x="2918467" y="1911610"/>
                    <a:pt x="2914996" y="1943471"/>
                    <a:pt x="2910000" y="1975110"/>
                  </a:cubicBezTo>
                  <a:cubicBezTo>
                    <a:pt x="2908639" y="1983730"/>
                    <a:pt x="2906714" y="1992338"/>
                    <a:pt x="2903650" y="2000510"/>
                  </a:cubicBezTo>
                  <a:cubicBezTo>
                    <a:pt x="2896744" y="2018925"/>
                    <a:pt x="2888778" y="2029169"/>
                    <a:pt x="2878250" y="2044960"/>
                  </a:cubicBezTo>
                  <a:cubicBezTo>
                    <a:pt x="2876133" y="2061893"/>
                    <a:pt x="2874705" y="2078927"/>
                    <a:pt x="2871900" y="2095760"/>
                  </a:cubicBezTo>
                  <a:cubicBezTo>
                    <a:pt x="2870465" y="2104368"/>
                    <a:pt x="2870555" y="2114010"/>
                    <a:pt x="2865550" y="2121160"/>
                  </a:cubicBezTo>
                  <a:cubicBezTo>
                    <a:pt x="2846520" y="2148345"/>
                    <a:pt x="2831998" y="2156228"/>
                    <a:pt x="2808400" y="2171960"/>
                  </a:cubicBezTo>
                  <a:cubicBezTo>
                    <a:pt x="2801859" y="2198125"/>
                    <a:pt x="2799160" y="2206051"/>
                    <a:pt x="2795700" y="2235460"/>
                  </a:cubicBezTo>
                  <a:cubicBezTo>
                    <a:pt x="2792968" y="2258679"/>
                    <a:pt x="2796226" y="2282965"/>
                    <a:pt x="2789350" y="2305310"/>
                  </a:cubicBezTo>
                  <a:cubicBezTo>
                    <a:pt x="2787106" y="2312604"/>
                    <a:pt x="2776926" y="2314224"/>
                    <a:pt x="2770300" y="2318010"/>
                  </a:cubicBezTo>
                  <a:cubicBezTo>
                    <a:pt x="2712477" y="2351052"/>
                    <a:pt x="2779059" y="2305059"/>
                    <a:pt x="2719500" y="2356110"/>
                  </a:cubicBezTo>
                  <a:cubicBezTo>
                    <a:pt x="2695041" y="2377075"/>
                    <a:pt x="2703419" y="2359550"/>
                    <a:pt x="2681400" y="2387860"/>
                  </a:cubicBezTo>
                  <a:cubicBezTo>
                    <a:pt x="2672029" y="2399908"/>
                    <a:pt x="2670480" y="2421133"/>
                    <a:pt x="2656000" y="2425960"/>
                  </a:cubicBezTo>
                  <a:lnTo>
                    <a:pt x="2617900" y="2438660"/>
                  </a:lnTo>
                  <a:lnTo>
                    <a:pt x="2579800" y="2464060"/>
                  </a:lnTo>
                  <a:cubicBezTo>
                    <a:pt x="2574231" y="2467773"/>
                    <a:pt x="2575211" y="2476652"/>
                    <a:pt x="2573450" y="2483110"/>
                  </a:cubicBezTo>
                  <a:cubicBezTo>
                    <a:pt x="2568857" y="2499949"/>
                    <a:pt x="2564983" y="2516977"/>
                    <a:pt x="2560750" y="2533910"/>
                  </a:cubicBezTo>
                  <a:cubicBezTo>
                    <a:pt x="2557627" y="2546401"/>
                    <a:pt x="2560158" y="2560494"/>
                    <a:pt x="2554400" y="2572010"/>
                  </a:cubicBezTo>
                  <a:cubicBezTo>
                    <a:pt x="2549045" y="2582720"/>
                    <a:pt x="2536184" y="2587831"/>
                    <a:pt x="2529000" y="2597410"/>
                  </a:cubicBezTo>
                  <a:cubicBezTo>
                    <a:pt x="2496774" y="2640378"/>
                    <a:pt x="2537167" y="2608899"/>
                    <a:pt x="2497250" y="2635510"/>
                  </a:cubicBezTo>
                  <a:cubicBezTo>
                    <a:pt x="2467320" y="2680405"/>
                    <a:pt x="2506408" y="2626352"/>
                    <a:pt x="2459150" y="2673610"/>
                  </a:cubicBezTo>
                  <a:cubicBezTo>
                    <a:pt x="2440952" y="2691808"/>
                    <a:pt x="2450429" y="2691052"/>
                    <a:pt x="2440100" y="2711710"/>
                  </a:cubicBezTo>
                  <a:cubicBezTo>
                    <a:pt x="2436687" y="2718536"/>
                    <a:pt x="2431633" y="2724410"/>
                    <a:pt x="2427400" y="2730760"/>
                  </a:cubicBezTo>
                  <a:cubicBezTo>
                    <a:pt x="2424370" y="2758030"/>
                    <a:pt x="2419878" y="2803884"/>
                    <a:pt x="2414700" y="2832360"/>
                  </a:cubicBezTo>
                  <a:cubicBezTo>
                    <a:pt x="2413139" y="2840946"/>
                    <a:pt x="2412253" y="2849954"/>
                    <a:pt x="2408350" y="2857760"/>
                  </a:cubicBezTo>
                  <a:cubicBezTo>
                    <a:pt x="2403617" y="2867226"/>
                    <a:pt x="2395650" y="2874693"/>
                    <a:pt x="2389300" y="2883160"/>
                  </a:cubicBezTo>
                  <a:cubicBezTo>
                    <a:pt x="2387183" y="2897977"/>
                    <a:pt x="2384369" y="2912710"/>
                    <a:pt x="2382950" y="2927610"/>
                  </a:cubicBezTo>
                  <a:cubicBezTo>
                    <a:pt x="2373603" y="3025758"/>
                    <a:pt x="2401950" y="2999610"/>
                    <a:pt x="2357550" y="3029210"/>
                  </a:cubicBezTo>
                  <a:cubicBezTo>
                    <a:pt x="2353317" y="3035560"/>
                    <a:pt x="2350809" y="3043492"/>
                    <a:pt x="2344850" y="3048260"/>
                  </a:cubicBezTo>
                  <a:cubicBezTo>
                    <a:pt x="2339623" y="3052441"/>
                    <a:pt x="2331787" y="3051617"/>
                    <a:pt x="2325800" y="3054610"/>
                  </a:cubicBezTo>
                  <a:cubicBezTo>
                    <a:pt x="2318974" y="3058023"/>
                    <a:pt x="2313100" y="3063077"/>
                    <a:pt x="2306750" y="3067310"/>
                  </a:cubicBezTo>
                  <a:cubicBezTo>
                    <a:pt x="2300386" y="3086403"/>
                    <a:pt x="2301377" y="3088997"/>
                    <a:pt x="2287700" y="3105410"/>
                  </a:cubicBezTo>
                  <a:cubicBezTo>
                    <a:pt x="2281951" y="3112309"/>
                    <a:pt x="2274399" y="3117561"/>
                    <a:pt x="2268650" y="3124460"/>
                  </a:cubicBezTo>
                  <a:cubicBezTo>
                    <a:pt x="2263764" y="3130323"/>
                    <a:pt x="2259363" y="3136684"/>
                    <a:pt x="2255950" y="3143510"/>
                  </a:cubicBezTo>
                  <a:cubicBezTo>
                    <a:pt x="2245621" y="3164168"/>
                    <a:pt x="2255098" y="3163412"/>
                    <a:pt x="2236900" y="3181610"/>
                  </a:cubicBezTo>
                  <a:cubicBezTo>
                    <a:pt x="2222282" y="3196228"/>
                    <a:pt x="2211881" y="3195802"/>
                    <a:pt x="2192450" y="3200660"/>
                  </a:cubicBezTo>
                  <a:cubicBezTo>
                    <a:pt x="2148781" y="3229773"/>
                    <a:pt x="2168830" y="3221233"/>
                    <a:pt x="2135300" y="3232410"/>
                  </a:cubicBezTo>
                  <a:cubicBezTo>
                    <a:pt x="2126833" y="3238760"/>
                    <a:pt x="2119089" y="3246209"/>
                    <a:pt x="2109900" y="3251460"/>
                  </a:cubicBezTo>
                  <a:cubicBezTo>
                    <a:pt x="2104088" y="3254781"/>
                    <a:pt x="2096419" y="3254097"/>
                    <a:pt x="2090850" y="3257810"/>
                  </a:cubicBezTo>
                  <a:cubicBezTo>
                    <a:pt x="2083378" y="3262791"/>
                    <a:pt x="2078150" y="3270510"/>
                    <a:pt x="2071800" y="3276860"/>
                  </a:cubicBezTo>
                  <a:cubicBezTo>
                    <a:pt x="2060362" y="3311174"/>
                    <a:pt x="2061158" y="3306162"/>
                    <a:pt x="2052750" y="3359410"/>
                  </a:cubicBezTo>
                  <a:cubicBezTo>
                    <a:pt x="2049761" y="3378343"/>
                    <a:pt x="2052847" y="3398509"/>
                    <a:pt x="2046400" y="3416560"/>
                  </a:cubicBezTo>
                  <a:cubicBezTo>
                    <a:pt x="2041842" y="3429324"/>
                    <a:pt x="2029467" y="3437727"/>
                    <a:pt x="2021000" y="3448310"/>
                  </a:cubicBezTo>
                  <a:cubicBezTo>
                    <a:pt x="2018883" y="3458893"/>
                    <a:pt x="2018440" y="3469954"/>
                    <a:pt x="2014650" y="3480060"/>
                  </a:cubicBezTo>
                  <a:cubicBezTo>
                    <a:pt x="2010109" y="3492169"/>
                    <a:pt x="1991884" y="3510673"/>
                    <a:pt x="1982900" y="3518160"/>
                  </a:cubicBezTo>
                  <a:cubicBezTo>
                    <a:pt x="1977037" y="3523046"/>
                    <a:pt x="1971090" y="3528447"/>
                    <a:pt x="1963850" y="3530860"/>
                  </a:cubicBezTo>
                  <a:cubicBezTo>
                    <a:pt x="1951636" y="3534931"/>
                    <a:pt x="1938450" y="3535093"/>
                    <a:pt x="1925750" y="3537210"/>
                  </a:cubicBezTo>
                  <a:cubicBezTo>
                    <a:pt x="1911187" y="3580898"/>
                    <a:pt x="1927410" y="3528078"/>
                    <a:pt x="1913050" y="3607060"/>
                  </a:cubicBezTo>
                  <a:cubicBezTo>
                    <a:pt x="1908859" y="3630112"/>
                    <a:pt x="1894484" y="3644435"/>
                    <a:pt x="1881300" y="3664210"/>
                  </a:cubicBezTo>
                  <a:cubicBezTo>
                    <a:pt x="1864367" y="3689610"/>
                    <a:pt x="1874950" y="3679027"/>
                    <a:pt x="1849550" y="3695960"/>
                  </a:cubicBezTo>
                  <a:cubicBezTo>
                    <a:pt x="1842426" y="3717332"/>
                    <a:pt x="1843055" y="3718439"/>
                    <a:pt x="1830500" y="3740410"/>
                  </a:cubicBezTo>
                  <a:cubicBezTo>
                    <a:pt x="1826714" y="3747036"/>
                    <a:pt x="1821213" y="3752634"/>
                    <a:pt x="1817800" y="3759460"/>
                  </a:cubicBezTo>
                  <a:cubicBezTo>
                    <a:pt x="1814807" y="3765447"/>
                    <a:pt x="1815163" y="3772941"/>
                    <a:pt x="1811450" y="3778510"/>
                  </a:cubicBezTo>
                  <a:cubicBezTo>
                    <a:pt x="1806469" y="3785982"/>
                    <a:pt x="1798149" y="3790661"/>
                    <a:pt x="1792400" y="3797560"/>
                  </a:cubicBezTo>
                  <a:cubicBezTo>
                    <a:pt x="1744046" y="3855585"/>
                    <a:pt x="1830615" y="3765695"/>
                    <a:pt x="1754300" y="3842010"/>
                  </a:cubicBezTo>
                  <a:cubicBezTo>
                    <a:pt x="1750840" y="3852390"/>
                    <a:pt x="1745616" y="3873631"/>
                    <a:pt x="1735250" y="3880110"/>
                  </a:cubicBezTo>
                  <a:cubicBezTo>
                    <a:pt x="1723898" y="3887205"/>
                    <a:pt x="1697150" y="3892810"/>
                    <a:pt x="1697150" y="3892810"/>
                  </a:cubicBezTo>
                  <a:cubicBezTo>
                    <a:pt x="1690800" y="3899160"/>
                    <a:pt x="1685572" y="3906879"/>
                    <a:pt x="1678100" y="3911860"/>
                  </a:cubicBezTo>
                  <a:cubicBezTo>
                    <a:pt x="1672634" y="3915504"/>
                    <a:pt x="1637037" y="3923713"/>
                    <a:pt x="1633650" y="3924560"/>
                  </a:cubicBezTo>
                  <a:cubicBezTo>
                    <a:pt x="1627300" y="3928793"/>
                    <a:pt x="1622200" y="3936569"/>
                    <a:pt x="1614600" y="3937260"/>
                  </a:cubicBezTo>
                  <a:cubicBezTo>
                    <a:pt x="1597605" y="3938805"/>
                    <a:pt x="1580264" y="3935400"/>
                    <a:pt x="1563800" y="3930910"/>
                  </a:cubicBezTo>
                  <a:cubicBezTo>
                    <a:pt x="1542448" y="3925087"/>
                    <a:pt x="1544063" y="3909653"/>
                    <a:pt x="1525700" y="3899160"/>
                  </a:cubicBezTo>
                  <a:cubicBezTo>
                    <a:pt x="1518123" y="3894830"/>
                    <a:pt x="1508767" y="3894927"/>
                    <a:pt x="1500300" y="3892810"/>
                  </a:cubicBezTo>
                  <a:cubicBezTo>
                    <a:pt x="1414503" y="3907110"/>
                    <a:pt x="1496723" y="3888050"/>
                    <a:pt x="1443150" y="3911860"/>
                  </a:cubicBezTo>
                  <a:cubicBezTo>
                    <a:pt x="1430917" y="3917297"/>
                    <a:pt x="1405050" y="3924560"/>
                    <a:pt x="1405050" y="3924560"/>
                  </a:cubicBezTo>
                  <a:cubicBezTo>
                    <a:pt x="1390233" y="3939377"/>
                    <a:pt x="1378035" y="3957387"/>
                    <a:pt x="1360600" y="3969010"/>
                  </a:cubicBezTo>
                  <a:lnTo>
                    <a:pt x="1322500" y="3994410"/>
                  </a:lnTo>
                  <a:cubicBezTo>
                    <a:pt x="1318267" y="4000760"/>
                    <a:pt x="1313213" y="4006634"/>
                    <a:pt x="1309800" y="4013460"/>
                  </a:cubicBezTo>
                  <a:cubicBezTo>
                    <a:pt x="1299471" y="4034118"/>
                    <a:pt x="1308948" y="4033362"/>
                    <a:pt x="1290750" y="4051560"/>
                  </a:cubicBezTo>
                  <a:cubicBezTo>
                    <a:pt x="1285354" y="4056956"/>
                    <a:pt x="1277563" y="4059374"/>
                    <a:pt x="1271700" y="4064260"/>
                  </a:cubicBezTo>
                  <a:cubicBezTo>
                    <a:pt x="1209283" y="4116274"/>
                    <a:pt x="1289900" y="4052410"/>
                    <a:pt x="1239950" y="4102360"/>
                  </a:cubicBezTo>
                  <a:cubicBezTo>
                    <a:pt x="1234554" y="4107756"/>
                    <a:pt x="1227250" y="4110827"/>
                    <a:pt x="1220900" y="4115060"/>
                  </a:cubicBezTo>
                  <a:cubicBezTo>
                    <a:pt x="1209741" y="4148538"/>
                    <a:pt x="1221926" y="4121449"/>
                    <a:pt x="1195500" y="4153160"/>
                  </a:cubicBezTo>
                  <a:cubicBezTo>
                    <a:pt x="1169042" y="4184910"/>
                    <a:pt x="1198675" y="4161627"/>
                    <a:pt x="1163750" y="4184910"/>
                  </a:cubicBezTo>
                  <a:cubicBezTo>
                    <a:pt x="1159517" y="4191260"/>
                    <a:pt x="1156446" y="4198564"/>
                    <a:pt x="1151050" y="4203960"/>
                  </a:cubicBezTo>
                  <a:cubicBezTo>
                    <a:pt x="1127065" y="4227945"/>
                    <a:pt x="1127077" y="4218943"/>
                    <a:pt x="1100250" y="4235710"/>
                  </a:cubicBezTo>
                  <a:cubicBezTo>
                    <a:pt x="1056315" y="4263170"/>
                    <a:pt x="1093226" y="4248635"/>
                    <a:pt x="1055800" y="4261110"/>
                  </a:cubicBezTo>
                  <a:cubicBezTo>
                    <a:pt x="1009388" y="4292052"/>
                    <a:pt x="1067746" y="4254284"/>
                    <a:pt x="1011350" y="4286510"/>
                  </a:cubicBezTo>
                  <a:cubicBezTo>
                    <a:pt x="976883" y="4306205"/>
                    <a:pt x="1008177" y="4293918"/>
                    <a:pt x="973250" y="4305560"/>
                  </a:cubicBezTo>
                  <a:cubicBezTo>
                    <a:pt x="966900" y="4309793"/>
                    <a:pt x="961026" y="4314847"/>
                    <a:pt x="954200" y="4318260"/>
                  </a:cubicBezTo>
                  <a:cubicBezTo>
                    <a:pt x="948213" y="4321253"/>
                    <a:pt x="941001" y="4321359"/>
                    <a:pt x="935150" y="4324610"/>
                  </a:cubicBezTo>
                  <a:cubicBezTo>
                    <a:pt x="921807" y="4332023"/>
                    <a:pt x="909750" y="4341543"/>
                    <a:pt x="897050" y="4350010"/>
                  </a:cubicBezTo>
                  <a:cubicBezTo>
                    <a:pt x="890700" y="4354243"/>
                    <a:pt x="884105" y="4358131"/>
                    <a:pt x="878000" y="4362710"/>
                  </a:cubicBezTo>
                  <a:cubicBezTo>
                    <a:pt x="869533" y="4369060"/>
                    <a:pt x="861789" y="4376509"/>
                    <a:pt x="852600" y="4381760"/>
                  </a:cubicBezTo>
                  <a:cubicBezTo>
                    <a:pt x="846788" y="4385081"/>
                    <a:pt x="839900" y="4385993"/>
                    <a:pt x="833550" y="4388110"/>
                  </a:cubicBezTo>
                  <a:lnTo>
                    <a:pt x="776400" y="4426210"/>
                  </a:lnTo>
                  <a:cubicBezTo>
                    <a:pt x="768524" y="4431461"/>
                    <a:pt x="758703" y="4433408"/>
                    <a:pt x="751000" y="4438910"/>
                  </a:cubicBezTo>
                  <a:cubicBezTo>
                    <a:pt x="743692" y="4444130"/>
                    <a:pt x="738849" y="4452211"/>
                    <a:pt x="731950" y="4457960"/>
                  </a:cubicBezTo>
                  <a:cubicBezTo>
                    <a:pt x="726087" y="4462846"/>
                    <a:pt x="719250" y="4466427"/>
                    <a:pt x="712900" y="4470660"/>
                  </a:cubicBezTo>
                  <a:cubicBezTo>
                    <a:pt x="709303" y="4476055"/>
                    <a:pt x="684014" y="4514752"/>
                    <a:pt x="681150" y="4515110"/>
                  </a:cubicBezTo>
                  <a:cubicBezTo>
                    <a:pt x="668903" y="4516641"/>
                    <a:pt x="659983" y="4502410"/>
                    <a:pt x="649400" y="4496060"/>
                  </a:cubicBezTo>
                  <a:cubicBezTo>
                    <a:pt x="604018" y="4427987"/>
                    <a:pt x="674692" y="4531299"/>
                    <a:pt x="617650" y="4457960"/>
                  </a:cubicBezTo>
                  <a:cubicBezTo>
                    <a:pt x="608279" y="4445912"/>
                    <a:pt x="600717" y="4432560"/>
                    <a:pt x="592250" y="4419860"/>
                  </a:cubicBezTo>
                  <a:lnTo>
                    <a:pt x="579550" y="4400810"/>
                  </a:lnTo>
                  <a:cubicBezTo>
                    <a:pt x="583783" y="4383877"/>
                    <a:pt x="590911" y="4367413"/>
                    <a:pt x="592250" y="4350010"/>
                  </a:cubicBezTo>
                  <a:cubicBezTo>
                    <a:pt x="593719" y="4330907"/>
                    <a:pt x="582240" y="4308681"/>
                    <a:pt x="573200" y="4292860"/>
                  </a:cubicBezTo>
                  <a:cubicBezTo>
                    <a:pt x="569414" y="4286234"/>
                    <a:pt x="563913" y="4280636"/>
                    <a:pt x="560500" y="4273810"/>
                  </a:cubicBezTo>
                  <a:cubicBezTo>
                    <a:pt x="551588" y="4255985"/>
                    <a:pt x="559889" y="4248821"/>
                    <a:pt x="535100" y="4242060"/>
                  </a:cubicBezTo>
                  <a:cubicBezTo>
                    <a:pt x="518636" y="4237570"/>
                    <a:pt x="501233" y="4237827"/>
                    <a:pt x="484300" y="4235710"/>
                  </a:cubicBezTo>
                  <a:cubicBezTo>
                    <a:pt x="477950" y="4233593"/>
                    <a:pt x="469983" y="4234093"/>
                    <a:pt x="465250" y="4229360"/>
                  </a:cubicBezTo>
                  <a:cubicBezTo>
                    <a:pt x="460517" y="4224627"/>
                    <a:pt x="461537" y="4216462"/>
                    <a:pt x="458900" y="4210310"/>
                  </a:cubicBezTo>
                  <a:cubicBezTo>
                    <a:pt x="453420" y="4197523"/>
                    <a:pt x="442878" y="4177114"/>
                    <a:pt x="433500" y="4165860"/>
                  </a:cubicBezTo>
                  <a:cubicBezTo>
                    <a:pt x="427751" y="4158961"/>
                    <a:pt x="421349" y="4152559"/>
                    <a:pt x="414450" y="4146810"/>
                  </a:cubicBezTo>
                  <a:cubicBezTo>
                    <a:pt x="392817" y="4128782"/>
                    <a:pt x="392876" y="4137936"/>
                    <a:pt x="370000" y="4115060"/>
                  </a:cubicBezTo>
                  <a:cubicBezTo>
                    <a:pt x="364604" y="4109664"/>
                    <a:pt x="360713" y="4102836"/>
                    <a:pt x="357300" y="4096010"/>
                  </a:cubicBezTo>
                  <a:cubicBezTo>
                    <a:pt x="354307" y="4090023"/>
                    <a:pt x="355683" y="4081693"/>
                    <a:pt x="350950" y="4076960"/>
                  </a:cubicBezTo>
                  <a:cubicBezTo>
                    <a:pt x="346217" y="4072227"/>
                    <a:pt x="338250" y="4072727"/>
                    <a:pt x="331900" y="4070610"/>
                  </a:cubicBezTo>
                  <a:cubicBezTo>
                    <a:pt x="294814" y="4082972"/>
                    <a:pt x="328873" y="4067287"/>
                    <a:pt x="300150" y="4096010"/>
                  </a:cubicBezTo>
                  <a:cubicBezTo>
                    <a:pt x="294754" y="4101406"/>
                    <a:pt x="286963" y="4103824"/>
                    <a:pt x="281100" y="4108710"/>
                  </a:cubicBezTo>
                  <a:cubicBezTo>
                    <a:pt x="274201" y="4114459"/>
                    <a:pt x="268949" y="4122011"/>
                    <a:pt x="262050" y="4127760"/>
                  </a:cubicBezTo>
                  <a:cubicBezTo>
                    <a:pt x="256187" y="4132646"/>
                    <a:pt x="248704" y="4135390"/>
                    <a:pt x="243000" y="4140460"/>
                  </a:cubicBezTo>
                  <a:cubicBezTo>
                    <a:pt x="229576" y="4152392"/>
                    <a:pt x="204900" y="4178560"/>
                    <a:pt x="204900" y="4178560"/>
                  </a:cubicBezTo>
                  <a:cubicBezTo>
                    <a:pt x="202783" y="4184910"/>
                    <a:pt x="199863" y="4191046"/>
                    <a:pt x="198550" y="4197610"/>
                  </a:cubicBezTo>
                  <a:cubicBezTo>
                    <a:pt x="195615" y="4212286"/>
                    <a:pt x="196501" y="4227724"/>
                    <a:pt x="192200" y="4242060"/>
                  </a:cubicBezTo>
                  <a:cubicBezTo>
                    <a:pt x="190007" y="4249370"/>
                    <a:pt x="182913" y="4254284"/>
                    <a:pt x="179500" y="4261110"/>
                  </a:cubicBezTo>
                  <a:cubicBezTo>
                    <a:pt x="176507" y="4267097"/>
                    <a:pt x="176401" y="4274309"/>
                    <a:pt x="173150" y="4280160"/>
                  </a:cubicBezTo>
                  <a:cubicBezTo>
                    <a:pt x="165737" y="4293503"/>
                    <a:pt x="147750" y="4318260"/>
                    <a:pt x="147750" y="4318260"/>
                  </a:cubicBezTo>
                  <a:cubicBezTo>
                    <a:pt x="101828" y="4299891"/>
                    <a:pt x="125484" y="4311883"/>
                    <a:pt x="77900" y="4280160"/>
                  </a:cubicBezTo>
                  <a:cubicBezTo>
                    <a:pt x="71550" y="4275927"/>
                    <a:pt x="64246" y="4272856"/>
                    <a:pt x="58850" y="4267460"/>
                  </a:cubicBezTo>
                  <a:cubicBezTo>
                    <a:pt x="34404" y="4243014"/>
                    <a:pt x="47272" y="4253391"/>
                    <a:pt x="20750" y="4235710"/>
                  </a:cubicBezTo>
                  <a:cubicBezTo>
                    <a:pt x="22867" y="4216660"/>
                    <a:pt x="24860" y="4197596"/>
                    <a:pt x="27100" y="4178560"/>
                  </a:cubicBezTo>
                  <a:cubicBezTo>
                    <a:pt x="29094" y="4161612"/>
                    <a:pt x="31832" y="4144748"/>
                    <a:pt x="33450" y="4127760"/>
                  </a:cubicBezTo>
                  <a:cubicBezTo>
                    <a:pt x="43672" y="4020431"/>
                    <a:pt x="30716" y="4077003"/>
                    <a:pt x="52500" y="4000760"/>
                  </a:cubicBezTo>
                  <a:cubicBezTo>
                    <a:pt x="50383" y="3958427"/>
                    <a:pt x="49670" y="3916000"/>
                    <a:pt x="46150" y="3873760"/>
                  </a:cubicBezTo>
                  <a:cubicBezTo>
                    <a:pt x="45425" y="3865063"/>
                    <a:pt x="40764" y="3857034"/>
                    <a:pt x="39800" y="3848360"/>
                  </a:cubicBezTo>
                  <a:cubicBezTo>
                    <a:pt x="36519" y="3818833"/>
                    <a:pt x="35567" y="3789093"/>
                    <a:pt x="33450" y="3759460"/>
                  </a:cubicBezTo>
                  <a:cubicBezTo>
                    <a:pt x="33647" y="3755909"/>
                    <a:pt x="19949" y="3653236"/>
                    <a:pt x="52500" y="3626110"/>
                  </a:cubicBezTo>
                  <a:cubicBezTo>
                    <a:pt x="73478" y="3608628"/>
                    <a:pt x="96688" y="3611726"/>
                    <a:pt x="122350" y="3607060"/>
                  </a:cubicBezTo>
                  <a:cubicBezTo>
                    <a:pt x="130936" y="3605499"/>
                    <a:pt x="139578" y="3603774"/>
                    <a:pt x="147750" y="3600710"/>
                  </a:cubicBezTo>
                  <a:cubicBezTo>
                    <a:pt x="192280" y="3584011"/>
                    <a:pt x="155354" y="3593733"/>
                    <a:pt x="192200" y="3575310"/>
                  </a:cubicBezTo>
                  <a:cubicBezTo>
                    <a:pt x="219838" y="3561491"/>
                    <a:pt x="205818" y="3578283"/>
                    <a:pt x="236650" y="3556260"/>
                  </a:cubicBezTo>
                  <a:cubicBezTo>
                    <a:pt x="278270" y="3526531"/>
                    <a:pt x="233885" y="3544482"/>
                    <a:pt x="274750" y="3530860"/>
                  </a:cubicBezTo>
                  <a:cubicBezTo>
                    <a:pt x="308617" y="3480060"/>
                    <a:pt x="264167" y="3541443"/>
                    <a:pt x="306500" y="3499110"/>
                  </a:cubicBezTo>
                  <a:cubicBezTo>
                    <a:pt x="311896" y="3493714"/>
                    <a:pt x="313241" y="3484828"/>
                    <a:pt x="319200" y="3480060"/>
                  </a:cubicBezTo>
                  <a:cubicBezTo>
                    <a:pt x="324427" y="3475879"/>
                    <a:pt x="332098" y="3476347"/>
                    <a:pt x="338250" y="3473710"/>
                  </a:cubicBezTo>
                  <a:cubicBezTo>
                    <a:pt x="346951" y="3469981"/>
                    <a:pt x="355533" y="3465880"/>
                    <a:pt x="363650" y="3461010"/>
                  </a:cubicBezTo>
                  <a:cubicBezTo>
                    <a:pt x="376738" y="3453157"/>
                    <a:pt x="401750" y="3435610"/>
                    <a:pt x="401750" y="3435610"/>
                  </a:cubicBezTo>
                  <a:cubicBezTo>
                    <a:pt x="405983" y="3422910"/>
                    <a:pt x="411203" y="3410497"/>
                    <a:pt x="414450" y="3397510"/>
                  </a:cubicBezTo>
                  <a:cubicBezTo>
                    <a:pt x="416567" y="3389043"/>
                    <a:pt x="416897" y="3379916"/>
                    <a:pt x="420800" y="3372110"/>
                  </a:cubicBezTo>
                  <a:cubicBezTo>
                    <a:pt x="425533" y="3362644"/>
                    <a:pt x="433500" y="3355177"/>
                    <a:pt x="439850" y="3346710"/>
                  </a:cubicBezTo>
                  <a:cubicBezTo>
                    <a:pt x="441266" y="3341045"/>
                    <a:pt x="447292" y="3304840"/>
                    <a:pt x="458900" y="3302260"/>
                  </a:cubicBezTo>
                  <a:cubicBezTo>
                    <a:pt x="473511" y="3299013"/>
                    <a:pt x="488533" y="3306493"/>
                    <a:pt x="503350" y="3308610"/>
                  </a:cubicBezTo>
                  <a:cubicBezTo>
                    <a:pt x="509700" y="3312843"/>
                    <a:pt x="516537" y="3316424"/>
                    <a:pt x="522400" y="3321310"/>
                  </a:cubicBezTo>
                  <a:cubicBezTo>
                    <a:pt x="529299" y="3327059"/>
                    <a:pt x="532931" y="3337520"/>
                    <a:pt x="541450" y="3340360"/>
                  </a:cubicBezTo>
                  <a:lnTo>
                    <a:pt x="560500" y="3334010"/>
                  </a:lnTo>
                  <a:cubicBezTo>
                    <a:pt x="566850" y="3329777"/>
                    <a:pt x="573687" y="3326196"/>
                    <a:pt x="579550" y="3321310"/>
                  </a:cubicBezTo>
                  <a:cubicBezTo>
                    <a:pt x="586449" y="3315561"/>
                    <a:pt x="590568" y="3306276"/>
                    <a:pt x="598600" y="3302260"/>
                  </a:cubicBezTo>
                  <a:cubicBezTo>
                    <a:pt x="608253" y="3297433"/>
                    <a:pt x="619879" y="3298528"/>
                    <a:pt x="630350" y="3295910"/>
                  </a:cubicBezTo>
                  <a:cubicBezTo>
                    <a:pt x="636844" y="3294287"/>
                    <a:pt x="643050" y="3291677"/>
                    <a:pt x="649400" y="3289560"/>
                  </a:cubicBezTo>
                  <a:cubicBezTo>
                    <a:pt x="719073" y="3219887"/>
                    <a:pt x="599770" y="3265863"/>
                    <a:pt x="751000" y="3251460"/>
                  </a:cubicBezTo>
                  <a:cubicBezTo>
                    <a:pt x="758045" y="3246763"/>
                    <a:pt x="766875" y="3211243"/>
                    <a:pt x="782750" y="3200660"/>
                  </a:cubicBezTo>
                  <a:cubicBezTo>
                    <a:pt x="798625" y="3190077"/>
                    <a:pt x="842017" y="3193252"/>
                    <a:pt x="846250" y="3187960"/>
                  </a:cubicBezTo>
                  <a:cubicBezTo>
                    <a:pt x="850483" y="3182668"/>
                    <a:pt x="823644" y="3174075"/>
                    <a:pt x="808150" y="3168910"/>
                  </a:cubicBezTo>
                  <a:cubicBezTo>
                    <a:pt x="811734" y="3143820"/>
                    <a:pt x="814660" y="3117471"/>
                    <a:pt x="820850" y="3092710"/>
                  </a:cubicBezTo>
                  <a:cubicBezTo>
                    <a:pt x="822473" y="3086216"/>
                    <a:pt x="825083" y="3080010"/>
                    <a:pt x="827200" y="3073660"/>
                  </a:cubicBezTo>
                  <a:cubicBezTo>
                    <a:pt x="822967" y="3050377"/>
                    <a:pt x="830491" y="3021255"/>
                    <a:pt x="814500" y="3003810"/>
                  </a:cubicBezTo>
                  <a:cubicBezTo>
                    <a:pt x="801548" y="2989681"/>
                    <a:pt x="776349" y="2999993"/>
                    <a:pt x="757350" y="2997460"/>
                  </a:cubicBezTo>
                  <a:cubicBezTo>
                    <a:pt x="717838" y="2992192"/>
                    <a:pt x="710315" y="2988876"/>
                    <a:pt x="668450" y="2978410"/>
                  </a:cubicBezTo>
                  <a:cubicBezTo>
                    <a:pt x="649855" y="2973761"/>
                    <a:pt x="630350" y="2974177"/>
                    <a:pt x="611300" y="2972060"/>
                  </a:cubicBezTo>
                  <a:cubicBezTo>
                    <a:pt x="563417" y="2956099"/>
                    <a:pt x="622439" y="2977629"/>
                    <a:pt x="573200" y="2953010"/>
                  </a:cubicBezTo>
                  <a:cubicBezTo>
                    <a:pt x="567213" y="2950017"/>
                    <a:pt x="560500" y="2948777"/>
                    <a:pt x="554150" y="2946660"/>
                  </a:cubicBezTo>
                  <a:cubicBezTo>
                    <a:pt x="536444" y="2911248"/>
                    <a:pt x="551651" y="2925590"/>
                    <a:pt x="516050" y="2914910"/>
                  </a:cubicBezTo>
                  <a:cubicBezTo>
                    <a:pt x="503228" y="2911063"/>
                    <a:pt x="477950" y="2902210"/>
                    <a:pt x="477950" y="2902210"/>
                  </a:cubicBezTo>
                  <a:cubicBezTo>
                    <a:pt x="471600" y="2897977"/>
                    <a:pt x="465726" y="2892923"/>
                    <a:pt x="458900" y="2889510"/>
                  </a:cubicBezTo>
                  <a:cubicBezTo>
                    <a:pt x="444385" y="2882252"/>
                    <a:pt x="422591" y="2880433"/>
                    <a:pt x="408100" y="2876810"/>
                  </a:cubicBezTo>
                  <a:cubicBezTo>
                    <a:pt x="401606" y="2875187"/>
                    <a:pt x="395572" y="2871965"/>
                    <a:pt x="389050" y="2870460"/>
                  </a:cubicBezTo>
                  <a:cubicBezTo>
                    <a:pt x="368017" y="2865606"/>
                    <a:pt x="346717" y="2861993"/>
                    <a:pt x="325550" y="2857760"/>
                  </a:cubicBezTo>
                  <a:cubicBezTo>
                    <a:pt x="317083" y="2853527"/>
                    <a:pt x="307422" y="2851120"/>
                    <a:pt x="300150" y="2845060"/>
                  </a:cubicBezTo>
                  <a:cubicBezTo>
                    <a:pt x="294287" y="2840174"/>
                    <a:pt x="292336" y="2831873"/>
                    <a:pt x="287450" y="2826010"/>
                  </a:cubicBezTo>
                  <a:cubicBezTo>
                    <a:pt x="269187" y="2804094"/>
                    <a:pt x="253699" y="2800958"/>
                    <a:pt x="243000" y="2768860"/>
                  </a:cubicBezTo>
                  <a:cubicBezTo>
                    <a:pt x="228485" y="2725314"/>
                    <a:pt x="245625" y="2779362"/>
                    <a:pt x="230300" y="2718060"/>
                  </a:cubicBezTo>
                  <a:cubicBezTo>
                    <a:pt x="228677" y="2711566"/>
                    <a:pt x="230417" y="2700735"/>
                    <a:pt x="223950" y="2699010"/>
                  </a:cubicBezTo>
                  <a:cubicBezTo>
                    <a:pt x="195244" y="2691355"/>
                    <a:pt x="164683" y="2694777"/>
                    <a:pt x="135050" y="2692660"/>
                  </a:cubicBezTo>
                  <a:cubicBezTo>
                    <a:pt x="118117" y="2688427"/>
                    <a:pt x="98773" y="2689642"/>
                    <a:pt x="84250" y="2679960"/>
                  </a:cubicBezTo>
                  <a:cubicBezTo>
                    <a:pt x="77900" y="2675727"/>
                    <a:pt x="72636" y="2668976"/>
                    <a:pt x="65200" y="2667260"/>
                  </a:cubicBezTo>
                  <a:cubicBezTo>
                    <a:pt x="-8051" y="2650356"/>
                    <a:pt x="9108" y="2671493"/>
                    <a:pt x="1700" y="2660910"/>
                  </a:cubicBezTo>
                  <a:close/>
                </a:path>
              </a:pathLst>
            </a:custGeom>
            <a:solidFill>
              <a:srgbClr val="EDDD32"/>
            </a:solidFill>
            <a:ln w="9525" cap="flat" cmpd="sng" algn="ctr">
              <a:solidFill>
                <a:srgbClr val="4866A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8383">
                <a:buClr>
                  <a:srgbClr val="000000"/>
                </a:buClr>
                <a:buSzPct val="100000"/>
              </a:pPr>
              <a:endParaRPr lang="pt-BR" sz="102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169" name="Freeform 33"/>
            <p:cNvSpPr/>
            <p:nvPr/>
          </p:nvSpPr>
          <p:spPr bwMode="auto">
            <a:xfrm>
              <a:off x="10291263" y="3077718"/>
              <a:ext cx="2102551" cy="2940161"/>
            </a:xfrm>
            <a:custGeom>
              <a:avLst/>
              <a:gdLst>
                <a:gd name="connsiteX0" fmla="*/ 736600 w 7099448"/>
                <a:gd name="connsiteY0" fmla="*/ 2933700 h 9766300"/>
                <a:gd name="connsiteX1" fmla="*/ 800100 w 7099448"/>
                <a:gd name="connsiteY1" fmla="*/ 2870200 h 9766300"/>
                <a:gd name="connsiteX2" fmla="*/ 863600 w 7099448"/>
                <a:gd name="connsiteY2" fmla="*/ 2717800 h 9766300"/>
                <a:gd name="connsiteX3" fmla="*/ 876300 w 7099448"/>
                <a:gd name="connsiteY3" fmla="*/ 2641600 h 9766300"/>
                <a:gd name="connsiteX4" fmla="*/ 889000 w 7099448"/>
                <a:gd name="connsiteY4" fmla="*/ 2590800 h 9766300"/>
                <a:gd name="connsiteX5" fmla="*/ 914400 w 7099448"/>
                <a:gd name="connsiteY5" fmla="*/ 2552700 h 9766300"/>
                <a:gd name="connsiteX6" fmla="*/ 1041400 w 7099448"/>
                <a:gd name="connsiteY6" fmla="*/ 2451100 h 9766300"/>
                <a:gd name="connsiteX7" fmla="*/ 1079500 w 7099448"/>
                <a:gd name="connsiteY7" fmla="*/ 2438400 h 9766300"/>
                <a:gd name="connsiteX8" fmla="*/ 1143000 w 7099448"/>
                <a:gd name="connsiteY8" fmla="*/ 2374900 h 9766300"/>
                <a:gd name="connsiteX9" fmla="*/ 1206500 w 7099448"/>
                <a:gd name="connsiteY9" fmla="*/ 2260600 h 9766300"/>
                <a:gd name="connsiteX10" fmla="*/ 1358900 w 7099448"/>
                <a:gd name="connsiteY10" fmla="*/ 2247900 h 9766300"/>
                <a:gd name="connsiteX11" fmla="*/ 1651000 w 7099448"/>
                <a:gd name="connsiteY11" fmla="*/ 2235200 h 9766300"/>
                <a:gd name="connsiteX12" fmla="*/ 1676400 w 7099448"/>
                <a:gd name="connsiteY12" fmla="*/ 2159000 h 9766300"/>
                <a:gd name="connsiteX13" fmla="*/ 1701800 w 7099448"/>
                <a:gd name="connsiteY13" fmla="*/ 2120900 h 9766300"/>
                <a:gd name="connsiteX14" fmla="*/ 1765300 w 7099448"/>
                <a:gd name="connsiteY14" fmla="*/ 2006600 h 9766300"/>
                <a:gd name="connsiteX15" fmla="*/ 1879600 w 7099448"/>
                <a:gd name="connsiteY15" fmla="*/ 1981200 h 9766300"/>
                <a:gd name="connsiteX16" fmla="*/ 1943100 w 7099448"/>
                <a:gd name="connsiteY16" fmla="*/ 1905000 h 9766300"/>
                <a:gd name="connsiteX17" fmla="*/ 1905000 w 7099448"/>
                <a:gd name="connsiteY17" fmla="*/ 1828800 h 9766300"/>
                <a:gd name="connsiteX18" fmla="*/ 1892300 w 7099448"/>
                <a:gd name="connsiteY18" fmla="*/ 1676400 h 9766300"/>
                <a:gd name="connsiteX19" fmla="*/ 1879600 w 7099448"/>
                <a:gd name="connsiteY19" fmla="*/ 1638300 h 9766300"/>
                <a:gd name="connsiteX20" fmla="*/ 1968500 w 7099448"/>
                <a:gd name="connsiteY20" fmla="*/ 1651000 h 9766300"/>
                <a:gd name="connsiteX21" fmla="*/ 2108200 w 7099448"/>
                <a:gd name="connsiteY21" fmla="*/ 1663700 h 9766300"/>
                <a:gd name="connsiteX22" fmla="*/ 2387600 w 7099448"/>
                <a:gd name="connsiteY22" fmla="*/ 1651000 h 9766300"/>
                <a:gd name="connsiteX23" fmla="*/ 2425700 w 7099448"/>
                <a:gd name="connsiteY23" fmla="*/ 1625600 h 9766300"/>
                <a:gd name="connsiteX24" fmla="*/ 2501900 w 7099448"/>
                <a:gd name="connsiteY24" fmla="*/ 1600200 h 9766300"/>
                <a:gd name="connsiteX25" fmla="*/ 2540000 w 7099448"/>
                <a:gd name="connsiteY25" fmla="*/ 1587500 h 9766300"/>
                <a:gd name="connsiteX26" fmla="*/ 2578100 w 7099448"/>
                <a:gd name="connsiteY26" fmla="*/ 1574800 h 9766300"/>
                <a:gd name="connsiteX27" fmla="*/ 2692400 w 7099448"/>
                <a:gd name="connsiteY27" fmla="*/ 1485900 h 9766300"/>
                <a:gd name="connsiteX28" fmla="*/ 2844800 w 7099448"/>
                <a:gd name="connsiteY28" fmla="*/ 1498600 h 9766300"/>
                <a:gd name="connsiteX29" fmla="*/ 2959100 w 7099448"/>
                <a:gd name="connsiteY29" fmla="*/ 1473200 h 9766300"/>
                <a:gd name="connsiteX30" fmla="*/ 2997200 w 7099448"/>
                <a:gd name="connsiteY30" fmla="*/ 1435100 h 9766300"/>
                <a:gd name="connsiteX31" fmla="*/ 3035300 w 7099448"/>
                <a:gd name="connsiteY31" fmla="*/ 1422400 h 9766300"/>
                <a:gd name="connsiteX32" fmla="*/ 3149600 w 7099448"/>
                <a:gd name="connsiteY32" fmla="*/ 1409700 h 9766300"/>
                <a:gd name="connsiteX33" fmla="*/ 3175000 w 7099448"/>
                <a:gd name="connsiteY33" fmla="*/ 1371600 h 9766300"/>
                <a:gd name="connsiteX34" fmla="*/ 3136900 w 7099448"/>
                <a:gd name="connsiteY34" fmla="*/ 1358900 h 9766300"/>
                <a:gd name="connsiteX35" fmla="*/ 3086100 w 7099448"/>
                <a:gd name="connsiteY35" fmla="*/ 1346200 h 9766300"/>
                <a:gd name="connsiteX36" fmla="*/ 3048000 w 7099448"/>
                <a:gd name="connsiteY36" fmla="*/ 1320800 h 9766300"/>
                <a:gd name="connsiteX37" fmla="*/ 2971800 w 7099448"/>
                <a:gd name="connsiteY37" fmla="*/ 1295400 h 9766300"/>
                <a:gd name="connsiteX38" fmla="*/ 2933700 w 7099448"/>
                <a:gd name="connsiteY38" fmla="*/ 1270000 h 9766300"/>
                <a:gd name="connsiteX39" fmla="*/ 2806700 w 7099448"/>
                <a:gd name="connsiteY39" fmla="*/ 1257300 h 9766300"/>
                <a:gd name="connsiteX40" fmla="*/ 2819400 w 7099448"/>
                <a:gd name="connsiteY40" fmla="*/ 1155700 h 9766300"/>
                <a:gd name="connsiteX41" fmla="*/ 2870200 w 7099448"/>
                <a:gd name="connsiteY41" fmla="*/ 1117600 h 9766300"/>
                <a:gd name="connsiteX42" fmla="*/ 2908300 w 7099448"/>
                <a:gd name="connsiteY42" fmla="*/ 1079500 h 9766300"/>
                <a:gd name="connsiteX43" fmla="*/ 2908300 w 7099448"/>
                <a:gd name="connsiteY43" fmla="*/ 914400 h 9766300"/>
                <a:gd name="connsiteX44" fmla="*/ 2870200 w 7099448"/>
                <a:gd name="connsiteY44" fmla="*/ 698500 h 9766300"/>
                <a:gd name="connsiteX45" fmla="*/ 2857500 w 7099448"/>
                <a:gd name="connsiteY45" fmla="*/ 584200 h 9766300"/>
                <a:gd name="connsiteX46" fmla="*/ 2895600 w 7099448"/>
                <a:gd name="connsiteY46" fmla="*/ 571500 h 9766300"/>
                <a:gd name="connsiteX47" fmla="*/ 2971800 w 7099448"/>
                <a:gd name="connsiteY47" fmla="*/ 558800 h 9766300"/>
                <a:gd name="connsiteX48" fmla="*/ 3048000 w 7099448"/>
                <a:gd name="connsiteY48" fmla="*/ 495300 h 9766300"/>
                <a:gd name="connsiteX49" fmla="*/ 3086100 w 7099448"/>
                <a:gd name="connsiteY49" fmla="*/ 469900 h 9766300"/>
                <a:gd name="connsiteX50" fmla="*/ 3162300 w 7099448"/>
                <a:gd name="connsiteY50" fmla="*/ 393700 h 9766300"/>
                <a:gd name="connsiteX51" fmla="*/ 3175000 w 7099448"/>
                <a:gd name="connsiteY51" fmla="*/ 355600 h 9766300"/>
                <a:gd name="connsiteX52" fmla="*/ 3213100 w 7099448"/>
                <a:gd name="connsiteY52" fmla="*/ 317500 h 9766300"/>
                <a:gd name="connsiteX53" fmla="*/ 3238500 w 7099448"/>
                <a:gd name="connsiteY53" fmla="*/ 279400 h 9766300"/>
                <a:gd name="connsiteX54" fmla="*/ 3276600 w 7099448"/>
                <a:gd name="connsiteY54" fmla="*/ 241300 h 9766300"/>
                <a:gd name="connsiteX55" fmla="*/ 3302000 w 7099448"/>
                <a:gd name="connsiteY55" fmla="*/ 203200 h 9766300"/>
                <a:gd name="connsiteX56" fmla="*/ 3314700 w 7099448"/>
                <a:gd name="connsiteY56" fmla="*/ 165100 h 9766300"/>
                <a:gd name="connsiteX57" fmla="*/ 3352800 w 7099448"/>
                <a:gd name="connsiteY57" fmla="*/ 139700 h 9766300"/>
                <a:gd name="connsiteX58" fmla="*/ 3390900 w 7099448"/>
                <a:gd name="connsiteY58" fmla="*/ 101600 h 9766300"/>
                <a:gd name="connsiteX59" fmla="*/ 3479800 w 7099448"/>
                <a:gd name="connsiteY59" fmla="*/ 88900 h 9766300"/>
                <a:gd name="connsiteX60" fmla="*/ 3695700 w 7099448"/>
                <a:gd name="connsiteY60" fmla="*/ 50800 h 9766300"/>
                <a:gd name="connsiteX61" fmla="*/ 3822700 w 7099448"/>
                <a:gd name="connsiteY61" fmla="*/ 12700 h 9766300"/>
                <a:gd name="connsiteX62" fmla="*/ 3975100 w 7099448"/>
                <a:gd name="connsiteY62" fmla="*/ 0 h 9766300"/>
                <a:gd name="connsiteX63" fmla="*/ 4191000 w 7099448"/>
                <a:gd name="connsiteY63" fmla="*/ 12700 h 9766300"/>
                <a:gd name="connsiteX64" fmla="*/ 4203700 w 7099448"/>
                <a:gd name="connsiteY64" fmla="*/ 63500 h 9766300"/>
                <a:gd name="connsiteX65" fmla="*/ 4279900 w 7099448"/>
                <a:gd name="connsiteY65" fmla="*/ 114300 h 9766300"/>
                <a:gd name="connsiteX66" fmla="*/ 4495800 w 7099448"/>
                <a:gd name="connsiteY66" fmla="*/ 114300 h 9766300"/>
                <a:gd name="connsiteX67" fmla="*/ 4533900 w 7099448"/>
                <a:gd name="connsiteY67" fmla="*/ 165100 h 9766300"/>
                <a:gd name="connsiteX68" fmla="*/ 4521200 w 7099448"/>
                <a:gd name="connsiteY68" fmla="*/ 241300 h 9766300"/>
                <a:gd name="connsiteX69" fmla="*/ 4470400 w 7099448"/>
                <a:gd name="connsiteY69" fmla="*/ 266700 h 9766300"/>
                <a:gd name="connsiteX70" fmla="*/ 4457700 w 7099448"/>
                <a:gd name="connsiteY70" fmla="*/ 304800 h 9766300"/>
                <a:gd name="connsiteX71" fmla="*/ 4495800 w 7099448"/>
                <a:gd name="connsiteY71" fmla="*/ 406400 h 9766300"/>
                <a:gd name="connsiteX72" fmla="*/ 4521200 w 7099448"/>
                <a:gd name="connsiteY72" fmla="*/ 444500 h 9766300"/>
                <a:gd name="connsiteX73" fmla="*/ 4559300 w 7099448"/>
                <a:gd name="connsiteY73" fmla="*/ 457200 h 9766300"/>
                <a:gd name="connsiteX74" fmla="*/ 4610100 w 7099448"/>
                <a:gd name="connsiteY74" fmla="*/ 609600 h 9766300"/>
                <a:gd name="connsiteX75" fmla="*/ 4572000 w 7099448"/>
                <a:gd name="connsiteY75" fmla="*/ 647700 h 9766300"/>
                <a:gd name="connsiteX76" fmla="*/ 4559300 w 7099448"/>
                <a:gd name="connsiteY76" fmla="*/ 749300 h 9766300"/>
                <a:gd name="connsiteX77" fmla="*/ 4546600 w 7099448"/>
                <a:gd name="connsiteY77" fmla="*/ 787400 h 9766300"/>
                <a:gd name="connsiteX78" fmla="*/ 4559300 w 7099448"/>
                <a:gd name="connsiteY78" fmla="*/ 990600 h 9766300"/>
                <a:gd name="connsiteX79" fmla="*/ 4597400 w 7099448"/>
                <a:gd name="connsiteY79" fmla="*/ 1016000 h 9766300"/>
                <a:gd name="connsiteX80" fmla="*/ 4622800 w 7099448"/>
                <a:gd name="connsiteY80" fmla="*/ 1117600 h 9766300"/>
                <a:gd name="connsiteX81" fmla="*/ 4648200 w 7099448"/>
                <a:gd name="connsiteY81" fmla="*/ 1257300 h 9766300"/>
                <a:gd name="connsiteX82" fmla="*/ 4699000 w 7099448"/>
                <a:gd name="connsiteY82" fmla="*/ 1397000 h 9766300"/>
                <a:gd name="connsiteX83" fmla="*/ 4711700 w 7099448"/>
                <a:gd name="connsiteY83" fmla="*/ 1435100 h 9766300"/>
                <a:gd name="connsiteX84" fmla="*/ 4724400 w 7099448"/>
                <a:gd name="connsiteY84" fmla="*/ 1498600 h 9766300"/>
                <a:gd name="connsiteX85" fmla="*/ 4762500 w 7099448"/>
                <a:gd name="connsiteY85" fmla="*/ 1524000 h 9766300"/>
                <a:gd name="connsiteX86" fmla="*/ 4940300 w 7099448"/>
                <a:gd name="connsiteY86" fmla="*/ 1511300 h 9766300"/>
                <a:gd name="connsiteX87" fmla="*/ 5067300 w 7099448"/>
                <a:gd name="connsiteY87" fmla="*/ 1498600 h 9766300"/>
                <a:gd name="connsiteX88" fmla="*/ 4953000 w 7099448"/>
                <a:gd name="connsiteY88" fmla="*/ 1447800 h 9766300"/>
                <a:gd name="connsiteX89" fmla="*/ 4991100 w 7099448"/>
                <a:gd name="connsiteY89" fmla="*/ 1422400 h 9766300"/>
                <a:gd name="connsiteX90" fmla="*/ 5067300 w 7099448"/>
                <a:gd name="connsiteY90" fmla="*/ 1435100 h 9766300"/>
                <a:gd name="connsiteX91" fmla="*/ 5143500 w 7099448"/>
                <a:gd name="connsiteY91" fmla="*/ 1511300 h 9766300"/>
                <a:gd name="connsiteX92" fmla="*/ 5181600 w 7099448"/>
                <a:gd name="connsiteY92" fmla="*/ 1524000 h 9766300"/>
                <a:gd name="connsiteX93" fmla="*/ 5245100 w 7099448"/>
                <a:gd name="connsiteY93" fmla="*/ 1612900 h 9766300"/>
                <a:gd name="connsiteX94" fmla="*/ 5270500 w 7099448"/>
                <a:gd name="connsiteY94" fmla="*/ 1689100 h 9766300"/>
                <a:gd name="connsiteX95" fmla="*/ 5308600 w 7099448"/>
                <a:gd name="connsiteY95" fmla="*/ 1727200 h 9766300"/>
                <a:gd name="connsiteX96" fmla="*/ 5359400 w 7099448"/>
                <a:gd name="connsiteY96" fmla="*/ 1765300 h 9766300"/>
                <a:gd name="connsiteX97" fmla="*/ 5397500 w 7099448"/>
                <a:gd name="connsiteY97" fmla="*/ 1790700 h 9766300"/>
                <a:gd name="connsiteX98" fmla="*/ 5461000 w 7099448"/>
                <a:gd name="connsiteY98" fmla="*/ 1866900 h 9766300"/>
                <a:gd name="connsiteX99" fmla="*/ 5473700 w 7099448"/>
                <a:gd name="connsiteY99" fmla="*/ 1955800 h 9766300"/>
                <a:gd name="connsiteX100" fmla="*/ 5511800 w 7099448"/>
                <a:gd name="connsiteY100" fmla="*/ 1968500 h 9766300"/>
                <a:gd name="connsiteX101" fmla="*/ 5753100 w 7099448"/>
                <a:gd name="connsiteY101" fmla="*/ 1981200 h 9766300"/>
                <a:gd name="connsiteX102" fmla="*/ 5791200 w 7099448"/>
                <a:gd name="connsiteY102" fmla="*/ 2057400 h 9766300"/>
                <a:gd name="connsiteX103" fmla="*/ 5803900 w 7099448"/>
                <a:gd name="connsiteY103" fmla="*/ 2133600 h 9766300"/>
                <a:gd name="connsiteX104" fmla="*/ 5880100 w 7099448"/>
                <a:gd name="connsiteY104" fmla="*/ 2184400 h 9766300"/>
                <a:gd name="connsiteX105" fmla="*/ 5905500 w 7099448"/>
                <a:gd name="connsiteY105" fmla="*/ 2298700 h 9766300"/>
                <a:gd name="connsiteX106" fmla="*/ 5918200 w 7099448"/>
                <a:gd name="connsiteY106" fmla="*/ 2413000 h 9766300"/>
                <a:gd name="connsiteX107" fmla="*/ 5956300 w 7099448"/>
                <a:gd name="connsiteY107" fmla="*/ 2425700 h 9766300"/>
                <a:gd name="connsiteX108" fmla="*/ 5994400 w 7099448"/>
                <a:gd name="connsiteY108" fmla="*/ 2451100 h 9766300"/>
                <a:gd name="connsiteX109" fmla="*/ 6070600 w 7099448"/>
                <a:gd name="connsiteY109" fmla="*/ 2425700 h 9766300"/>
                <a:gd name="connsiteX110" fmla="*/ 6172200 w 7099448"/>
                <a:gd name="connsiteY110" fmla="*/ 2413000 h 9766300"/>
                <a:gd name="connsiteX111" fmla="*/ 6210300 w 7099448"/>
                <a:gd name="connsiteY111" fmla="*/ 2374900 h 9766300"/>
                <a:gd name="connsiteX112" fmla="*/ 6324600 w 7099448"/>
                <a:gd name="connsiteY112" fmla="*/ 2311400 h 9766300"/>
                <a:gd name="connsiteX113" fmla="*/ 6375400 w 7099448"/>
                <a:gd name="connsiteY113" fmla="*/ 2298700 h 9766300"/>
                <a:gd name="connsiteX114" fmla="*/ 6451600 w 7099448"/>
                <a:gd name="connsiteY114" fmla="*/ 2247900 h 9766300"/>
                <a:gd name="connsiteX115" fmla="*/ 6489700 w 7099448"/>
                <a:gd name="connsiteY115" fmla="*/ 2222500 h 9766300"/>
                <a:gd name="connsiteX116" fmla="*/ 6527800 w 7099448"/>
                <a:gd name="connsiteY116" fmla="*/ 2209800 h 9766300"/>
                <a:gd name="connsiteX117" fmla="*/ 6565900 w 7099448"/>
                <a:gd name="connsiteY117" fmla="*/ 2133600 h 9766300"/>
                <a:gd name="connsiteX118" fmla="*/ 6604000 w 7099448"/>
                <a:gd name="connsiteY118" fmla="*/ 2146300 h 9766300"/>
                <a:gd name="connsiteX119" fmla="*/ 6743700 w 7099448"/>
                <a:gd name="connsiteY119" fmla="*/ 2171700 h 9766300"/>
                <a:gd name="connsiteX120" fmla="*/ 6781800 w 7099448"/>
                <a:gd name="connsiteY120" fmla="*/ 2197100 h 9766300"/>
                <a:gd name="connsiteX121" fmla="*/ 6959600 w 7099448"/>
                <a:gd name="connsiteY121" fmla="*/ 2222500 h 9766300"/>
                <a:gd name="connsiteX122" fmla="*/ 7048500 w 7099448"/>
                <a:gd name="connsiteY122" fmla="*/ 2336800 h 9766300"/>
                <a:gd name="connsiteX123" fmla="*/ 7086600 w 7099448"/>
                <a:gd name="connsiteY123" fmla="*/ 2374900 h 9766300"/>
                <a:gd name="connsiteX124" fmla="*/ 7099300 w 7099448"/>
                <a:gd name="connsiteY124" fmla="*/ 2413000 h 9766300"/>
                <a:gd name="connsiteX125" fmla="*/ 7048500 w 7099448"/>
                <a:gd name="connsiteY125" fmla="*/ 2527300 h 9766300"/>
                <a:gd name="connsiteX126" fmla="*/ 6972300 w 7099448"/>
                <a:gd name="connsiteY126" fmla="*/ 2552700 h 9766300"/>
                <a:gd name="connsiteX127" fmla="*/ 6921500 w 7099448"/>
                <a:gd name="connsiteY127" fmla="*/ 2628900 h 9766300"/>
                <a:gd name="connsiteX128" fmla="*/ 6896100 w 7099448"/>
                <a:gd name="connsiteY128" fmla="*/ 2705100 h 9766300"/>
                <a:gd name="connsiteX129" fmla="*/ 6908800 w 7099448"/>
                <a:gd name="connsiteY129" fmla="*/ 2755900 h 9766300"/>
                <a:gd name="connsiteX130" fmla="*/ 6858000 w 7099448"/>
                <a:gd name="connsiteY130" fmla="*/ 2844800 h 9766300"/>
                <a:gd name="connsiteX131" fmla="*/ 6781800 w 7099448"/>
                <a:gd name="connsiteY131" fmla="*/ 2895600 h 9766300"/>
                <a:gd name="connsiteX132" fmla="*/ 6756400 w 7099448"/>
                <a:gd name="connsiteY132" fmla="*/ 2933700 h 9766300"/>
                <a:gd name="connsiteX133" fmla="*/ 6743700 w 7099448"/>
                <a:gd name="connsiteY133" fmla="*/ 2984500 h 9766300"/>
                <a:gd name="connsiteX134" fmla="*/ 6731000 w 7099448"/>
                <a:gd name="connsiteY134" fmla="*/ 3022600 h 9766300"/>
                <a:gd name="connsiteX135" fmla="*/ 6705600 w 7099448"/>
                <a:gd name="connsiteY135" fmla="*/ 3136900 h 9766300"/>
                <a:gd name="connsiteX136" fmla="*/ 6654800 w 7099448"/>
                <a:gd name="connsiteY136" fmla="*/ 3124200 h 9766300"/>
                <a:gd name="connsiteX137" fmla="*/ 6616700 w 7099448"/>
                <a:gd name="connsiteY137" fmla="*/ 3086100 h 9766300"/>
                <a:gd name="connsiteX138" fmla="*/ 6502400 w 7099448"/>
                <a:gd name="connsiteY138" fmla="*/ 3073400 h 9766300"/>
                <a:gd name="connsiteX139" fmla="*/ 6362700 w 7099448"/>
                <a:gd name="connsiteY139" fmla="*/ 3035300 h 9766300"/>
                <a:gd name="connsiteX140" fmla="*/ 6286500 w 7099448"/>
                <a:gd name="connsiteY140" fmla="*/ 3009900 h 9766300"/>
                <a:gd name="connsiteX141" fmla="*/ 6172200 w 7099448"/>
                <a:gd name="connsiteY141" fmla="*/ 2997200 h 9766300"/>
                <a:gd name="connsiteX142" fmla="*/ 6134100 w 7099448"/>
                <a:gd name="connsiteY142" fmla="*/ 2984500 h 9766300"/>
                <a:gd name="connsiteX143" fmla="*/ 6096000 w 7099448"/>
                <a:gd name="connsiteY143" fmla="*/ 2959100 h 9766300"/>
                <a:gd name="connsiteX144" fmla="*/ 5969000 w 7099448"/>
                <a:gd name="connsiteY144" fmla="*/ 2933700 h 9766300"/>
                <a:gd name="connsiteX145" fmla="*/ 5867400 w 7099448"/>
                <a:gd name="connsiteY145" fmla="*/ 2908300 h 9766300"/>
                <a:gd name="connsiteX146" fmla="*/ 5905500 w 7099448"/>
                <a:gd name="connsiteY146" fmla="*/ 3035300 h 9766300"/>
                <a:gd name="connsiteX147" fmla="*/ 5943600 w 7099448"/>
                <a:gd name="connsiteY147" fmla="*/ 3060700 h 9766300"/>
                <a:gd name="connsiteX148" fmla="*/ 5956300 w 7099448"/>
                <a:gd name="connsiteY148" fmla="*/ 3111500 h 9766300"/>
                <a:gd name="connsiteX149" fmla="*/ 5969000 w 7099448"/>
                <a:gd name="connsiteY149" fmla="*/ 3213100 h 9766300"/>
                <a:gd name="connsiteX150" fmla="*/ 6019800 w 7099448"/>
                <a:gd name="connsiteY150" fmla="*/ 3289300 h 9766300"/>
                <a:gd name="connsiteX151" fmla="*/ 5943600 w 7099448"/>
                <a:gd name="connsiteY151" fmla="*/ 3327400 h 9766300"/>
                <a:gd name="connsiteX152" fmla="*/ 5892800 w 7099448"/>
                <a:gd name="connsiteY152" fmla="*/ 3352800 h 9766300"/>
                <a:gd name="connsiteX153" fmla="*/ 5854700 w 7099448"/>
                <a:gd name="connsiteY153" fmla="*/ 3378200 h 9766300"/>
                <a:gd name="connsiteX154" fmla="*/ 5803900 w 7099448"/>
                <a:gd name="connsiteY154" fmla="*/ 3390900 h 9766300"/>
                <a:gd name="connsiteX155" fmla="*/ 5765800 w 7099448"/>
                <a:gd name="connsiteY155" fmla="*/ 3416300 h 9766300"/>
                <a:gd name="connsiteX156" fmla="*/ 5715000 w 7099448"/>
                <a:gd name="connsiteY156" fmla="*/ 3429000 h 9766300"/>
                <a:gd name="connsiteX157" fmla="*/ 5702300 w 7099448"/>
                <a:gd name="connsiteY157" fmla="*/ 3467100 h 9766300"/>
                <a:gd name="connsiteX158" fmla="*/ 5740400 w 7099448"/>
                <a:gd name="connsiteY158" fmla="*/ 3479800 h 9766300"/>
                <a:gd name="connsiteX159" fmla="*/ 5765800 w 7099448"/>
                <a:gd name="connsiteY159" fmla="*/ 3619500 h 9766300"/>
                <a:gd name="connsiteX160" fmla="*/ 5778500 w 7099448"/>
                <a:gd name="connsiteY160" fmla="*/ 3670300 h 9766300"/>
                <a:gd name="connsiteX161" fmla="*/ 5791200 w 7099448"/>
                <a:gd name="connsiteY161" fmla="*/ 3708400 h 9766300"/>
                <a:gd name="connsiteX162" fmla="*/ 5803900 w 7099448"/>
                <a:gd name="connsiteY162" fmla="*/ 3784600 h 9766300"/>
                <a:gd name="connsiteX163" fmla="*/ 5778500 w 7099448"/>
                <a:gd name="connsiteY163" fmla="*/ 3860800 h 9766300"/>
                <a:gd name="connsiteX164" fmla="*/ 5740400 w 7099448"/>
                <a:gd name="connsiteY164" fmla="*/ 3987800 h 9766300"/>
                <a:gd name="connsiteX165" fmla="*/ 5829300 w 7099448"/>
                <a:gd name="connsiteY165" fmla="*/ 4000500 h 9766300"/>
                <a:gd name="connsiteX166" fmla="*/ 5816600 w 7099448"/>
                <a:gd name="connsiteY166" fmla="*/ 4064000 h 9766300"/>
                <a:gd name="connsiteX167" fmla="*/ 5829300 w 7099448"/>
                <a:gd name="connsiteY167" fmla="*/ 4140200 h 9766300"/>
                <a:gd name="connsiteX168" fmla="*/ 5816600 w 7099448"/>
                <a:gd name="connsiteY168" fmla="*/ 4191000 h 9766300"/>
                <a:gd name="connsiteX169" fmla="*/ 5791200 w 7099448"/>
                <a:gd name="connsiteY169" fmla="*/ 4368800 h 9766300"/>
                <a:gd name="connsiteX170" fmla="*/ 5740400 w 7099448"/>
                <a:gd name="connsiteY170" fmla="*/ 4432300 h 9766300"/>
                <a:gd name="connsiteX171" fmla="*/ 5600700 w 7099448"/>
                <a:gd name="connsiteY171" fmla="*/ 4445000 h 9766300"/>
                <a:gd name="connsiteX172" fmla="*/ 4381500 w 7099448"/>
                <a:gd name="connsiteY172" fmla="*/ 4470400 h 9766300"/>
                <a:gd name="connsiteX173" fmla="*/ 4368800 w 7099448"/>
                <a:gd name="connsiteY173" fmla="*/ 4508500 h 9766300"/>
                <a:gd name="connsiteX174" fmla="*/ 4356100 w 7099448"/>
                <a:gd name="connsiteY174" fmla="*/ 4572000 h 9766300"/>
                <a:gd name="connsiteX175" fmla="*/ 4292600 w 7099448"/>
                <a:gd name="connsiteY175" fmla="*/ 4635500 h 9766300"/>
                <a:gd name="connsiteX176" fmla="*/ 4191000 w 7099448"/>
                <a:gd name="connsiteY176" fmla="*/ 4610100 h 9766300"/>
                <a:gd name="connsiteX177" fmla="*/ 4152900 w 7099448"/>
                <a:gd name="connsiteY177" fmla="*/ 4584700 h 9766300"/>
                <a:gd name="connsiteX178" fmla="*/ 4051300 w 7099448"/>
                <a:gd name="connsiteY178" fmla="*/ 4533900 h 9766300"/>
                <a:gd name="connsiteX179" fmla="*/ 3975100 w 7099448"/>
                <a:gd name="connsiteY179" fmla="*/ 4508500 h 9766300"/>
                <a:gd name="connsiteX180" fmla="*/ 3683000 w 7099448"/>
                <a:gd name="connsiteY180" fmla="*/ 4521200 h 9766300"/>
                <a:gd name="connsiteX181" fmla="*/ 3670300 w 7099448"/>
                <a:gd name="connsiteY181" fmla="*/ 4610100 h 9766300"/>
                <a:gd name="connsiteX182" fmla="*/ 3632200 w 7099448"/>
                <a:gd name="connsiteY182" fmla="*/ 4737100 h 9766300"/>
                <a:gd name="connsiteX183" fmla="*/ 3594100 w 7099448"/>
                <a:gd name="connsiteY183" fmla="*/ 4826000 h 9766300"/>
                <a:gd name="connsiteX184" fmla="*/ 3581400 w 7099448"/>
                <a:gd name="connsiteY184" fmla="*/ 5054600 h 9766300"/>
                <a:gd name="connsiteX185" fmla="*/ 3505200 w 7099448"/>
                <a:gd name="connsiteY185" fmla="*/ 5080000 h 9766300"/>
                <a:gd name="connsiteX186" fmla="*/ 3403600 w 7099448"/>
                <a:gd name="connsiteY186" fmla="*/ 5067300 h 9766300"/>
                <a:gd name="connsiteX187" fmla="*/ 3340100 w 7099448"/>
                <a:gd name="connsiteY187" fmla="*/ 5118100 h 9766300"/>
                <a:gd name="connsiteX188" fmla="*/ 3327400 w 7099448"/>
                <a:gd name="connsiteY188" fmla="*/ 5156200 h 9766300"/>
                <a:gd name="connsiteX189" fmla="*/ 3263900 w 7099448"/>
                <a:gd name="connsiteY189" fmla="*/ 5207000 h 9766300"/>
                <a:gd name="connsiteX190" fmla="*/ 3213100 w 7099448"/>
                <a:gd name="connsiteY190" fmla="*/ 5245100 h 9766300"/>
                <a:gd name="connsiteX191" fmla="*/ 3149600 w 7099448"/>
                <a:gd name="connsiteY191" fmla="*/ 5308600 h 9766300"/>
                <a:gd name="connsiteX192" fmla="*/ 3060700 w 7099448"/>
                <a:gd name="connsiteY192" fmla="*/ 5321300 h 9766300"/>
                <a:gd name="connsiteX193" fmla="*/ 3022600 w 7099448"/>
                <a:gd name="connsiteY193" fmla="*/ 5334000 h 9766300"/>
                <a:gd name="connsiteX194" fmla="*/ 2946400 w 7099448"/>
                <a:gd name="connsiteY194" fmla="*/ 5410200 h 9766300"/>
                <a:gd name="connsiteX195" fmla="*/ 2895600 w 7099448"/>
                <a:gd name="connsiteY195" fmla="*/ 5448300 h 9766300"/>
                <a:gd name="connsiteX196" fmla="*/ 2819400 w 7099448"/>
                <a:gd name="connsiteY196" fmla="*/ 5499100 h 9766300"/>
                <a:gd name="connsiteX197" fmla="*/ 2870200 w 7099448"/>
                <a:gd name="connsiteY197" fmla="*/ 5588000 h 9766300"/>
                <a:gd name="connsiteX198" fmla="*/ 2908300 w 7099448"/>
                <a:gd name="connsiteY198" fmla="*/ 5626100 h 9766300"/>
                <a:gd name="connsiteX199" fmla="*/ 2933700 w 7099448"/>
                <a:gd name="connsiteY199" fmla="*/ 5727700 h 9766300"/>
                <a:gd name="connsiteX200" fmla="*/ 2946400 w 7099448"/>
                <a:gd name="connsiteY200" fmla="*/ 5791200 h 9766300"/>
                <a:gd name="connsiteX201" fmla="*/ 2971800 w 7099448"/>
                <a:gd name="connsiteY201" fmla="*/ 5829300 h 9766300"/>
                <a:gd name="connsiteX202" fmla="*/ 3009900 w 7099448"/>
                <a:gd name="connsiteY202" fmla="*/ 5854700 h 9766300"/>
                <a:gd name="connsiteX203" fmla="*/ 3009900 w 7099448"/>
                <a:gd name="connsiteY203" fmla="*/ 5930900 h 9766300"/>
                <a:gd name="connsiteX204" fmla="*/ 2997200 w 7099448"/>
                <a:gd name="connsiteY204" fmla="*/ 5981700 h 9766300"/>
                <a:gd name="connsiteX205" fmla="*/ 2959100 w 7099448"/>
                <a:gd name="connsiteY205" fmla="*/ 6007100 h 9766300"/>
                <a:gd name="connsiteX206" fmla="*/ 2832100 w 7099448"/>
                <a:gd name="connsiteY206" fmla="*/ 6032500 h 9766300"/>
                <a:gd name="connsiteX207" fmla="*/ 2819400 w 7099448"/>
                <a:gd name="connsiteY207" fmla="*/ 6083300 h 9766300"/>
                <a:gd name="connsiteX208" fmla="*/ 2679700 w 7099448"/>
                <a:gd name="connsiteY208" fmla="*/ 6146800 h 9766300"/>
                <a:gd name="connsiteX209" fmla="*/ 2717800 w 7099448"/>
                <a:gd name="connsiteY209" fmla="*/ 6172200 h 9766300"/>
                <a:gd name="connsiteX210" fmla="*/ 2755900 w 7099448"/>
                <a:gd name="connsiteY210" fmla="*/ 6210300 h 9766300"/>
                <a:gd name="connsiteX211" fmla="*/ 2806700 w 7099448"/>
                <a:gd name="connsiteY211" fmla="*/ 6223000 h 9766300"/>
                <a:gd name="connsiteX212" fmla="*/ 2844800 w 7099448"/>
                <a:gd name="connsiteY212" fmla="*/ 6311900 h 9766300"/>
                <a:gd name="connsiteX213" fmla="*/ 2870200 w 7099448"/>
                <a:gd name="connsiteY213" fmla="*/ 6388100 h 9766300"/>
                <a:gd name="connsiteX214" fmla="*/ 2895600 w 7099448"/>
                <a:gd name="connsiteY214" fmla="*/ 6426200 h 9766300"/>
                <a:gd name="connsiteX215" fmla="*/ 2908300 w 7099448"/>
                <a:gd name="connsiteY215" fmla="*/ 6464300 h 9766300"/>
                <a:gd name="connsiteX216" fmla="*/ 2882900 w 7099448"/>
                <a:gd name="connsiteY216" fmla="*/ 6553200 h 9766300"/>
                <a:gd name="connsiteX217" fmla="*/ 2870200 w 7099448"/>
                <a:gd name="connsiteY217" fmla="*/ 6604000 h 9766300"/>
                <a:gd name="connsiteX218" fmla="*/ 2882900 w 7099448"/>
                <a:gd name="connsiteY218" fmla="*/ 6705600 h 9766300"/>
                <a:gd name="connsiteX219" fmla="*/ 2908300 w 7099448"/>
                <a:gd name="connsiteY219" fmla="*/ 6743700 h 9766300"/>
                <a:gd name="connsiteX220" fmla="*/ 2921000 w 7099448"/>
                <a:gd name="connsiteY220" fmla="*/ 6781800 h 9766300"/>
                <a:gd name="connsiteX221" fmla="*/ 2933700 w 7099448"/>
                <a:gd name="connsiteY221" fmla="*/ 6997700 h 9766300"/>
                <a:gd name="connsiteX222" fmla="*/ 2984500 w 7099448"/>
                <a:gd name="connsiteY222" fmla="*/ 7010400 h 9766300"/>
                <a:gd name="connsiteX223" fmla="*/ 3060700 w 7099448"/>
                <a:gd name="connsiteY223" fmla="*/ 7086600 h 9766300"/>
                <a:gd name="connsiteX224" fmla="*/ 3098800 w 7099448"/>
                <a:gd name="connsiteY224" fmla="*/ 7112000 h 9766300"/>
                <a:gd name="connsiteX225" fmla="*/ 3073400 w 7099448"/>
                <a:gd name="connsiteY225" fmla="*/ 7277100 h 9766300"/>
                <a:gd name="connsiteX226" fmla="*/ 3086100 w 7099448"/>
                <a:gd name="connsiteY226" fmla="*/ 7378700 h 9766300"/>
                <a:gd name="connsiteX227" fmla="*/ 3124200 w 7099448"/>
                <a:gd name="connsiteY227" fmla="*/ 7416800 h 9766300"/>
                <a:gd name="connsiteX228" fmla="*/ 3175000 w 7099448"/>
                <a:gd name="connsiteY228" fmla="*/ 7493000 h 9766300"/>
                <a:gd name="connsiteX229" fmla="*/ 3200400 w 7099448"/>
                <a:gd name="connsiteY229" fmla="*/ 7531100 h 9766300"/>
                <a:gd name="connsiteX230" fmla="*/ 3187700 w 7099448"/>
                <a:gd name="connsiteY230" fmla="*/ 7594600 h 9766300"/>
                <a:gd name="connsiteX231" fmla="*/ 3162300 w 7099448"/>
                <a:gd name="connsiteY231" fmla="*/ 7658100 h 9766300"/>
                <a:gd name="connsiteX232" fmla="*/ 3149600 w 7099448"/>
                <a:gd name="connsiteY232" fmla="*/ 7708900 h 9766300"/>
                <a:gd name="connsiteX233" fmla="*/ 3162300 w 7099448"/>
                <a:gd name="connsiteY233" fmla="*/ 7747000 h 9766300"/>
                <a:gd name="connsiteX234" fmla="*/ 3200400 w 7099448"/>
                <a:gd name="connsiteY234" fmla="*/ 7759700 h 9766300"/>
                <a:gd name="connsiteX235" fmla="*/ 3238500 w 7099448"/>
                <a:gd name="connsiteY235" fmla="*/ 7785100 h 9766300"/>
                <a:gd name="connsiteX236" fmla="*/ 3263900 w 7099448"/>
                <a:gd name="connsiteY236" fmla="*/ 7886700 h 9766300"/>
                <a:gd name="connsiteX237" fmla="*/ 3276600 w 7099448"/>
                <a:gd name="connsiteY237" fmla="*/ 7924800 h 9766300"/>
                <a:gd name="connsiteX238" fmla="*/ 3302000 w 7099448"/>
                <a:gd name="connsiteY238" fmla="*/ 7962900 h 9766300"/>
                <a:gd name="connsiteX239" fmla="*/ 3327400 w 7099448"/>
                <a:gd name="connsiteY239" fmla="*/ 8051800 h 9766300"/>
                <a:gd name="connsiteX240" fmla="*/ 3314700 w 7099448"/>
                <a:gd name="connsiteY240" fmla="*/ 8102600 h 9766300"/>
                <a:gd name="connsiteX241" fmla="*/ 3263900 w 7099448"/>
                <a:gd name="connsiteY241" fmla="*/ 8166100 h 9766300"/>
                <a:gd name="connsiteX242" fmla="*/ 3276600 w 7099448"/>
                <a:gd name="connsiteY242" fmla="*/ 8229600 h 9766300"/>
                <a:gd name="connsiteX243" fmla="*/ 3314700 w 7099448"/>
                <a:gd name="connsiteY243" fmla="*/ 8255000 h 9766300"/>
                <a:gd name="connsiteX244" fmla="*/ 3327400 w 7099448"/>
                <a:gd name="connsiteY244" fmla="*/ 8458200 h 9766300"/>
                <a:gd name="connsiteX245" fmla="*/ 3352800 w 7099448"/>
                <a:gd name="connsiteY245" fmla="*/ 8534400 h 9766300"/>
                <a:gd name="connsiteX246" fmla="*/ 3340100 w 7099448"/>
                <a:gd name="connsiteY246" fmla="*/ 8623300 h 9766300"/>
                <a:gd name="connsiteX247" fmla="*/ 3289300 w 7099448"/>
                <a:gd name="connsiteY247" fmla="*/ 8699500 h 9766300"/>
                <a:gd name="connsiteX248" fmla="*/ 3238500 w 7099448"/>
                <a:gd name="connsiteY248" fmla="*/ 8788400 h 9766300"/>
                <a:gd name="connsiteX249" fmla="*/ 3225800 w 7099448"/>
                <a:gd name="connsiteY249" fmla="*/ 8890000 h 9766300"/>
                <a:gd name="connsiteX250" fmla="*/ 3187700 w 7099448"/>
                <a:gd name="connsiteY250" fmla="*/ 8902700 h 9766300"/>
                <a:gd name="connsiteX251" fmla="*/ 3149600 w 7099448"/>
                <a:gd name="connsiteY251" fmla="*/ 8940800 h 9766300"/>
                <a:gd name="connsiteX252" fmla="*/ 3162300 w 7099448"/>
                <a:gd name="connsiteY252" fmla="*/ 9093200 h 9766300"/>
                <a:gd name="connsiteX253" fmla="*/ 3175000 w 7099448"/>
                <a:gd name="connsiteY253" fmla="*/ 9131300 h 9766300"/>
                <a:gd name="connsiteX254" fmla="*/ 3187700 w 7099448"/>
                <a:gd name="connsiteY254" fmla="*/ 9283700 h 9766300"/>
                <a:gd name="connsiteX255" fmla="*/ 3200400 w 7099448"/>
                <a:gd name="connsiteY255" fmla="*/ 9347200 h 9766300"/>
                <a:gd name="connsiteX256" fmla="*/ 3238500 w 7099448"/>
                <a:gd name="connsiteY256" fmla="*/ 9372600 h 9766300"/>
                <a:gd name="connsiteX257" fmla="*/ 3276600 w 7099448"/>
                <a:gd name="connsiteY257" fmla="*/ 9410700 h 9766300"/>
                <a:gd name="connsiteX258" fmla="*/ 3289300 w 7099448"/>
                <a:gd name="connsiteY258" fmla="*/ 9448800 h 9766300"/>
                <a:gd name="connsiteX259" fmla="*/ 3276600 w 7099448"/>
                <a:gd name="connsiteY259" fmla="*/ 9512300 h 9766300"/>
                <a:gd name="connsiteX260" fmla="*/ 3200400 w 7099448"/>
                <a:gd name="connsiteY260" fmla="*/ 9575800 h 9766300"/>
                <a:gd name="connsiteX261" fmla="*/ 3162300 w 7099448"/>
                <a:gd name="connsiteY261" fmla="*/ 9626600 h 9766300"/>
                <a:gd name="connsiteX262" fmla="*/ 3124200 w 7099448"/>
                <a:gd name="connsiteY262" fmla="*/ 9652000 h 9766300"/>
                <a:gd name="connsiteX263" fmla="*/ 3098800 w 7099448"/>
                <a:gd name="connsiteY263" fmla="*/ 9690100 h 9766300"/>
                <a:gd name="connsiteX264" fmla="*/ 2971800 w 7099448"/>
                <a:gd name="connsiteY264" fmla="*/ 9766300 h 9766300"/>
                <a:gd name="connsiteX265" fmla="*/ 2921000 w 7099448"/>
                <a:gd name="connsiteY265" fmla="*/ 9753600 h 9766300"/>
                <a:gd name="connsiteX266" fmla="*/ 2844800 w 7099448"/>
                <a:gd name="connsiteY266" fmla="*/ 9728200 h 9766300"/>
                <a:gd name="connsiteX267" fmla="*/ 1574800 w 7099448"/>
                <a:gd name="connsiteY267" fmla="*/ 9715500 h 9766300"/>
                <a:gd name="connsiteX268" fmla="*/ 1485900 w 7099448"/>
                <a:gd name="connsiteY268" fmla="*/ 9702800 h 9766300"/>
                <a:gd name="connsiteX269" fmla="*/ 1409700 w 7099448"/>
                <a:gd name="connsiteY269" fmla="*/ 9677400 h 9766300"/>
                <a:gd name="connsiteX270" fmla="*/ 1270000 w 7099448"/>
                <a:gd name="connsiteY270" fmla="*/ 9690100 h 9766300"/>
                <a:gd name="connsiteX271" fmla="*/ 1193800 w 7099448"/>
                <a:gd name="connsiteY271" fmla="*/ 9690100 h 9766300"/>
                <a:gd name="connsiteX272" fmla="*/ 1168400 w 7099448"/>
                <a:gd name="connsiteY272" fmla="*/ 9652000 h 9766300"/>
                <a:gd name="connsiteX273" fmla="*/ 1155700 w 7099448"/>
                <a:gd name="connsiteY273" fmla="*/ 9588500 h 9766300"/>
                <a:gd name="connsiteX274" fmla="*/ 1079500 w 7099448"/>
                <a:gd name="connsiteY274" fmla="*/ 9512300 h 9766300"/>
                <a:gd name="connsiteX275" fmla="*/ 1041400 w 7099448"/>
                <a:gd name="connsiteY275" fmla="*/ 9398000 h 9766300"/>
                <a:gd name="connsiteX276" fmla="*/ 1066800 w 7099448"/>
                <a:gd name="connsiteY276" fmla="*/ 9309100 h 9766300"/>
                <a:gd name="connsiteX277" fmla="*/ 1054100 w 7099448"/>
                <a:gd name="connsiteY277" fmla="*/ 9182100 h 9766300"/>
                <a:gd name="connsiteX278" fmla="*/ 1003300 w 7099448"/>
                <a:gd name="connsiteY278" fmla="*/ 9156700 h 9766300"/>
                <a:gd name="connsiteX279" fmla="*/ 838200 w 7099448"/>
                <a:gd name="connsiteY279" fmla="*/ 9144000 h 9766300"/>
                <a:gd name="connsiteX280" fmla="*/ 787400 w 7099448"/>
                <a:gd name="connsiteY280" fmla="*/ 9118600 h 9766300"/>
                <a:gd name="connsiteX281" fmla="*/ 685800 w 7099448"/>
                <a:gd name="connsiteY281" fmla="*/ 9093200 h 9766300"/>
                <a:gd name="connsiteX282" fmla="*/ 647700 w 7099448"/>
                <a:gd name="connsiteY282" fmla="*/ 9055100 h 9766300"/>
                <a:gd name="connsiteX283" fmla="*/ 609600 w 7099448"/>
                <a:gd name="connsiteY283" fmla="*/ 9029700 h 9766300"/>
                <a:gd name="connsiteX284" fmla="*/ 546100 w 7099448"/>
                <a:gd name="connsiteY284" fmla="*/ 8940800 h 9766300"/>
                <a:gd name="connsiteX285" fmla="*/ 469900 w 7099448"/>
                <a:gd name="connsiteY285" fmla="*/ 8877300 h 9766300"/>
                <a:gd name="connsiteX286" fmla="*/ 482600 w 7099448"/>
                <a:gd name="connsiteY286" fmla="*/ 8712200 h 9766300"/>
                <a:gd name="connsiteX287" fmla="*/ 469900 w 7099448"/>
                <a:gd name="connsiteY287" fmla="*/ 8661400 h 9766300"/>
                <a:gd name="connsiteX288" fmla="*/ 546100 w 7099448"/>
                <a:gd name="connsiteY288" fmla="*/ 8610600 h 9766300"/>
                <a:gd name="connsiteX289" fmla="*/ 647700 w 7099448"/>
                <a:gd name="connsiteY289" fmla="*/ 8623300 h 9766300"/>
                <a:gd name="connsiteX290" fmla="*/ 673100 w 7099448"/>
                <a:gd name="connsiteY290" fmla="*/ 8661400 h 9766300"/>
                <a:gd name="connsiteX291" fmla="*/ 660400 w 7099448"/>
                <a:gd name="connsiteY291" fmla="*/ 8699500 h 9766300"/>
                <a:gd name="connsiteX292" fmla="*/ 685800 w 7099448"/>
                <a:gd name="connsiteY292" fmla="*/ 8661400 h 9766300"/>
                <a:gd name="connsiteX293" fmla="*/ 647700 w 7099448"/>
                <a:gd name="connsiteY293" fmla="*/ 8597900 h 9766300"/>
                <a:gd name="connsiteX294" fmla="*/ 635000 w 7099448"/>
                <a:gd name="connsiteY294" fmla="*/ 8559800 h 9766300"/>
                <a:gd name="connsiteX295" fmla="*/ 622300 w 7099448"/>
                <a:gd name="connsiteY295" fmla="*/ 8470900 h 9766300"/>
                <a:gd name="connsiteX296" fmla="*/ 609600 w 7099448"/>
                <a:gd name="connsiteY296" fmla="*/ 8432800 h 9766300"/>
                <a:gd name="connsiteX297" fmla="*/ 622300 w 7099448"/>
                <a:gd name="connsiteY297" fmla="*/ 8356600 h 9766300"/>
                <a:gd name="connsiteX298" fmla="*/ 558800 w 7099448"/>
                <a:gd name="connsiteY298" fmla="*/ 8229600 h 9766300"/>
                <a:gd name="connsiteX299" fmla="*/ 546100 w 7099448"/>
                <a:gd name="connsiteY299" fmla="*/ 8178800 h 9766300"/>
                <a:gd name="connsiteX300" fmla="*/ 508000 w 7099448"/>
                <a:gd name="connsiteY300" fmla="*/ 8051800 h 9766300"/>
                <a:gd name="connsiteX301" fmla="*/ 571500 w 7099448"/>
                <a:gd name="connsiteY301" fmla="*/ 7950200 h 9766300"/>
                <a:gd name="connsiteX302" fmla="*/ 609600 w 7099448"/>
                <a:gd name="connsiteY302" fmla="*/ 7861300 h 9766300"/>
                <a:gd name="connsiteX303" fmla="*/ 647700 w 7099448"/>
                <a:gd name="connsiteY303" fmla="*/ 7810500 h 9766300"/>
                <a:gd name="connsiteX304" fmla="*/ 673100 w 7099448"/>
                <a:gd name="connsiteY304" fmla="*/ 7759700 h 9766300"/>
                <a:gd name="connsiteX305" fmla="*/ 698500 w 7099448"/>
                <a:gd name="connsiteY305" fmla="*/ 7721600 h 9766300"/>
                <a:gd name="connsiteX306" fmla="*/ 762000 w 7099448"/>
                <a:gd name="connsiteY306" fmla="*/ 7569200 h 9766300"/>
                <a:gd name="connsiteX307" fmla="*/ 723900 w 7099448"/>
                <a:gd name="connsiteY307" fmla="*/ 7531100 h 9766300"/>
                <a:gd name="connsiteX308" fmla="*/ 609600 w 7099448"/>
                <a:gd name="connsiteY308" fmla="*/ 7518400 h 9766300"/>
                <a:gd name="connsiteX309" fmla="*/ 635000 w 7099448"/>
                <a:gd name="connsiteY309" fmla="*/ 7442200 h 9766300"/>
                <a:gd name="connsiteX310" fmla="*/ 660400 w 7099448"/>
                <a:gd name="connsiteY310" fmla="*/ 7302500 h 9766300"/>
                <a:gd name="connsiteX311" fmla="*/ 685800 w 7099448"/>
                <a:gd name="connsiteY311" fmla="*/ 7264400 h 9766300"/>
                <a:gd name="connsiteX312" fmla="*/ 673100 w 7099448"/>
                <a:gd name="connsiteY312" fmla="*/ 7124700 h 9766300"/>
                <a:gd name="connsiteX313" fmla="*/ 546100 w 7099448"/>
                <a:gd name="connsiteY313" fmla="*/ 7112000 h 9766300"/>
                <a:gd name="connsiteX314" fmla="*/ 495300 w 7099448"/>
                <a:gd name="connsiteY314" fmla="*/ 7086600 h 9766300"/>
                <a:gd name="connsiteX315" fmla="*/ 368300 w 7099448"/>
                <a:gd name="connsiteY315" fmla="*/ 7073900 h 9766300"/>
                <a:gd name="connsiteX316" fmla="*/ 317500 w 7099448"/>
                <a:gd name="connsiteY316" fmla="*/ 7061200 h 9766300"/>
                <a:gd name="connsiteX317" fmla="*/ 342900 w 7099448"/>
                <a:gd name="connsiteY317" fmla="*/ 7023100 h 9766300"/>
                <a:gd name="connsiteX318" fmla="*/ 419100 w 7099448"/>
                <a:gd name="connsiteY318" fmla="*/ 6997700 h 9766300"/>
                <a:gd name="connsiteX319" fmla="*/ 508000 w 7099448"/>
                <a:gd name="connsiteY319" fmla="*/ 7023100 h 9766300"/>
                <a:gd name="connsiteX320" fmla="*/ 546100 w 7099448"/>
                <a:gd name="connsiteY320" fmla="*/ 7035800 h 9766300"/>
                <a:gd name="connsiteX321" fmla="*/ 558800 w 7099448"/>
                <a:gd name="connsiteY321" fmla="*/ 6997700 h 9766300"/>
                <a:gd name="connsiteX322" fmla="*/ 533400 w 7099448"/>
                <a:gd name="connsiteY322" fmla="*/ 6819900 h 9766300"/>
                <a:gd name="connsiteX323" fmla="*/ 508000 w 7099448"/>
                <a:gd name="connsiteY323" fmla="*/ 6781800 h 9766300"/>
                <a:gd name="connsiteX324" fmla="*/ 469900 w 7099448"/>
                <a:gd name="connsiteY324" fmla="*/ 6743700 h 9766300"/>
                <a:gd name="connsiteX325" fmla="*/ 419100 w 7099448"/>
                <a:gd name="connsiteY325" fmla="*/ 6731000 h 9766300"/>
                <a:gd name="connsiteX326" fmla="*/ 419100 w 7099448"/>
                <a:gd name="connsiteY326" fmla="*/ 6553200 h 9766300"/>
                <a:gd name="connsiteX327" fmla="*/ 444500 w 7099448"/>
                <a:gd name="connsiteY327" fmla="*/ 6515100 h 9766300"/>
                <a:gd name="connsiteX328" fmla="*/ 457200 w 7099448"/>
                <a:gd name="connsiteY328" fmla="*/ 6464300 h 9766300"/>
                <a:gd name="connsiteX329" fmla="*/ 508000 w 7099448"/>
                <a:gd name="connsiteY329" fmla="*/ 6388100 h 9766300"/>
                <a:gd name="connsiteX330" fmla="*/ 482600 w 7099448"/>
                <a:gd name="connsiteY330" fmla="*/ 6172200 h 9766300"/>
                <a:gd name="connsiteX331" fmla="*/ 469900 w 7099448"/>
                <a:gd name="connsiteY331" fmla="*/ 5842000 h 9766300"/>
                <a:gd name="connsiteX332" fmla="*/ 406400 w 7099448"/>
                <a:gd name="connsiteY332" fmla="*/ 5727700 h 9766300"/>
                <a:gd name="connsiteX333" fmla="*/ 355600 w 7099448"/>
                <a:gd name="connsiteY333" fmla="*/ 5626100 h 9766300"/>
                <a:gd name="connsiteX334" fmla="*/ 368300 w 7099448"/>
                <a:gd name="connsiteY334" fmla="*/ 5524500 h 9766300"/>
                <a:gd name="connsiteX335" fmla="*/ 381000 w 7099448"/>
                <a:gd name="connsiteY335" fmla="*/ 5486400 h 9766300"/>
                <a:gd name="connsiteX336" fmla="*/ 393700 w 7099448"/>
                <a:gd name="connsiteY336" fmla="*/ 5346700 h 9766300"/>
                <a:gd name="connsiteX337" fmla="*/ 406400 w 7099448"/>
                <a:gd name="connsiteY337" fmla="*/ 5308600 h 9766300"/>
                <a:gd name="connsiteX338" fmla="*/ 444500 w 7099448"/>
                <a:gd name="connsiteY338" fmla="*/ 5295900 h 9766300"/>
                <a:gd name="connsiteX339" fmla="*/ 609600 w 7099448"/>
                <a:gd name="connsiteY339" fmla="*/ 5283200 h 9766300"/>
                <a:gd name="connsiteX340" fmla="*/ 609600 w 7099448"/>
                <a:gd name="connsiteY340" fmla="*/ 5143500 h 9766300"/>
                <a:gd name="connsiteX341" fmla="*/ 584200 w 7099448"/>
                <a:gd name="connsiteY341" fmla="*/ 5105400 h 9766300"/>
                <a:gd name="connsiteX342" fmla="*/ 571500 w 7099448"/>
                <a:gd name="connsiteY342" fmla="*/ 5067300 h 9766300"/>
                <a:gd name="connsiteX343" fmla="*/ 469900 w 7099448"/>
                <a:gd name="connsiteY343" fmla="*/ 4940300 h 9766300"/>
                <a:gd name="connsiteX344" fmla="*/ 457200 w 7099448"/>
                <a:gd name="connsiteY344" fmla="*/ 4775200 h 9766300"/>
                <a:gd name="connsiteX345" fmla="*/ 419100 w 7099448"/>
                <a:gd name="connsiteY345" fmla="*/ 4762500 h 9766300"/>
                <a:gd name="connsiteX346" fmla="*/ 266700 w 7099448"/>
                <a:gd name="connsiteY346" fmla="*/ 4749800 h 9766300"/>
                <a:gd name="connsiteX347" fmla="*/ 228600 w 7099448"/>
                <a:gd name="connsiteY347" fmla="*/ 4711700 h 9766300"/>
                <a:gd name="connsiteX348" fmla="*/ 152400 w 7099448"/>
                <a:gd name="connsiteY348" fmla="*/ 4648200 h 9766300"/>
                <a:gd name="connsiteX349" fmla="*/ 139700 w 7099448"/>
                <a:gd name="connsiteY349" fmla="*/ 4610100 h 9766300"/>
                <a:gd name="connsiteX350" fmla="*/ 127000 w 7099448"/>
                <a:gd name="connsiteY350" fmla="*/ 4546600 h 9766300"/>
                <a:gd name="connsiteX351" fmla="*/ 50800 w 7099448"/>
                <a:gd name="connsiteY351" fmla="*/ 4521200 h 9766300"/>
                <a:gd name="connsiteX352" fmla="*/ 0 w 7099448"/>
                <a:gd name="connsiteY352" fmla="*/ 4495800 h 9766300"/>
                <a:gd name="connsiteX353" fmla="*/ 76200 w 7099448"/>
                <a:gd name="connsiteY353" fmla="*/ 4419600 h 9766300"/>
                <a:gd name="connsiteX354" fmla="*/ 88900 w 7099448"/>
                <a:gd name="connsiteY354" fmla="*/ 4356100 h 9766300"/>
                <a:gd name="connsiteX355" fmla="*/ 165100 w 7099448"/>
                <a:gd name="connsiteY355" fmla="*/ 4305300 h 9766300"/>
                <a:gd name="connsiteX356" fmla="*/ 254000 w 7099448"/>
                <a:gd name="connsiteY356" fmla="*/ 4216400 h 9766300"/>
                <a:gd name="connsiteX357" fmla="*/ 292100 w 7099448"/>
                <a:gd name="connsiteY357" fmla="*/ 4178300 h 9766300"/>
                <a:gd name="connsiteX358" fmla="*/ 292100 w 7099448"/>
                <a:gd name="connsiteY358" fmla="*/ 4076700 h 9766300"/>
                <a:gd name="connsiteX359" fmla="*/ 228600 w 7099448"/>
                <a:gd name="connsiteY359" fmla="*/ 4051300 h 9766300"/>
                <a:gd name="connsiteX360" fmla="*/ 203200 w 7099448"/>
                <a:gd name="connsiteY360" fmla="*/ 4013200 h 9766300"/>
                <a:gd name="connsiteX361" fmla="*/ 203200 w 7099448"/>
                <a:gd name="connsiteY361" fmla="*/ 3771900 h 9766300"/>
                <a:gd name="connsiteX362" fmla="*/ 228600 w 7099448"/>
                <a:gd name="connsiteY362" fmla="*/ 3733800 h 9766300"/>
                <a:gd name="connsiteX363" fmla="*/ 266700 w 7099448"/>
                <a:gd name="connsiteY363" fmla="*/ 3657600 h 9766300"/>
                <a:gd name="connsiteX364" fmla="*/ 381000 w 7099448"/>
                <a:gd name="connsiteY364" fmla="*/ 3632200 h 9766300"/>
                <a:gd name="connsiteX365" fmla="*/ 469900 w 7099448"/>
                <a:gd name="connsiteY365" fmla="*/ 3657600 h 9766300"/>
                <a:gd name="connsiteX366" fmla="*/ 571500 w 7099448"/>
                <a:gd name="connsiteY366" fmla="*/ 3644900 h 9766300"/>
                <a:gd name="connsiteX367" fmla="*/ 685800 w 7099448"/>
                <a:gd name="connsiteY367" fmla="*/ 3619500 h 9766300"/>
                <a:gd name="connsiteX368" fmla="*/ 723900 w 7099448"/>
                <a:gd name="connsiteY368" fmla="*/ 3581400 h 9766300"/>
                <a:gd name="connsiteX369" fmla="*/ 762000 w 7099448"/>
                <a:gd name="connsiteY369" fmla="*/ 3556000 h 9766300"/>
                <a:gd name="connsiteX370" fmla="*/ 812800 w 7099448"/>
                <a:gd name="connsiteY370" fmla="*/ 3479800 h 9766300"/>
                <a:gd name="connsiteX371" fmla="*/ 850900 w 7099448"/>
                <a:gd name="connsiteY371" fmla="*/ 3403600 h 9766300"/>
                <a:gd name="connsiteX372" fmla="*/ 939800 w 7099448"/>
                <a:gd name="connsiteY372" fmla="*/ 3365500 h 9766300"/>
                <a:gd name="connsiteX373" fmla="*/ 977900 w 7099448"/>
                <a:gd name="connsiteY373" fmla="*/ 3314700 h 9766300"/>
                <a:gd name="connsiteX374" fmla="*/ 1003300 w 7099448"/>
                <a:gd name="connsiteY374" fmla="*/ 3238500 h 9766300"/>
                <a:gd name="connsiteX375" fmla="*/ 1016000 w 7099448"/>
                <a:gd name="connsiteY375" fmla="*/ 3149600 h 9766300"/>
                <a:gd name="connsiteX376" fmla="*/ 1054100 w 7099448"/>
                <a:gd name="connsiteY376" fmla="*/ 2971800 h 9766300"/>
                <a:gd name="connsiteX377" fmla="*/ 1066800 w 7099448"/>
                <a:gd name="connsiteY377" fmla="*/ 2933700 h 9766300"/>
                <a:gd name="connsiteX378" fmla="*/ 1066800 w 7099448"/>
                <a:gd name="connsiteY378" fmla="*/ 2641600 h 9766300"/>
                <a:gd name="connsiteX379" fmla="*/ 1003300 w 7099448"/>
                <a:gd name="connsiteY379" fmla="*/ 2654300 h 9766300"/>
                <a:gd name="connsiteX380" fmla="*/ 927100 w 7099448"/>
                <a:gd name="connsiteY380" fmla="*/ 2743200 h 9766300"/>
                <a:gd name="connsiteX381" fmla="*/ 914400 w 7099448"/>
                <a:gd name="connsiteY381" fmla="*/ 2781300 h 9766300"/>
                <a:gd name="connsiteX382" fmla="*/ 838200 w 7099448"/>
                <a:gd name="connsiteY382" fmla="*/ 2870200 h 9766300"/>
                <a:gd name="connsiteX383" fmla="*/ 800100 w 7099448"/>
                <a:gd name="connsiteY383" fmla="*/ 2895600 h 9766300"/>
                <a:gd name="connsiteX384" fmla="*/ 736600 w 7099448"/>
                <a:gd name="connsiteY384" fmla="*/ 2933700 h 976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</a:cxnLst>
              <a:rect l="l" t="t" r="r" b="b"/>
              <a:pathLst>
                <a:path w="7099448" h="9766300">
                  <a:moveTo>
                    <a:pt x="736600" y="2933700"/>
                  </a:moveTo>
                  <a:cubicBezTo>
                    <a:pt x="736600" y="2929467"/>
                    <a:pt x="783061" y="2894812"/>
                    <a:pt x="800100" y="2870200"/>
                  </a:cubicBezTo>
                  <a:cubicBezTo>
                    <a:pt x="845965" y="2803950"/>
                    <a:pt x="847590" y="2781841"/>
                    <a:pt x="863600" y="2717800"/>
                  </a:cubicBezTo>
                  <a:cubicBezTo>
                    <a:pt x="841575" y="2651724"/>
                    <a:pt x="848603" y="2706226"/>
                    <a:pt x="876300" y="2641600"/>
                  </a:cubicBezTo>
                  <a:cubicBezTo>
                    <a:pt x="883176" y="2625557"/>
                    <a:pt x="882124" y="2606843"/>
                    <a:pt x="889000" y="2590800"/>
                  </a:cubicBezTo>
                  <a:cubicBezTo>
                    <a:pt x="895013" y="2576771"/>
                    <a:pt x="904259" y="2564108"/>
                    <a:pt x="914400" y="2552700"/>
                  </a:cubicBezTo>
                  <a:cubicBezTo>
                    <a:pt x="971769" y="2488160"/>
                    <a:pt x="975452" y="2479364"/>
                    <a:pt x="1041400" y="2451100"/>
                  </a:cubicBezTo>
                  <a:cubicBezTo>
                    <a:pt x="1053705" y="2445827"/>
                    <a:pt x="1066800" y="2442633"/>
                    <a:pt x="1079500" y="2438400"/>
                  </a:cubicBezTo>
                  <a:cubicBezTo>
                    <a:pt x="1114258" y="2415228"/>
                    <a:pt x="1125175" y="2415005"/>
                    <a:pt x="1143000" y="2374900"/>
                  </a:cubicBezTo>
                  <a:cubicBezTo>
                    <a:pt x="1154397" y="2349257"/>
                    <a:pt x="1162671" y="2272288"/>
                    <a:pt x="1206500" y="2260600"/>
                  </a:cubicBezTo>
                  <a:cubicBezTo>
                    <a:pt x="1255755" y="2247465"/>
                    <a:pt x="1308007" y="2250808"/>
                    <a:pt x="1358900" y="2247900"/>
                  </a:cubicBezTo>
                  <a:cubicBezTo>
                    <a:pt x="1456200" y="2242340"/>
                    <a:pt x="1553633" y="2239433"/>
                    <a:pt x="1651000" y="2235200"/>
                  </a:cubicBezTo>
                  <a:cubicBezTo>
                    <a:pt x="1659467" y="2209800"/>
                    <a:pt x="1661548" y="2181277"/>
                    <a:pt x="1676400" y="2159000"/>
                  </a:cubicBezTo>
                  <a:cubicBezTo>
                    <a:pt x="1684867" y="2146300"/>
                    <a:pt x="1695601" y="2134848"/>
                    <a:pt x="1701800" y="2120900"/>
                  </a:cubicBezTo>
                  <a:cubicBezTo>
                    <a:pt x="1729703" y="2058118"/>
                    <a:pt x="1710399" y="2043201"/>
                    <a:pt x="1765300" y="2006600"/>
                  </a:cubicBezTo>
                  <a:cubicBezTo>
                    <a:pt x="1786143" y="1992705"/>
                    <a:pt x="1870380" y="1982737"/>
                    <a:pt x="1879600" y="1981200"/>
                  </a:cubicBezTo>
                  <a:cubicBezTo>
                    <a:pt x="1891043" y="1969757"/>
                    <a:pt x="1939564" y="1926218"/>
                    <a:pt x="1943100" y="1905000"/>
                  </a:cubicBezTo>
                  <a:cubicBezTo>
                    <a:pt x="1946605" y="1883968"/>
                    <a:pt x="1913845" y="1842068"/>
                    <a:pt x="1905000" y="1828800"/>
                  </a:cubicBezTo>
                  <a:cubicBezTo>
                    <a:pt x="1900767" y="1778000"/>
                    <a:pt x="1899037" y="1726929"/>
                    <a:pt x="1892300" y="1676400"/>
                  </a:cubicBezTo>
                  <a:cubicBezTo>
                    <a:pt x="1890531" y="1663130"/>
                    <a:pt x="1866900" y="1642533"/>
                    <a:pt x="1879600" y="1638300"/>
                  </a:cubicBezTo>
                  <a:cubicBezTo>
                    <a:pt x="1907998" y="1628834"/>
                    <a:pt x="1938749" y="1647694"/>
                    <a:pt x="1968500" y="1651000"/>
                  </a:cubicBezTo>
                  <a:cubicBezTo>
                    <a:pt x="2014973" y="1656164"/>
                    <a:pt x="2061633" y="1659467"/>
                    <a:pt x="2108200" y="1663700"/>
                  </a:cubicBezTo>
                  <a:cubicBezTo>
                    <a:pt x="2201333" y="1659467"/>
                    <a:pt x="2295035" y="1662108"/>
                    <a:pt x="2387600" y="1651000"/>
                  </a:cubicBezTo>
                  <a:cubicBezTo>
                    <a:pt x="2402755" y="1649181"/>
                    <a:pt x="2411752" y="1631799"/>
                    <a:pt x="2425700" y="1625600"/>
                  </a:cubicBezTo>
                  <a:cubicBezTo>
                    <a:pt x="2450166" y="1614726"/>
                    <a:pt x="2476500" y="1608667"/>
                    <a:pt x="2501900" y="1600200"/>
                  </a:cubicBezTo>
                  <a:lnTo>
                    <a:pt x="2540000" y="1587500"/>
                  </a:lnTo>
                  <a:lnTo>
                    <a:pt x="2578100" y="1574800"/>
                  </a:lnTo>
                  <a:cubicBezTo>
                    <a:pt x="2663766" y="1489134"/>
                    <a:pt x="2620222" y="1509959"/>
                    <a:pt x="2692400" y="1485900"/>
                  </a:cubicBezTo>
                  <a:cubicBezTo>
                    <a:pt x="2743200" y="1490133"/>
                    <a:pt x="2793824" y="1498600"/>
                    <a:pt x="2844800" y="1498600"/>
                  </a:cubicBezTo>
                  <a:cubicBezTo>
                    <a:pt x="2889502" y="1498600"/>
                    <a:pt x="2919811" y="1486296"/>
                    <a:pt x="2959100" y="1473200"/>
                  </a:cubicBezTo>
                  <a:cubicBezTo>
                    <a:pt x="2971800" y="1460500"/>
                    <a:pt x="2982256" y="1445063"/>
                    <a:pt x="2997200" y="1435100"/>
                  </a:cubicBezTo>
                  <a:cubicBezTo>
                    <a:pt x="3008339" y="1427674"/>
                    <a:pt x="3022095" y="1424601"/>
                    <a:pt x="3035300" y="1422400"/>
                  </a:cubicBezTo>
                  <a:cubicBezTo>
                    <a:pt x="3073113" y="1416098"/>
                    <a:pt x="3111500" y="1413933"/>
                    <a:pt x="3149600" y="1409700"/>
                  </a:cubicBezTo>
                  <a:cubicBezTo>
                    <a:pt x="3158067" y="1397000"/>
                    <a:pt x="3178702" y="1386408"/>
                    <a:pt x="3175000" y="1371600"/>
                  </a:cubicBezTo>
                  <a:cubicBezTo>
                    <a:pt x="3171753" y="1358613"/>
                    <a:pt x="3149772" y="1362578"/>
                    <a:pt x="3136900" y="1358900"/>
                  </a:cubicBezTo>
                  <a:cubicBezTo>
                    <a:pt x="3120117" y="1354105"/>
                    <a:pt x="3103033" y="1350433"/>
                    <a:pt x="3086100" y="1346200"/>
                  </a:cubicBezTo>
                  <a:cubicBezTo>
                    <a:pt x="3073400" y="1337733"/>
                    <a:pt x="3061948" y="1326999"/>
                    <a:pt x="3048000" y="1320800"/>
                  </a:cubicBezTo>
                  <a:cubicBezTo>
                    <a:pt x="3023534" y="1309926"/>
                    <a:pt x="2971800" y="1295400"/>
                    <a:pt x="2971800" y="1295400"/>
                  </a:cubicBezTo>
                  <a:cubicBezTo>
                    <a:pt x="2959100" y="1286933"/>
                    <a:pt x="2948888" y="1271519"/>
                    <a:pt x="2933700" y="1270000"/>
                  </a:cubicBezTo>
                  <a:cubicBezTo>
                    <a:pt x="2785114" y="1255141"/>
                    <a:pt x="2892436" y="1314457"/>
                    <a:pt x="2806700" y="1257300"/>
                  </a:cubicBezTo>
                  <a:cubicBezTo>
                    <a:pt x="2810933" y="1223433"/>
                    <a:pt x="2805277" y="1186771"/>
                    <a:pt x="2819400" y="1155700"/>
                  </a:cubicBezTo>
                  <a:cubicBezTo>
                    <a:pt x="2828159" y="1136431"/>
                    <a:pt x="2854129" y="1131375"/>
                    <a:pt x="2870200" y="1117600"/>
                  </a:cubicBezTo>
                  <a:cubicBezTo>
                    <a:pt x="2883837" y="1105911"/>
                    <a:pt x="2895600" y="1092200"/>
                    <a:pt x="2908300" y="1079500"/>
                  </a:cubicBezTo>
                  <a:cubicBezTo>
                    <a:pt x="2877731" y="987793"/>
                    <a:pt x="2908300" y="1096817"/>
                    <a:pt x="2908300" y="914400"/>
                  </a:cubicBezTo>
                  <a:cubicBezTo>
                    <a:pt x="2908300" y="742057"/>
                    <a:pt x="2925017" y="780726"/>
                    <a:pt x="2870200" y="698500"/>
                  </a:cubicBezTo>
                  <a:cubicBezTo>
                    <a:pt x="2865967" y="660400"/>
                    <a:pt x="2849982" y="621790"/>
                    <a:pt x="2857500" y="584200"/>
                  </a:cubicBezTo>
                  <a:cubicBezTo>
                    <a:pt x="2860125" y="571073"/>
                    <a:pt x="2882532" y="574404"/>
                    <a:pt x="2895600" y="571500"/>
                  </a:cubicBezTo>
                  <a:cubicBezTo>
                    <a:pt x="2920737" y="565914"/>
                    <a:pt x="2946400" y="563033"/>
                    <a:pt x="2971800" y="558800"/>
                  </a:cubicBezTo>
                  <a:cubicBezTo>
                    <a:pt x="3080783" y="504309"/>
                    <a:pt x="2976197" y="567103"/>
                    <a:pt x="3048000" y="495300"/>
                  </a:cubicBezTo>
                  <a:cubicBezTo>
                    <a:pt x="3058793" y="484507"/>
                    <a:pt x="3074692" y="480041"/>
                    <a:pt x="3086100" y="469900"/>
                  </a:cubicBezTo>
                  <a:cubicBezTo>
                    <a:pt x="3112948" y="446035"/>
                    <a:pt x="3162300" y="393700"/>
                    <a:pt x="3162300" y="393700"/>
                  </a:cubicBezTo>
                  <a:cubicBezTo>
                    <a:pt x="3166533" y="381000"/>
                    <a:pt x="3167574" y="366739"/>
                    <a:pt x="3175000" y="355600"/>
                  </a:cubicBezTo>
                  <a:cubicBezTo>
                    <a:pt x="3184963" y="340656"/>
                    <a:pt x="3201602" y="331298"/>
                    <a:pt x="3213100" y="317500"/>
                  </a:cubicBezTo>
                  <a:cubicBezTo>
                    <a:pt x="3222871" y="305774"/>
                    <a:pt x="3228729" y="291126"/>
                    <a:pt x="3238500" y="279400"/>
                  </a:cubicBezTo>
                  <a:cubicBezTo>
                    <a:pt x="3249998" y="265602"/>
                    <a:pt x="3265102" y="255098"/>
                    <a:pt x="3276600" y="241300"/>
                  </a:cubicBezTo>
                  <a:cubicBezTo>
                    <a:pt x="3286371" y="229574"/>
                    <a:pt x="3295174" y="216852"/>
                    <a:pt x="3302000" y="203200"/>
                  </a:cubicBezTo>
                  <a:cubicBezTo>
                    <a:pt x="3307987" y="191226"/>
                    <a:pt x="3306337" y="175553"/>
                    <a:pt x="3314700" y="165100"/>
                  </a:cubicBezTo>
                  <a:cubicBezTo>
                    <a:pt x="3324235" y="153181"/>
                    <a:pt x="3341074" y="149471"/>
                    <a:pt x="3352800" y="139700"/>
                  </a:cubicBezTo>
                  <a:cubicBezTo>
                    <a:pt x="3366598" y="128202"/>
                    <a:pt x="3374224" y="108270"/>
                    <a:pt x="3390900" y="101600"/>
                  </a:cubicBezTo>
                  <a:cubicBezTo>
                    <a:pt x="3418693" y="90483"/>
                    <a:pt x="3450321" y="94102"/>
                    <a:pt x="3479800" y="88900"/>
                  </a:cubicBezTo>
                  <a:cubicBezTo>
                    <a:pt x="3745600" y="41994"/>
                    <a:pt x="3488174" y="80447"/>
                    <a:pt x="3695700" y="50800"/>
                  </a:cubicBezTo>
                  <a:cubicBezTo>
                    <a:pt x="3717799" y="43434"/>
                    <a:pt x="3791990" y="16539"/>
                    <a:pt x="3822700" y="12700"/>
                  </a:cubicBezTo>
                  <a:cubicBezTo>
                    <a:pt x="3873282" y="6377"/>
                    <a:pt x="3924300" y="4233"/>
                    <a:pt x="3975100" y="0"/>
                  </a:cubicBezTo>
                  <a:cubicBezTo>
                    <a:pt x="4047067" y="4233"/>
                    <a:pt x="4121539" y="-6595"/>
                    <a:pt x="4191000" y="12700"/>
                  </a:cubicBezTo>
                  <a:cubicBezTo>
                    <a:pt x="4207818" y="17372"/>
                    <a:pt x="4195040" y="48345"/>
                    <a:pt x="4203700" y="63500"/>
                  </a:cubicBezTo>
                  <a:cubicBezTo>
                    <a:pt x="4226084" y="102672"/>
                    <a:pt x="4243531" y="102177"/>
                    <a:pt x="4279900" y="114300"/>
                  </a:cubicBezTo>
                  <a:cubicBezTo>
                    <a:pt x="4345096" y="106150"/>
                    <a:pt x="4431191" y="87379"/>
                    <a:pt x="4495800" y="114300"/>
                  </a:cubicBezTo>
                  <a:cubicBezTo>
                    <a:pt x="4515338" y="122441"/>
                    <a:pt x="4521200" y="148167"/>
                    <a:pt x="4533900" y="165100"/>
                  </a:cubicBezTo>
                  <a:cubicBezTo>
                    <a:pt x="4529667" y="190500"/>
                    <a:pt x="4534848" y="219464"/>
                    <a:pt x="4521200" y="241300"/>
                  </a:cubicBezTo>
                  <a:cubicBezTo>
                    <a:pt x="4511166" y="257354"/>
                    <a:pt x="4483787" y="253313"/>
                    <a:pt x="4470400" y="266700"/>
                  </a:cubicBezTo>
                  <a:cubicBezTo>
                    <a:pt x="4460934" y="276166"/>
                    <a:pt x="4461933" y="292100"/>
                    <a:pt x="4457700" y="304800"/>
                  </a:cubicBezTo>
                  <a:cubicBezTo>
                    <a:pt x="4471590" y="360360"/>
                    <a:pt x="4466284" y="354746"/>
                    <a:pt x="4495800" y="406400"/>
                  </a:cubicBezTo>
                  <a:cubicBezTo>
                    <a:pt x="4503373" y="419652"/>
                    <a:pt x="4509281" y="434965"/>
                    <a:pt x="4521200" y="444500"/>
                  </a:cubicBezTo>
                  <a:cubicBezTo>
                    <a:pt x="4531653" y="452863"/>
                    <a:pt x="4546600" y="452967"/>
                    <a:pt x="4559300" y="457200"/>
                  </a:cubicBezTo>
                  <a:cubicBezTo>
                    <a:pt x="4621054" y="498370"/>
                    <a:pt x="4628617" y="489236"/>
                    <a:pt x="4610100" y="609600"/>
                  </a:cubicBezTo>
                  <a:cubicBezTo>
                    <a:pt x="4607369" y="627352"/>
                    <a:pt x="4584700" y="635000"/>
                    <a:pt x="4572000" y="647700"/>
                  </a:cubicBezTo>
                  <a:cubicBezTo>
                    <a:pt x="4567767" y="681567"/>
                    <a:pt x="4565405" y="715720"/>
                    <a:pt x="4559300" y="749300"/>
                  </a:cubicBezTo>
                  <a:cubicBezTo>
                    <a:pt x="4556905" y="762471"/>
                    <a:pt x="4546600" y="774013"/>
                    <a:pt x="4546600" y="787400"/>
                  </a:cubicBezTo>
                  <a:cubicBezTo>
                    <a:pt x="4546600" y="855265"/>
                    <a:pt x="4544578" y="924351"/>
                    <a:pt x="4559300" y="990600"/>
                  </a:cubicBezTo>
                  <a:cubicBezTo>
                    <a:pt x="4562611" y="1005500"/>
                    <a:pt x="4584700" y="1007533"/>
                    <a:pt x="4597400" y="1016000"/>
                  </a:cubicBezTo>
                  <a:cubicBezTo>
                    <a:pt x="4612853" y="1062358"/>
                    <a:pt x="4614043" y="1060677"/>
                    <a:pt x="4622800" y="1117600"/>
                  </a:cubicBezTo>
                  <a:cubicBezTo>
                    <a:pt x="4643315" y="1250947"/>
                    <a:pt x="4622293" y="1179579"/>
                    <a:pt x="4648200" y="1257300"/>
                  </a:cubicBezTo>
                  <a:cubicBezTo>
                    <a:pt x="4670186" y="1411199"/>
                    <a:pt x="4638490" y="1291108"/>
                    <a:pt x="4699000" y="1397000"/>
                  </a:cubicBezTo>
                  <a:cubicBezTo>
                    <a:pt x="4705642" y="1408623"/>
                    <a:pt x="4708453" y="1422113"/>
                    <a:pt x="4711700" y="1435100"/>
                  </a:cubicBezTo>
                  <a:cubicBezTo>
                    <a:pt x="4716935" y="1456041"/>
                    <a:pt x="4713690" y="1479858"/>
                    <a:pt x="4724400" y="1498600"/>
                  </a:cubicBezTo>
                  <a:cubicBezTo>
                    <a:pt x="4731973" y="1511852"/>
                    <a:pt x="4749800" y="1515533"/>
                    <a:pt x="4762500" y="1524000"/>
                  </a:cubicBezTo>
                  <a:cubicBezTo>
                    <a:pt x="4884217" y="1475313"/>
                    <a:pt x="4765298" y="1511300"/>
                    <a:pt x="4940300" y="1511300"/>
                  </a:cubicBezTo>
                  <a:cubicBezTo>
                    <a:pt x="4982844" y="1511300"/>
                    <a:pt x="5024967" y="1502833"/>
                    <a:pt x="5067300" y="1498600"/>
                  </a:cubicBezTo>
                  <a:cubicBezTo>
                    <a:pt x="5054114" y="1496402"/>
                    <a:pt x="4953000" y="1494724"/>
                    <a:pt x="4953000" y="1447800"/>
                  </a:cubicBezTo>
                  <a:cubicBezTo>
                    <a:pt x="4953000" y="1432536"/>
                    <a:pt x="4978400" y="1430867"/>
                    <a:pt x="4991100" y="1422400"/>
                  </a:cubicBezTo>
                  <a:cubicBezTo>
                    <a:pt x="5016500" y="1426633"/>
                    <a:pt x="5042871" y="1426957"/>
                    <a:pt x="5067300" y="1435100"/>
                  </a:cubicBezTo>
                  <a:cubicBezTo>
                    <a:pt x="5119949" y="1452650"/>
                    <a:pt x="5100489" y="1475458"/>
                    <a:pt x="5143500" y="1511300"/>
                  </a:cubicBezTo>
                  <a:cubicBezTo>
                    <a:pt x="5153784" y="1519870"/>
                    <a:pt x="5168900" y="1519767"/>
                    <a:pt x="5181600" y="1524000"/>
                  </a:cubicBezTo>
                  <a:cubicBezTo>
                    <a:pt x="5222515" y="1564915"/>
                    <a:pt x="5222812" y="1557180"/>
                    <a:pt x="5245100" y="1612900"/>
                  </a:cubicBezTo>
                  <a:cubicBezTo>
                    <a:pt x="5255044" y="1637759"/>
                    <a:pt x="5251568" y="1670168"/>
                    <a:pt x="5270500" y="1689100"/>
                  </a:cubicBezTo>
                  <a:cubicBezTo>
                    <a:pt x="5283200" y="1701800"/>
                    <a:pt x="5294963" y="1715511"/>
                    <a:pt x="5308600" y="1727200"/>
                  </a:cubicBezTo>
                  <a:cubicBezTo>
                    <a:pt x="5324671" y="1740975"/>
                    <a:pt x="5342176" y="1752997"/>
                    <a:pt x="5359400" y="1765300"/>
                  </a:cubicBezTo>
                  <a:cubicBezTo>
                    <a:pt x="5371820" y="1774172"/>
                    <a:pt x="5385774" y="1780929"/>
                    <a:pt x="5397500" y="1790700"/>
                  </a:cubicBezTo>
                  <a:cubicBezTo>
                    <a:pt x="5434170" y="1821258"/>
                    <a:pt x="5436025" y="1829438"/>
                    <a:pt x="5461000" y="1866900"/>
                  </a:cubicBezTo>
                  <a:cubicBezTo>
                    <a:pt x="5465233" y="1896533"/>
                    <a:pt x="5460313" y="1929026"/>
                    <a:pt x="5473700" y="1955800"/>
                  </a:cubicBezTo>
                  <a:cubicBezTo>
                    <a:pt x="5479687" y="1967774"/>
                    <a:pt x="5498468" y="1967288"/>
                    <a:pt x="5511800" y="1968500"/>
                  </a:cubicBezTo>
                  <a:cubicBezTo>
                    <a:pt x="5592014" y="1975792"/>
                    <a:pt x="5672667" y="1976967"/>
                    <a:pt x="5753100" y="1981200"/>
                  </a:cubicBezTo>
                  <a:cubicBezTo>
                    <a:pt x="5775934" y="2015451"/>
                    <a:pt x="5782437" y="2017965"/>
                    <a:pt x="5791200" y="2057400"/>
                  </a:cubicBezTo>
                  <a:cubicBezTo>
                    <a:pt x="5796786" y="2082537"/>
                    <a:pt x="5789133" y="2112504"/>
                    <a:pt x="5803900" y="2133600"/>
                  </a:cubicBezTo>
                  <a:cubicBezTo>
                    <a:pt x="5821406" y="2158609"/>
                    <a:pt x="5880100" y="2184400"/>
                    <a:pt x="5880100" y="2184400"/>
                  </a:cubicBezTo>
                  <a:cubicBezTo>
                    <a:pt x="5898361" y="2239182"/>
                    <a:pt x="5895566" y="2224196"/>
                    <a:pt x="5905500" y="2298700"/>
                  </a:cubicBezTo>
                  <a:cubicBezTo>
                    <a:pt x="5910566" y="2336698"/>
                    <a:pt x="5903963" y="2377407"/>
                    <a:pt x="5918200" y="2413000"/>
                  </a:cubicBezTo>
                  <a:cubicBezTo>
                    <a:pt x="5923172" y="2425429"/>
                    <a:pt x="5943600" y="2421467"/>
                    <a:pt x="5956300" y="2425700"/>
                  </a:cubicBezTo>
                  <a:cubicBezTo>
                    <a:pt x="5969000" y="2434167"/>
                    <a:pt x="5979136" y="2451100"/>
                    <a:pt x="5994400" y="2451100"/>
                  </a:cubicBezTo>
                  <a:cubicBezTo>
                    <a:pt x="6021174" y="2451100"/>
                    <a:pt x="6045200" y="2434167"/>
                    <a:pt x="6070600" y="2425700"/>
                  </a:cubicBezTo>
                  <a:cubicBezTo>
                    <a:pt x="6102979" y="2414907"/>
                    <a:pt x="6138333" y="2417233"/>
                    <a:pt x="6172200" y="2413000"/>
                  </a:cubicBezTo>
                  <a:cubicBezTo>
                    <a:pt x="6184900" y="2400300"/>
                    <a:pt x="6196123" y="2385927"/>
                    <a:pt x="6210300" y="2374900"/>
                  </a:cubicBezTo>
                  <a:cubicBezTo>
                    <a:pt x="6263118" y="2333819"/>
                    <a:pt x="6272678" y="2326235"/>
                    <a:pt x="6324600" y="2311400"/>
                  </a:cubicBezTo>
                  <a:cubicBezTo>
                    <a:pt x="6341383" y="2306605"/>
                    <a:pt x="6358467" y="2302933"/>
                    <a:pt x="6375400" y="2298700"/>
                  </a:cubicBezTo>
                  <a:lnTo>
                    <a:pt x="6451600" y="2247900"/>
                  </a:lnTo>
                  <a:cubicBezTo>
                    <a:pt x="6464300" y="2239433"/>
                    <a:pt x="6475220" y="2227327"/>
                    <a:pt x="6489700" y="2222500"/>
                  </a:cubicBezTo>
                  <a:lnTo>
                    <a:pt x="6527800" y="2209800"/>
                  </a:lnTo>
                  <a:cubicBezTo>
                    <a:pt x="6533146" y="2193761"/>
                    <a:pt x="6546962" y="2141175"/>
                    <a:pt x="6565900" y="2133600"/>
                  </a:cubicBezTo>
                  <a:cubicBezTo>
                    <a:pt x="6578329" y="2128628"/>
                    <a:pt x="6591128" y="2142622"/>
                    <a:pt x="6604000" y="2146300"/>
                  </a:cubicBezTo>
                  <a:cubicBezTo>
                    <a:pt x="6663880" y="2163409"/>
                    <a:pt x="6671752" y="2161422"/>
                    <a:pt x="6743700" y="2171700"/>
                  </a:cubicBezTo>
                  <a:cubicBezTo>
                    <a:pt x="6756400" y="2180167"/>
                    <a:pt x="6768148" y="2190274"/>
                    <a:pt x="6781800" y="2197100"/>
                  </a:cubicBezTo>
                  <a:cubicBezTo>
                    <a:pt x="6830665" y="2221532"/>
                    <a:pt x="6923908" y="2219255"/>
                    <a:pt x="6959600" y="2222500"/>
                  </a:cubicBezTo>
                  <a:cubicBezTo>
                    <a:pt x="7019286" y="2282186"/>
                    <a:pt x="6987737" y="2245656"/>
                    <a:pt x="7048500" y="2336800"/>
                  </a:cubicBezTo>
                  <a:cubicBezTo>
                    <a:pt x="7058463" y="2351744"/>
                    <a:pt x="7073900" y="2362200"/>
                    <a:pt x="7086600" y="2374900"/>
                  </a:cubicBezTo>
                  <a:cubicBezTo>
                    <a:pt x="7090833" y="2387600"/>
                    <a:pt x="7100778" y="2399695"/>
                    <a:pt x="7099300" y="2413000"/>
                  </a:cubicBezTo>
                  <a:cubicBezTo>
                    <a:pt x="7098105" y="2423755"/>
                    <a:pt x="7072201" y="2512487"/>
                    <a:pt x="7048500" y="2527300"/>
                  </a:cubicBezTo>
                  <a:cubicBezTo>
                    <a:pt x="7025796" y="2541490"/>
                    <a:pt x="6972300" y="2552700"/>
                    <a:pt x="6972300" y="2552700"/>
                  </a:cubicBezTo>
                  <a:cubicBezTo>
                    <a:pt x="6916091" y="2590173"/>
                    <a:pt x="6942002" y="2560559"/>
                    <a:pt x="6921500" y="2628900"/>
                  </a:cubicBezTo>
                  <a:cubicBezTo>
                    <a:pt x="6913807" y="2654545"/>
                    <a:pt x="6896100" y="2705100"/>
                    <a:pt x="6896100" y="2705100"/>
                  </a:cubicBezTo>
                  <a:cubicBezTo>
                    <a:pt x="6900333" y="2722033"/>
                    <a:pt x="6908800" y="2738446"/>
                    <a:pt x="6908800" y="2755900"/>
                  </a:cubicBezTo>
                  <a:cubicBezTo>
                    <a:pt x="6908800" y="2783874"/>
                    <a:pt x="6873468" y="2831050"/>
                    <a:pt x="6858000" y="2844800"/>
                  </a:cubicBezTo>
                  <a:cubicBezTo>
                    <a:pt x="6835184" y="2865081"/>
                    <a:pt x="6781800" y="2895600"/>
                    <a:pt x="6781800" y="2895600"/>
                  </a:cubicBezTo>
                  <a:cubicBezTo>
                    <a:pt x="6773333" y="2908300"/>
                    <a:pt x="6762413" y="2919671"/>
                    <a:pt x="6756400" y="2933700"/>
                  </a:cubicBezTo>
                  <a:cubicBezTo>
                    <a:pt x="6749524" y="2949743"/>
                    <a:pt x="6748495" y="2967717"/>
                    <a:pt x="6743700" y="2984500"/>
                  </a:cubicBezTo>
                  <a:cubicBezTo>
                    <a:pt x="6740022" y="2997372"/>
                    <a:pt x="6734247" y="3009613"/>
                    <a:pt x="6731000" y="3022600"/>
                  </a:cubicBezTo>
                  <a:cubicBezTo>
                    <a:pt x="6721534" y="3060464"/>
                    <a:pt x="6714067" y="3098800"/>
                    <a:pt x="6705600" y="3136900"/>
                  </a:cubicBezTo>
                  <a:cubicBezTo>
                    <a:pt x="6688667" y="3132667"/>
                    <a:pt x="6669955" y="3132860"/>
                    <a:pt x="6654800" y="3124200"/>
                  </a:cubicBezTo>
                  <a:cubicBezTo>
                    <a:pt x="6639206" y="3115289"/>
                    <a:pt x="6633739" y="3091780"/>
                    <a:pt x="6616700" y="3086100"/>
                  </a:cubicBezTo>
                  <a:cubicBezTo>
                    <a:pt x="6580333" y="3073978"/>
                    <a:pt x="6540500" y="3077633"/>
                    <a:pt x="6502400" y="3073400"/>
                  </a:cubicBezTo>
                  <a:cubicBezTo>
                    <a:pt x="6431182" y="3049661"/>
                    <a:pt x="6477287" y="3063947"/>
                    <a:pt x="6362700" y="3035300"/>
                  </a:cubicBezTo>
                  <a:cubicBezTo>
                    <a:pt x="6336725" y="3028806"/>
                    <a:pt x="6313110" y="3012857"/>
                    <a:pt x="6286500" y="3009900"/>
                  </a:cubicBezTo>
                  <a:lnTo>
                    <a:pt x="6172200" y="2997200"/>
                  </a:lnTo>
                  <a:cubicBezTo>
                    <a:pt x="6159500" y="2992967"/>
                    <a:pt x="6146074" y="2990487"/>
                    <a:pt x="6134100" y="2984500"/>
                  </a:cubicBezTo>
                  <a:cubicBezTo>
                    <a:pt x="6120448" y="2977674"/>
                    <a:pt x="6110029" y="2965113"/>
                    <a:pt x="6096000" y="2959100"/>
                  </a:cubicBezTo>
                  <a:cubicBezTo>
                    <a:pt x="6071888" y="2948766"/>
                    <a:pt x="5986190" y="2936565"/>
                    <a:pt x="5969000" y="2933700"/>
                  </a:cubicBezTo>
                  <a:cubicBezTo>
                    <a:pt x="5954488" y="2928863"/>
                    <a:pt x="5872973" y="2899941"/>
                    <a:pt x="5867400" y="2908300"/>
                  </a:cubicBezTo>
                  <a:cubicBezTo>
                    <a:pt x="5848215" y="2937078"/>
                    <a:pt x="5880854" y="3010654"/>
                    <a:pt x="5905500" y="3035300"/>
                  </a:cubicBezTo>
                  <a:cubicBezTo>
                    <a:pt x="5916293" y="3046093"/>
                    <a:pt x="5930900" y="3052233"/>
                    <a:pt x="5943600" y="3060700"/>
                  </a:cubicBezTo>
                  <a:cubicBezTo>
                    <a:pt x="5947833" y="3077633"/>
                    <a:pt x="5953431" y="3094283"/>
                    <a:pt x="5956300" y="3111500"/>
                  </a:cubicBezTo>
                  <a:cubicBezTo>
                    <a:pt x="5961911" y="3145166"/>
                    <a:pt x="5957521" y="3180958"/>
                    <a:pt x="5969000" y="3213100"/>
                  </a:cubicBezTo>
                  <a:cubicBezTo>
                    <a:pt x="5979267" y="3241849"/>
                    <a:pt x="6019800" y="3289300"/>
                    <a:pt x="6019800" y="3289300"/>
                  </a:cubicBezTo>
                  <a:cubicBezTo>
                    <a:pt x="5946581" y="3338113"/>
                    <a:pt x="6017212" y="3295852"/>
                    <a:pt x="5943600" y="3327400"/>
                  </a:cubicBezTo>
                  <a:cubicBezTo>
                    <a:pt x="5926199" y="3334858"/>
                    <a:pt x="5909238" y="3343407"/>
                    <a:pt x="5892800" y="3352800"/>
                  </a:cubicBezTo>
                  <a:cubicBezTo>
                    <a:pt x="5879548" y="3360373"/>
                    <a:pt x="5868729" y="3372187"/>
                    <a:pt x="5854700" y="3378200"/>
                  </a:cubicBezTo>
                  <a:cubicBezTo>
                    <a:pt x="5838657" y="3385076"/>
                    <a:pt x="5820833" y="3386667"/>
                    <a:pt x="5803900" y="3390900"/>
                  </a:cubicBezTo>
                  <a:cubicBezTo>
                    <a:pt x="5791200" y="3399367"/>
                    <a:pt x="5779829" y="3410287"/>
                    <a:pt x="5765800" y="3416300"/>
                  </a:cubicBezTo>
                  <a:cubicBezTo>
                    <a:pt x="5749757" y="3423176"/>
                    <a:pt x="5728630" y="3418096"/>
                    <a:pt x="5715000" y="3429000"/>
                  </a:cubicBezTo>
                  <a:cubicBezTo>
                    <a:pt x="5704547" y="3437363"/>
                    <a:pt x="5706533" y="3454400"/>
                    <a:pt x="5702300" y="3467100"/>
                  </a:cubicBezTo>
                  <a:cubicBezTo>
                    <a:pt x="5715000" y="3471333"/>
                    <a:pt x="5728426" y="3473813"/>
                    <a:pt x="5740400" y="3479800"/>
                  </a:cubicBezTo>
                  <a:cubicBezTo>
                    <a:pt x="5811624" y="3515412"/>
                    <a:pt x="5777101" y="3517787"/>
                    <a:pt x="5765800" y="3619500"/>
                  </a:cubicBezTo>
                  <a:cubicBezTo>
                    <a:pt x="5770033" y="3636433"/>
                    <a:pt x="5773705" y="3653517"/>
                    <a:pt x="5778500" y="3670300"/>
                  </a:cubicBezTo>
                  <a:cubicBezTo>
                    <a:pt x="5782178" y="3683172"/>
                    <a:pt x="5788296" y="3695332"/>
                    <a:pt x="5791200" y="3708400"/>
                  </a:cubicBezTo>
                  <a:cubicBezTo>
                    <a:pt x="5796786" y="3733537"/>
                    <a:pt x="5799667" y="3759200"/>
                    <a:pt x="5803900" y="3784600"/>
                  </a:cubicBezTo>
                  <a:lnTo>
                    <a:pt x="5778500" y="3860800"/>
                  </a:lnTo>
                  <a:cubicBezTo>
                    <a:pt x="5724019" y="4024244"/>
                    <a:pt x="5802608" y="3894488"/>
                    <a:pt x="5740400" y="3987800"/>
                  </a:cubicBezTo>
                  <a:cubicBezTo>
                    <a:pt x="5770033" y="3992033"/>
                    <a:pt x="5808133" y="3979333"/>
                    <a:pt x="5829300" y="4000500"/>
                  </a:cubicBezTo>
                  <a:cubicBezTo>
                    <a:pt x="5844564" y="4015764"/>
                    <a:pt x="5816600" y="4042414"/>
                    <a:pt x="5816600" y="4064000"/>
                  </a:cubicBezTo>
                  <a:cubicBezTo>
                    <a:pt x="5816600" y="4089750"/>
                    <a:pt x="5825067" y="4114800"/>
                    <a:pt x="5829300" y="4140200"/>
                  </a:cubicBezTo>
                  <a:cubicBezTo>
                    <a:pt x="5825067" y="4157133"/>
                    <a:pt x="5819254" y="4173748"/>
                    <a:pt x="5816600" y="4191000"/>
                  </a:cubicBezTo>
                  <a:cubicBezTo>
                    <a:pt x="5800795" y="4293735"/>
                    <a:pt x="5811824" y="4286303"/>
                    <a:pt x="5791200" y="4368800"/>
                  </a:cubicBezTo>
                  <a:cubicBezTo>
                    <a:pt x="5783463" y="4399746"/>
                    <a:pt x="5778476" y="4424141"/>
                    <a:pt x="5740400" y="4432300"/>
                  </a:cubicBezTo>
                  <a:cubicBezTo>
                    <a:pt x="5694679" y="4442097"/>
                    <a:pt x="5647267" y="4440767"/>
                    <a:pt x="5600700" y="4445000"/>
                  </a:cubicBezTo>
                  <a:cubicBezTo>
                    <a:pt x="5145733" y="4535993"/>
                    <a:pt x="5803154" y="4408589"/>
                    <a:pt x="4381500" y="4470400"/>
                  </a:cubicBezTo>
                  <a:cubicBezTo>
                    <a:pt x="4368126" y="4470981"/>
                    <a:pt x="4372047" y="4495513"/>
                    <a:pt x="4368800" y="4508500"/>
                  </a:cubicBezTo>
                  <a:cubicBezTo>
                    <a:pt x="4363565" y="4529441"/>
                    <a:pt x="4363679" y="4551789"/>
                    <a:pt x="4356100" y="4572000"/>
                  </a:cubicBezTo>
                  <a:cubicBezTo>
                    <a:pt x="4341989" y="4609630"/>
                    <a:pt x="4323644" y="4614804"/>
                    <a:pt x="4292600" y="4635500"/>
                  </a:cubicBezTo>
                  <a:cubicBezTo>
                    <a:pt x="4258733" y="4627033"/>
                    <a:pt x="4223807" y="4622030"/>
                    <a:pt x="4191000" y="4610100"/>
                  </a:cubicBezTo>
                  <a:cubicBezTo>
                    <a:pt x="4176655" y="4604884"/>
                    <a:pt x="4166300" y="4592009"/>
                    <a:pt x="4152900" y="4584700"/>
                  </a:cubicBezTo>
                  <a:cubicBezTo>
                    <a:pt x="4119659" y="4566569"/>
                    <a:pt x="4087221" y="4545874"/>
                    <a:pt x="4051300" y="4533900"/>
                  </a:cubicBezTo>
                  <a:lnTo>
                    <a:pt x="3975100" y="4508500"/>
                  </a:lnTo>
                  <a:cubicBezTo>
                    <a:pt x="3877733" y="4512733"/>
                    <a:pt x="3775457" y="4490381"/>
                    <a:pt x="3683000" y="4521200"/>
                  </a:cubicBezTo>
                  <a:cubicBezTo>
                    <a:pt x="3654602" y="4530666"/>
                    <a:pt x="3675655" y="4580649"/>
                    <a:pt x="3670300" y="4610100"/>
                  </a:cubicBezTo>
                  <a:cubicBezTo>
                    <a:pt x="3656862" y="4684009"/>
                    <a:pt x="3654291" y="4648736"/>
                    <a:pt x="3632200" y="4737100"/>
                  </a:cubicBezTo>
                  <a:cubicBezTo>
                    <a:pt x="3615798" y="4802708"/>
                    <a:pt x="3629182" y="4773377"/>
                    <a:pt x="3594100" y="4826000"/>
                  </a:cubicBezTo>
                  <a:cubicBezTo>
                    <a:pt x="3589867" y="4902200"/>
                    <a:pt x="3606612" y="4982567"/>
                    <a:pt x="3581400" y="5054600"/>
                  </a:cubicBezTo>
                  <a:cubicBezTo>
                    <a:pt x="3572555" y="5079871"/>
                    <a:pt x="3505200" y="5080000"/>
                    <a:pt x="3505200" y="5080000"/>
                  </a:cubicBezTo>
                  <a:cubicBezTo>
                    <a:pt x="3471333" y="5075767"/>
                    <a:pt x="3437730" y="5067300"/>
                    <a:pt x="3403600" y="5067300"/>
                  </a:cubicBezTo>
                  <a:cubicBezTo>
                    <a:pt x="3366981" y="5067300"/>
                    <a:pt x="3354728" y="5088845"/>
                    <a:pt x="3340100" y="5118100"/>
                  </a:cubicBezTo>
                  <a:cubicBezTo>
                    <a:pt x="3334113" y="5130074"/>
                    <a:pt x="3333387" y="5144226"/>
                    <a:pt x="3327400" y="5156200"/>
                  </a:cubicBezTo>
                  <a:cubicBezTo>
                    <a:pt x="3304422" y="5202156"/>
                    <a:pt x="3307843" y="5192352"/>
                    <a:pt x="3263900" y="5207000"/>
                  </a:cubicBezTo>
                  <a:cubicBezTo>
                    <a:pt x="3246967" y="5219700"/>
                    <a:pt x="3228067" y="5230133"/>
                    <a:pt x="3213100" y="5245100"/>
                  </a:cubicBezTo>
                  <a:cubicBezTo>
                    <a:pt x="3181652" y="5276548"/>
                    <a:pt x="3197981" y="5294086"/>
                    <a:pt x="3149600" y="5308600"/>
                  </a:cubicBezTo>
                  <a:cubicBezTo>
                    <a:pt x="3120928" y="5317202"/>
                    <a:pt x="3090333" y="5317067"/>
                    <a:pt x="3060700" y="5321300"/>
                  </a:cubicBezTo>
                  <a:cubicBezTo>
                    <a:pt x="3048000" y="5325533"/>
                    <a:pt x="3033167" y="5325781"/>
                    <a:pt x="3022600" y="5334000"/>
                  </a:cubicBezTo>
                  <a:cubicBezTo>
                    <a:pt x="2994246" y="5356053"/>
                    <a:pt x="2975137" y="5388647"/>
                    <a:pt x="2946400" y="5410200"/>
                  </a:cubicBezTo>
                  <a:cubicBezTo>
                    <a:pt x="2929467" y="5422900"/>
                    <a:pt x="2911671" y="5434525"/>
                    <a:pt x="2895600" y="5448300"/>
                  </a:cubicBezTo>
                  <a:cubicBezTo>
                    <a:pt x="2835061" y="5500190"/>
                    <a:pt x="2884208" y="5477497"/>
                    <a:pt x="2819400" y="5499100"/>
                  </a:cubicBezTo>
                  <a:cubicBezTo>
                    <a:pt x="2897085" y="5524995"/>
                    <a:pt x="2826145" y="5488877"/>
                    <a:pt x="2870200" y="5588000"/>
                  </a:cubicBezTo>
                  <a:cubicBezTo>
                    <a:pt x="2877494" y="5604413"/>
                    <a:pt x="2895600" y="5613400"/>
                    <a:pt x="2908300" y="5626100"/>
                  </a:cubicBezTo>
                  <a:cubicBezTo>
                    <a:pt x="2916767" y="5659967"/>
                    <a:pt x="2926854" y="5693469"/>
                    <a:pt x="2933700" y="5727700"/>
                  </a:cubicBezTo>
                  <a:cubicBezTo>
                    <a:pt x="2937933" y="5748867"/>
                    <a:pt x="2938821" y="5770989"/>
                    <a:pt x="2946400" y="5791200"/>
                  </a:cubicBezTo>
                  <a:cubicBezTo>
                    <a:pt x="2951759" y="5805492"/>
                    <a:pt x="2961007" y="5818507"/>
                    <a:pt x="2971800" y="5829300"/>
                  </a:cubicBezTo>
                  <a:cubicBezTo>
                    <a:pt x="2982593" y="5840093"/>
                    <a:pt x="2997200" y="5846233"/>
                    <a:pt x="3009900" y="5854700"/>
                  </a:cubicBezTo>
                  <a:cubicBezTo>
                    <a:pt x="3028136" y="5909408"/>
                    <a:pt x="3025531" y="5876192"/>
                    <a:pt x="3009900" y="5930900"/>
                  </a:cubicBezTo>
                  <a:cubicBezTo>
                    <a:pt x="3005105" y="5947683"/>
                    <a:pt x="3006882" y="5967177"/>
                    <a:pt x="2997200" y="5981700"/>
                  </a:cubicBezTo>
                  <a:cubicBezTo>
                    <a:pt x="2988733" y="5994400"/>
                    <a:pt x="2973129" y="6001087"/>
                    <a:pt x="2959100" y="6007100"/>
                  </a:cubicBezTo>
                  <a:cubicBezTo>
                    <a:pt x="2934988" y="6017434"/>
                    <a:pt x="2849290" y="6029635"/>
                    <a:pt x="2832100" y="6032500"/>
                  </a:cubicBezTo>
                  <a:cubicBezTo>
                    <a:pt x="2827867" y="6049433"/>
                    <a:pt x="2830894" y="6070164"/>
                    <a:pt x="2819400" y="6083300"/>
                  </a:cubicBezTo>
                  <a:cubicBezTo>
                    <a:pt x="2772795" y="6136563"/>
                    <a:pt x="2739507" y="6134839"/>
                    <a:pt x="2679700" y="6146800"/>
                  </a:cubicBezTo>
                  <a:cubicBezTo>
                    <a:pt x="2692400" y="6155267"/>
                    <a:pt x="2706074" y="6162429"/>
                    <a:pt x="2717800" y="6172200"/>
                  </a:cubicBezTo>
                  <a:cubicBezTo>
                    <a:pt x="2731598" y="6183698"/>
                    <a:pt x="2740306" y="6201389"/>
                    <a:pt x="2755900" y="6210300"/>
                  </a:cubicBezTo>
                  <a:cubicBezTo>
                    <a:pt x="2771055" y="6218960"/>
                    <a:pt x="2789767" y="6218767"/>
                    <a:pt x="2806700" y="6223000"/>
                  </a:cubicBezTo>
                  <a:cubicBezTo>
                    <a:pt x="2847581" y="6345642"/>
                    <a:pt x="2782026" y="6154966"/>
                    <a:pt x="2844800" y="6311900"/>
                  </a:cubicBezTo>
                  <a:cubicBezTo>
                    <a:pt x="2854744" y="6336759"/>
                    <a:pt x="2861733" y="6362700"/>
                    <a:pt x="2870200" y="6388100"/>
                  </a:cubicBezTo>
                  <a:cubicBezTo>
                    <a:pt x="2875027" y="6402580"/>
                    <a:pt x="2888774" y="6412548"/>
                    <a:pt x="2895600" y="6426200"/>
                  </a:cubicBezTo>
                  <a:cubicBezTo>
                    <a:pt x="2901587" y="6438174"/>
                    <a:pt x="2904067" y="6451600"/>
                    <a:pt x="2908300" y="6464300"/>
                  </a:cubicBezTo>
                  <a:cubicBezTo>
                    <a:pt x="2868598" y="6623109"/>
                    <a:pt x="2919339" y="6425663"/>
                    <a:pt x="2882900" y="6553200"/>
                  </a:cubicBezTo>
                  <a:cubicBezTo>
                    <a:pt x="2878105" y="6569983"/>
                    <a:pt x="2874433" y="6587067"/>
                    <a:pt x="2870200" y="6604000"/>
                  </a:cubicBezTo>
                  <a:cubicBezTo>
                    <a:pt x="2874433" y="6637867"/>
                    <a:pt x="2873920" y="6672672"/>
                    <a:pt x="2882900" y="6705600"/>
                  </a:cubicBezTo>
                  <a:cubicBezTo>
                    <a:pt x="2886916" y="6720326"/>
                    <a:pt x="2901474" y="6730048"/>
                    <a:pt x="2908300" y="6743700"/>
                  </a:cubicBezTo>
                  <a:cubicBezTo>
                    <a:pt x="2914287" y="6755674"/>
                    <a:pt x="2916767" y="6769100"/>
                    <a:pt x="2921000" y="6781800"/>
                  </a:cubicBezTo>
                  <a:cubicBezTo>
                    <a:pt x="2925233" y="6853767"/>
                    <a:pt x="2914405" y="6928239"/>
                    <a:pt x="2933700" y="6997700"/>
                  </a:cubicBezTo>
                  <a:cubicBezTo>
                    <a:pt x="2938372" y="7014518"/>
                    <a:pt x="2970201" y="7000391"/>
                    <a:pt x="2984500" y="7010400"/>
                  </a:cubicBezTo>
                  <a:cubicBezTo>
                    <a:pt x="3013928" y="7030999"/>
                    <a:pt x="3030812" y="7066675"/>
                    <a:pt x="3060700" y="7086600"/>
                  </a:cubicBezTo>
                  <a:lnTo>
                    <a:pt x="3098800" y="7112000"/>
                  </a:lnTo>
                  <a:cubicBezTo>
                    <a:pt x="3089132" y="7160340"/>
                    <a:pt x="3073400" y="7230968"/>
                    <a:pt x="3073400" y="7277100"/>
                  </a:cubicBezTo>
                  <a:cubicBezTo>
                    <a:pt x="3073400" y="7311230"/>
                    <a:pt x="3074436" y="7346625"/>
                    <a:pt x="3086100" y="7378700"/>
                  </a:cubicBezTo>
                  <a:cubicBezTo>
                    <a:pt x="3092238" y="7395579"/>
                    <a:pt x="3113173" y="7402623"/>
                    <a:pt x="3124200" y="7416800"/>
                  </a:cubicBezTo>
                  <a:cubicBezTo>
                    <a:pt x="3142942" y="7440897"/>
                    <a:pt x="3158067" y="7467600"/>
                    <a:pt x="3175000" y="7493000"/>
                  </a:cubicBezTo>
                  <a:lnTo>
                    <a:pt x="3200400" y="7531100"/>
                  </a:lnTo>
                  <a:cubicBezTo>
                    <a:pt x="3196167" y="7552267"/>
                    <a:pt x="3193903" y="7573925"/>
                    <a:pt x="3187700" y="7594600"/>
                  </a:cubicBezTo>
                  <a:cubicBezTo>
                    <a:pt x="3181149" y="7616436"/>
                    <a:pt x="3169509" y="7636473"/>
                    <a:pt x="3162300" y="7658100"/>
                  </a:cubicBezTo>
                  <a:cubicBezTo>
                    <a:pt x="3156780" y="7674659"/>
                    <a:pt x="3153833" y="7691967"/>
                    <a:pt x="3149600" y="7708900"/>
                  </a:cubicBezTo>
                  <a:cubicBezTo>
                    <a:pt x="3153833" y="7721600"/>
                    <a:pt x="3152834" y="7737534"/>
                    <a:pt x="3162300" y="7747000"/>
                  </a:cubicBezTo>
                  <a:cubicBezTo>
                    <a:pt x="3171766" y="7756466"/>
                    <a:pt x="3188426" y="7753713"/>
                    <a:pt x="3200400" y="7759700"/>
                  </a:cubicBezTo>
                  <a:cubicBezTo>
                    <a:pt x="3214052" y="7766526"/>
                    <a:pt x="3225800" y="7776633"/>
                    <a:pt x="3238500" y="7785100"/>
                  </a:cubicBezTo>
                  <a:cubicBezTo>
                    <a:pt x="3246967" y="7818967"/>
                    <a:pt x="3252861" y="7853582"/>
                    <a:pt x="3263900" y="7886700"/>
                  </a:cubicBezTo>
                  <a:cubicBezTo>
                    <a:pt x="3268133" y="7899400"/>
                    <a:pt x="3270613" y="7912826"/>
                    <a:pt x="3276600" y="7924800"/>
                  </a:cubicBezTo>
                  <a:cubicBezTo>
                    <a:pt x="3283426" y="7938452"/>
                    <a:pt x="3295174" y="7949248"/>
                    <a:pt x="3302000" y="7962900"/>
                  </a:cubicBezTo>
                  <a:cubicBezTo>
                    <a:pt x="3311110" y="7981120"/>
                    <a:pt x="3323331" y="8035524"/>
                    <a:pt x="3327400" y="8051800"/>
                  </a:cubicBezTo>
                  <a:cubicBezTo>
                    <a:pt x="3323167" y="8068733"/>
                    <a:pt x="3324382" y="8088077"/>
                    <a:pt x="3314700" y="8102600"/>
                  </a:cubicBezTo>
                  <a:cubicBezTo>
                    <a:pt x="3238107" y="8217490"/>
                    <a:pt x="3305418" y="8041545"/>
                    <a:pt x="3263900" y="8166100"/>
                  </a:cubicBezTo>
                  <a:cubicBezTo>
                    <a:pt x="3268133" y="8187267"/>
                    <a:pt x="3265890" y="8210858"/>
                    <a:pt x="3276600" y="8229600"/>
                  </a:cubicBezTo>
                  <a:cubicBezTo>
                    <a:pt x="3284173" y="8242852"/>
                    <a:pt x="3311389" y="8240100"/>
                    <a:pt x="3314700" y="8255000"/>
                  </a:cubicBezTo>
                  <a:cubicBezTo>
                    <a:pt x="3329422" y="8321249"/>
                    <a:pt x="3318230" y="8390957"/>
                    <a:pt x="3327400" y="8458200"/>
                  </a:cubicBezTo>
                  <a:cubicBezTo>
                    <a:pt x="3331018" y="8484728"/>
                    <a:pt x="3352800" y="8534400"/>
                    <a:pt x="3352800" y="8534400"/>
                  </a:cubicBezTo>
                  <a:cubicBezTo>
                    <a:pt x="3348567" y="8564033"/>
                    <a:pt x="3350846" y="8595361"/>
                    <a:pt x="3340100" y="8623300"/>
                  </a:cubicBezTo>
                  <a:cubicBezTo>
                    <a:pt x="3329141" y="8651792"/>
                    <a:pt x="3306233" y="8674100"/>
                    <a:pt x="3289300" y="8699500"/>
                  </a:cubicBezTo>
                  <a:cubicBezTo>
                    <a:pt x="3253398" y="8753352"/>
                    <a:pt x="3270726" y="8723948"/>
                    <a:pt x="3238500" y="8788400"/>
                  </a:cubicBezTo>
                  <a:cubicBezTo>
                    <a:pt x="3234267" y="8822267"/>
                    <a:pt x="3239662" y="8858811"/>
                    <a:pt x="3225800" y="8890000"/>
                  </a:cubicBezTo>
                  <a:cubicBezTo>
                    <a:pt x="3220363" y="8902233"/>
                    <a:pt x="3198839" y="8895274"/>
                    <a:pt x="3187700" y="8902700"/>
                  </a:cubicBezTo>
                  <a:cubicBezTo>
                    <a:pt x="3172756" y="8912663"/>
                    <a:pt x="3162300" y="8928100"/>
                    <a:pt x="3149600" y="8940800"/>
                  </a:cubicBezTo>
                  <a:cubicBezTo>
                    <a:pt x="3153833" y="8991600"/>
                    <a:pt x="3155563" y="9042671"/>
                    <a:pt x="3162300" y="9093200"/>
                  </a:cubicBezTo>
                  <a:cubicBezTo>
                    <a:pt x="3164069" y="9106470"/>
                    <a:pt x="3173231" y="9118030"/>
                    <a:pt x="3175000" y="9131300"/>
                  </a:cubicBezTo>
                  <a:cubicBezTo>
                    <a:pt x="3181737" y="9181829"/>
                    <a:pt x="3181744" y="9233073"/>
                    <a:pt x="3187700" y="9283700"/>
                  </a:cubicBezTo>
                  <a:cubicBezTo>
                    <a:pt x="3190222" y="9305138"/>
                    <a:pt x="3189690" y="9328458"/>
                    <a:pt x="3200400" y="9347200"/>
                  </a:cubicBezTo>
                  <a:cubicBezTo>
                    <a:pt x="3207973" y="9360452"/>
                    <a:pt x="3226774" y="9362829"/>
                    <a:pt x="3238500" y="9372600"/>
                  </a:cubicBezTo>
                  <a:cubicBezTo>
                    <a:pt x="3252298" y="9384098"/>
                    <a:pt x="3263900" y="9398000"/>
                    <a:pt x="3276600" y="9410700"/>
                  </a:cubicBezTo>
                  <a:cubicBezTo>
                    <a:pt x="3280833" y="9423400"/>
                    <a:pt x="3289300" y="9435413"/>
                    <a:pt x="3289300" y="9448800"/>
                  </a:cubicBezTo>
                  <a:cubicBezTo>
                    <a:pt x="3289300" y="9470386"/>
                    <a:pt x="3286253" y="9492993"/>
                    <a:pt x="3276600" y="9512300"/>
                  </a:cubicBezTo>
                  <a:cubicBezTo>
                    <a:pt x="3264377" y="9536746"/>
                    <a:pt x="3222281" y="9561213"/>
                    <a:pt x="3200400" y="9575800"/>
                  </a:cubicBezTo>
                  <a:cubicBezTo>
                    <a:pt x="3187700" y="9592733"/>
                    <a:pt x="3177267" y="9611633"/>
                    <a:pt x="3162300" y="9626600"/>
                  </a:cubicBezTo>
                  <a:cubicBezTo>
                    <a:pt x="3151507" y="9637393"/>
                    <a:pt x="3134993" y="9641207"/>
                    <a:pt x="3124200" y="9652000"/>
                  </a:cubicBezTo>
                  <a:cubicBezTo>
                    <a:pt x="3113407" y="9662793"/>
                    <a:pt x="3110287" y="9680049"/>
                    <a:pt x="3098800" y="9690100"/>
                  </a:cubicBezTo>
                  <a:cubicBezTo>
                    <a:pt x="3057932" y="9725859"/>
                    <a:pt x="3018223" y="9743089"/>
                    <a:pt x="2971800" y="9766300"/>
                  </a:cubicBezTo>
                  <a:cubicBezTo>
                    <a:pt x="2954867" y="9762067"/>
                    <a:pt x="2937718" y="9758616"/>
                    <a:pt x="2921000" y="9753600"/>
                  </a:cubicBezTo>
                  <a:cubicBezTo>
                    <a:pt x="2895355" y="9745907"/>
                    <a:pt x="2871573" y="9728468"/>
                    <a:pt x="2844800" y="9728200"/>
                  </a:cubicBezTo>
                  <a:lnTo>
                    <a:pt x="1574800" y="9715500"/>
                  </a:lnTo>
                  <a:cubicBezTo>
                    <a:pt x="1545167" y="9711267"/>
                    <a:pt x="1515068" y="9709531"/>
                    <a:pt x="1485900" y="9702800"/>
                  </a:cubicBezTo>
                  <a:cubicBezTo>
                    <a:pt x="1459812" y="9696780"/>
                    <a:pt x="1409700" y="9677400"/>
                    <a:pt x="1409700" y="9677400"/>
                  </a:cubicBezTo>
                  <a:cubicBezTo>
                    <a:pt x="1363133" y="9681633"/>
                    <a:pt x="1316289" y="9683487"/>
                    <a:pt x="1270000" y="9690100"/>
                  </a:cubicBezTo>
                  <a:cubicBezTo>
                    <a:pt x="1198880" y="9700260"/>
                    <a:pt x="1264920" y="9713807"/>
                    <a:pt x="1193800" y="9690100"/>
                  </a:cubicBezTo>
                  <a:cubicBezTo>
                    <a:pt x="1185333" y="9677400"/>
                    <a:pt x="1173759" y="9666292"/>
                    <a:pt x="1168400" y="9652000"/>
                  </a:cubicBezTo>
                  <a:cubicBezTo>
                    <a:pt x="1160821" y="9631789"/>
                    <a:pt x="1167289" y="9606711"/>
                    <a:pt x="1155700" y="9588500"/>
                  </a:cubicBezTo>
                  <a:cubicBezTo>
                    <a:pt x="1136415" y="9558195"/>
                    <a:pt x="1079500" y="9512300"/>
                    <a:pt x="1079500" y="9512300"/>
                  </a:cubicBezTo>
                  <a:cubicBezTo>
                    <a:pt x="1071427" y="9492116"/>
                    <a:pt x="1041400" y="9425344"/>
                    <a:pt x="1041400" y="9398000"/>
                  </a:cubicBezTo>
                  <a:cubicBezTo>
                    <a:pt x="1041400" y="9382053"/>
                    <a:pt x="1060811" y="9327067"/>
                    <a:pt x="1066800" y="9309100"/>
                  </a:cubicBezTo>
                  <a:cubicBezTo>
                    <a:pt x="1062567" y="9266767"/>
                    <a:pt x="1070463" y="9221372"/>
                    <a:pt x="1054100" y="9182100"/>
                  </a:cubicBezTo>
                  <a:cubicBezTo>
                    <a:pt x="1046818" y="9164624"/>
                    <a:pt x="1021944" y="9159990"/>
                    <a:pt x="1003300" y="9156700"/>
                  </a:cubicBezTo>
                  <a:cubicBezTo>
                    <a:pt x="948944" y="9147108"/>
                    <a:pt x="893233" y="9148233"/>
                    <a:pt x="838200" y="9144000"/>
                  </a:cubicBezTo>
                  <a:cubicBezTo>
                    <a:pt x="821267" y="9135533"/>
                    <a:pt x="805361" y="9124587"/>
                    <a:pt x="787400" y="9118600"/>
                  </a:cubicBezTo>
                  <a:cubicBezTo>
                    <a:pt x="754282" y="9107561"/>
                    <a:pt x="685800" y="9093200"/>
                    <a:pt x="685800" y="9093200"/>
                  </a:cubicBezTo>
                  <a:cubicBezTo>
                    <a:pt x="673100" y="9080500"/>
                    <a:pt x="661498" y="9066598"/>
                    <a:pt x="647700" y="9055100"/>
                  </a:cubicBezTo>
                  <a:cubicBezTo>
                    <a:pt x="635974" y="9045329"/>
                    <a:pt x="620393" y="9040493"/>
                    <a:pt x="609600" y="9029700"/>
                  </a:cubicBezTo>
                  <a:cubicBezTo>
                    <a:pt x="563847" y="8983947"/>
                    <a:pt x="582156" y="8984067"/>
                    <a:pt x="546100" y="8940800"/>
                  </a:cubicBezTo>
                  <a:cubicBezTo>
                    <a:pt x="515542" y="8904130"/>
                    <a:pt x="507362" y="8902275"/>
                    <a:pt x="469900" y="8877300"/>
                  </a:cubicBezTo>
                  <a:cubicBezTo>
                    <a:pt x="474133" y="8822267"/>
                    <a:pt x="482600" y="8767396"/>
                    <a:pt x="482600" y="8712200"/>
                  </a:cubicBezTo>
                  <a:cubicBezTo>
                    <a:pt x="482600" y="8694746"/>
                    <a:pt x="460649" y="8676201"/>
                    <a:pt x="469900" y="8661400"/>
                  </a:cubicBezTo>
                  <a:cubicBezTo>
                    <a:pt x="486079" y="8635513"/>
                    <a:pt x="546100" y="8610600"/>
                    <a:pt x="546100" y="8610600"/>
                  </a:cubicBezTo>
                  <a:cubicBezTo>
                    <a:pt x="579967" y="8614833"/>
                    <a:pt x="616011" y="8610624"/>
                    <a:pt x="647700" y="8623300"/>
                  </a:cubicBezTo>
                  <a:cubicBezTo>
                    <a:pt x="661872" y="8628969"/>
                    <a:pt x="670591" y="8646344"/>
                    <a:pt x="673100" y="8661400"/>
                  </a:cubicBezTo>
                  <a:cubicBezTo>
                    <a:pt x="675301" y="8674605"/>
                    <a:pt x="647013" y="8699500"/>
                    <a:pt x="660400" y="8699500"/>
                  </a:cubicBezTo>
                  <a:cubicBezTo>
                    <a:pt x="675664" y="8699500"/>
                    <a:pt x="677333" y="8674100"/>
                    <a:pt x="685800" y="8661400"/>
                  </a:cubicBezTo>
                  <a:cubicBezTo>
                    <a:pt x="710494" y="8562622"/>
                    <a:pt x="707672" y="8645878"/>
                    <a:pt x="647700" y="8597900"/>
                  </a:cubicBezTo>
                  <a:cubicBezTo>
                    <a:pt x="637247" y="8589537"/>
                    <a:pt x="639233" y="8572500"/>
                    <a:pt x="635000" y="8559800"/>
                  </a:cubicBezTo>
                  <a:cubicBezTo>
                    <a:pt x="630767" y="8530167"/>
                    <a:pt x="628171" y="8500253"/>
                    <a:pt x="622300" y="8470900"/>
                  </a:cubicBezTo>
                  <a:cubicBezTo>
                    <a:pt x="619675" y="8457773"/>
                    <a:pt x="609600" y="8446187"/>
                    <a:pt x="609600" y="8432800"/>
                  </a:cubicBezTo>
                  <a:cubicBezTo>
                    <a:pt x="609600" y="8407050"/>
                    <a:pt x="618067" y="8382000"/>
                    <a:pt x="622300" y="8356600"/>
                  </a:cubicBezTo>
                  <a:cubicBezTo>
                    <a:pt x="595544" y="8196066"/>
                    <a:pt x="637218" y="8355070"/>
                    <a:pt x="558800" y="8229600"/>
                  </a:cubicBezTo>
                  <a:cubicBezTo>
                    <a:pt x="549549" y="8214799"/>
                    <a:pt x="551116" y="8195518"/>
                    <a:pt x="546100" y="8178800"/>
                  </a:cubicBezTo>
                  <a:cubicBezTo>
                    <a:pt x="499721" y="8024202"/>
                    <a:pt x="537272" y="8168889"/>
                    <a:pt x="508000" y="8051800"/>
                  </a:cubicBezTo>
                  <a:cubicBezTo>
                    <a:pt x="538227" y="7961120"/>
                    <a:pt x="511123" y="7990452"/>
                    <a:pt x="571500" y="7950200"/>
                  </a:cubicBezTo>
                  <a:cubicBezTo>
                    <a:pt x="663954" y="7811518"/>
                    <a:pt x="527590" y="8025319"/>
                    <a:pt x="609600" y="7861300"/>
                  </a:cubicBezTo>
                  <a:cubicBezTo>
                    <a:pt x="619066" y="7842368"/>
                    <a:pt x="636482" y="7828449"/>
                    <a:pt x="647700" y="7810500"/>
                  </a:cubicBezTo>
                  <a:cubicBezTo>
                    <a:pt x="657734" y="7794446"/>
                    <a:pt x="663707" y="7776138"/>
                    <a:pt x="673100" y="7759700"/>
                  </a:cubicBezTo>
                  <a:cubicBezTo>
                    <a:pt x="680673" y="7746448"/>
                    <a:pt x="692629" y="7735689"/>
                    <a:pt x="698500" y="7721600"/>
                  </a:cubicBezTo>
                  <a:cubicBezTo>
                    <a:pt x="770045" y="7549893"/>
                    <a:pt x="703446" y="7657031"/>
                    <a:pt x="762000" y="7569200"/>
                  </a:cubicBezTo>
                  <a:cubicBezTo>
                    <a:pt x="749300" y="7556500"/>
                    <a:pt x="740939" y="7536780"/>
                    <a:pt x="723900" y="7531100"/>
                  </a:cubicBezTo>
                  <a:cubicBezTo>
                    <a:pt x="687533" y="7518978"/>
                    <a:pt x="636707" y="7545507"/>
                    <a:pt x="609600" y="7518400"/>
                  </a:cubicBezTo>
                  <a:cubicBezTo>
                    <a:pt x="590668" y="7499468"/>
                    <a:pt x="630598" y="7468610"/>
                    <a:pt x="635000" y="7442200"/>
                  </a:cubicBezTo>
                  <a:cubicBezTo>
                    <a:pt x="636427" y="7433641"/>
                    <a:pt x="655075" y="7316700"/>
                    <a:pt x="660400" y="7302500"/>
                  </a:cubicBezTo>
                  <a:cubicBezTo>
                    <a:pt x="665759" y="7288208"/>
                    <a:pt x="677333" y="7277100"/>
                    <a:pt x="685800" y="7264400"/>
                  </a:cubicBezTo>
                  <a:cubicBezTo>
                    <a:pt x="681567" y="7217833"/>
                    <a:pt x="704696" y="7159168"/>
                    <a:pt x="673100" y="7124700"/>
                  </a:cubicBezTo>
                  <a:cubicBezTo>
                    <a:pt x="644352" y="7093338"/>
                    <a:pt x="587700" y="7120914"/>
                    <a:pt x="546100" y="7112000"/>
                  </a:cubicBezTo>
                  <a:cubicBezTo>
                    <a:pt x="527588" y="7108033"/>
                    <a:pt x="513812" y="7090567"/>
                    <a:pt x="495300" y="7086600"/>
                  </a:cubicBezTo>
                  <a:cubicBezTo>
                    <a:pt x="453700" y="7077686"/>
                    <a:pt x="410633" y="7078133"/>
                    <a:pt x="368300" y="7073900"/>
                  </a:cubicBezTo>
                  <a:cubicBezTo>
                    <a:pt x="351367" y="7069667"/>
                    <a:pt x="325306" y="7076812"/>
                    <a:pt x="317500" y="7061200"/>
                  </a:cubicBezTo>
                  <a:cubicBezTo>
                    <a:pt x="310674" y="7047548"/>
                    <a:pt x="329957" y="7031190"/>
                    <a:pt x="342900" y="7023100"/>
                  </a:cubicBezTo>
                  <a:cubicBezTo>
                    <a:pt x="365604" y="7008910"/>
                    <a:pt x="419100" y="6997700"/>
                    <a:pt x="419100" y="6997700"/>
                  </a:cubicBezTo>
                  <a:lnTo>
                    <a:pt x="508000" y="7023100"/>
                  </a:lnTo>
                  <a:cubicBezTo>
                    <a:pt x="520822" y="7026947"/>
                    <a:pt x="534126" y="7041787"/>
                    <a:pt x="546100" y="7035800"/>
                  </a:cubicBezTo>
                  <a:cubicBezTo>
                    <a:pt x="558074" y="7029813"/>
                    <a:pt x="554567" y="7010400"/>
                    <a:pt x="558800" y="6997700"/>
                  </a:cubicBezTo>
                  <a:cubicBezTo>
                    <a:pt x="555555" y="6962008"/>
                    <a:pt x="557832" y="6868765"/>
                    <a:pt x="533400" y="6819900"/>
                  </a:cubicBezTo>
                  <a:cubicBezTo>
                    <a:pt x="526574" y="6806248"/>
                    <a:pt x="517771" y="6793526"/>
                    <a:pt x="508000" y="6781800"/>
                  </a:cubicBezTo>
                  <a:cubicBezTo>
                    <a:pt x="496502" y="6768002"/>
                    <a:pt x="485494" y="6752611"/>
                    <a:pt x="469900" y="6743700"/>
                  </a:cubicBezTo>
                  <a:cubicBezTo>
                    <a:pt x="454745" y="6735040"/>
                    <a:pt x="436033" y="6735233"/>
                    <a:pt x="419100" y="6731000"/>
                  </a:cubicBezTo>
                  <a:cubicBezTo>
                    <a:pt x="394904" y="6658412"/>
                    <a:pt x="393695" y="6671754"/>
                    <a:pt x="419100" y="6553200"/>
                  </a:cubicBezTo>
                  <a:cubicBezTo>
                    <a:pt x="422298" y="6538275"/>
                    <a:pt x="436033" y="6527800"/>
                    <a:pt x="444500" y="6515100"/>
                  </a:cubicBezTo>
                  <a:cubicBezTo>
                    <a:pt x="448733" y="6498167"/>
                    <a:pt x="448540" y="6479455"/>
                    <a:pt x="457200" y="6464300"/>
                  </a:cubicBezTo>
                  <a:cubicBezTo>
                    <a:pt x="533306" y="6331115"/>
                    <a:pt x="468348" y="6507055"/>
                    <a:pt x="508000" y="6388100"/>
                  </a:cubicBezTo>
                  <a:cubicBezTo>
                    <a:pt x="499533" y="6316133"/>
                    <a:pt x="487643" y="6244487"/>
                    <a:pt x="482600" y="6172200"/>
                  </a:cubicBezTo>
                  <a:cubicBezTo>
                    <a:pt x="474934" y="6062319"/>
                    <a:pt x="480181" y="5951667"/>
                    <a:pt x="469900" y="5842000"/>
                  </a:cubicBezTo>
                  <a:cubicBezTo>
                    <a:pt x="462194" y="5759806"/>
                    <a:pt x="447752" y="5777323"/>
                    <a:pt x="406400" y="5727700"/>
                  </a:cubicBezTo>
                  <a:cubicBezTo>
                    <a:pt x="377134" y="5692581"/>
                    <a:pt x="373555" y="5670989"/>
                    <a:pt x="355600" y="5626100"/>
                  </a:cubicBezTo>
                  <a:cubicBezTo>
                    <a:pt x="359833" y="5592233"/>
                    <a:pt x="362195" y="5558080"/>
                    <a:pt x="368300" y="5524500"/>
                  </a:cubicBezTo>
                  <a:cubicBezTo>
                    <a:pt x="370695" y="5511329"/>
                    <a:pt x="379107" y="5499652"/>
                    <a:pt x="381000" y="5486400"/>
                  </a:cubicBezTo>
                  <a:cubicBezTo>
                    <a:pt x="387613" y="5440111"/>
                    <a:pt x="387087" y="5392989"/>
                    <a:pt x="393700" y="5346700"/>
                  </a:cubicBezTo>
                  <a:cubicBezTo>
                    <a:pt x="395593" y="5333448"/>
                    <a:pt x="396934" y="5318066"/>
                    <a:pt x="406400" y="5308600"/>
                  </a:cubicBezTo>
                  <a:cubicBezTo>
                    <a:pt x="415866" y="5299134"/>
                    <a:pt x="431216" y="5297560"/>
                    <a:pt x="444500" y="5295900"/>
                  </a:cubicBezTo>
                  <a:cubicBezTo>
                    <a:pt x="499270" y="5289054"/>
                    <a:pt x="554567" y="5287433"/>
                    <a:pt x="609600" y="5283200"/>
                  </a:cubicBezTo>
                  <a:cubicBezTo>
                    <a:pt x="629432" y="5223705"/>
                    <a:pt x="633295" y="5230381"/>
                    <a:pt x="609600" y="5143500"/>
                  </a:cubicBezTo>
                  <a:cubicBezTo>
                    <a:pt x="605584" y="5128774"/>
                    <a:pt x="591026" y="5119052"/>
                    <a:pt x="584200" y="5105400"/>
                  </a:cubicBezTo>
                  <a:cubicBezTo>
                    <a:pt x="578213" y="5093426"/>
                    <a:pt x="579719" y="5077867"/>
                    <a:pt x="571500" y="5067300"/>
                  </a:cubicBezTo>
                  <a:cubicBezTo>
                    <a:pt x="446078" y="4906043"/>
                    <a:pt x="530251" y="5061002"/>
                    <a:pt x="469900" y="4940300"/>
                  </a:cubicBezTo>
                  <a:cubicBezTo>
                    <a:pt x="465667" y="4885267"/>
                    <a:pt x="472363" y="4828272"/>
                    <a:pt x="457200" y="4775200"/>
                  </a:cubicBezTo>
                  <a:cubicBezTo>
                    <a:pt x="453522" y="4762328"/>
                    <a:pt x="432370" y="4764269"/>
                    <a:pt x="419100" y="4762500"/>
                  </a:cubicBezTo>
                  <a:cubicBezTo>
                    <a:pt x="368571" y="4755763"/>
                    <a:pt x="317500" y="4754033"/>
                    <a:pt x="266700" y="4749800"/>
                  </a:cubicBezTo>
                  <a:cubicBezTo>
                    <a:pt x="254000" y="4737100"/>
                    <a:pt x="242398" y="4723198"/>
                    <a:pt x="228600" y="4711700"/>
                  </a:cubicBezTo>
                  <a:cubicBezTo>
                    <a:pt x="122512" y="4623293"/>
                    <a:pt x="263710" y="4759510"/>
                    <a:pt x="152400" y="4648200"/>
                  </a:cubicBezTo>
                  <a:cubicBezTo>
                    <a:pt x="148167" y="4635500"/>
                    <a:pt x="142947" y="4623087"/>
                    <a:pt x="139700" y="4610100"/>
                  </a:cubicBezTo>
                  <a:cubicBezTo>
                    <a:pt x="134465" y="4589159"/>
                    <a:pt x="142264" y="4561864"/>
                    <a:pt x="127000" y="4546600"/>
                  </a:cubicBezTo>
                  <a:cubicBezTo>
                    <a:pt x="108068" y="4527668"/>
                    <a:pt x="76200" y="4529667"/>
                    <a:pt x="50800" y="4521200"/>
                  </a:cubicBezTo>
                  <a:cubicBezTo>
                    <a:pt x="32839" y="4515213"/>
                    <a:pt x="16933" y="4504267"/>
                    <a:pt x="0" y="4495800"/>
                  </a:cubicBezTo>
                  <a:lnTo>
                    <a:pt x="76200" y="4419600"/>
                  </a:lnTo>
                  <a:cubicBezTo>
                    <a:pt x="91464" y="4404336"/>
                    <a:pt x="79247" y="4375407"/>
                    <a:pt x="88900" y="4356100"/>
                  </a:cubicBezTo>
                  <a:cubicBezTo>
                    <a:pt x="107926" y="4318047"/>
                    <a:pt x="131233" y="4316589"/>
                    <a:pt x="165100" y="4305300"/>
                  </a:cubicBezTo>
                  <a:cubicBezTo>
                    <a:pt x="223326" y="4217961"/>
                    <a:pt x="186940" y="4238753"/>
                    <a:pt x="254000" y="4216400"/>
                  </a:cubicBezTo>
                  <a:cubicBezTo>
                    <a:pt x="266700" y="4203700"/>
                    <a:pt x="282137" y="4193244"/>
                    <a:pt x="292100" y="4178300"/>
                  </a:cubicBezTo>
                  <a:cubicBezTo>
                    <a:pt x="308947" y="4153030"/>
                    <a:pt x="311745" y="4099620"/>
                    <a:pt x="292100" y="4076700"/>
                  </a:cubicBezTo>
                  <a:cubicBezTo>
                    <a:pt x="277264" y="4059391"/>
                    <a:pt x="249767" y="4059767"/>
                    <a:pt x="228600" y="4051300"/>
                  </a:cubicBezTo>
                  <a:cubicBezTo>
                    <a:pt x="220133" y="4038600"/>
                    <a:pt x="207216" y="4027926"/>
                    <a:pt x="203200" y="4013200"/>
                  </a:cubicBezTo>
                  <a:cubicBezTo>
                    <a:pt x="183840" y="3942213"/>
                    <a:pt x="188589" y="3840085"/>
                    <a:pt x="203200" y="3771900"/>
                  </a:cubicBezTo>
                  <a:cubicBezTo>
                    <a:pt x="206398" y="3756975"/>
                    <a:pt x="221774" y="3747452"/>
                    <a:pt x="228600" y="3733800"/>
                  </a:cubicBezTo>
                  <a:cubicBezTo>
                    <a:pt x="243938" y="3703124"/>
                    <a:pt x="236370" y="3681864"/>
                    <a:pt x="266700" y="3657600"/>
                  </a:cubicBezTo>
                  <a:cubicBezTo>
                    <a:pt x="283155" y="3644436"/>
                    <a:pt x="380220" y="3632330"/>
                    <a:pt x="381000" y="3632200"/>
                  </a:cubicBezTo>
                  <a:cubicBezTo>
                    <a:pt x="398967" y="3638189"/>
                    <a:pt x="453953" y="3657600"/>
                    <a:pt x="469900" y="3657600"/>
                  </a:cubicBezTo>
                  <a:cubicBezTo>
                    <a:pt x="504030" y="3657600"/>
                    <a:pt x="537767" y="3650090"/>
                    <a:pt x="571500" y="3644900"/>
                  </a:cubicBezTo>
                  <a:cubicBezTo>
                    <a:pt x="613420" y="3638451"/>
                    <a:pt x="645348" y="3629613"/>
                    <a:pt x="685800" y="3619500"/>
                  </a:cubicBezTo>
                  <a:cubicBezTo>
                    <a:pt x="698500" y="3606800"/>
                    <a:pt x="710102" y="3592898"/>
                    <a:pt x="723900" y="3581400"/>
                  </a:cubicBezTo>
                  <a:cubicBezTo>
                    <a:pt x="735626" y="3571629"/>
                    <a:pt x="751949" y="3567487"/>
                    <a:pt x="762000" y="3556000"/>
                  </a:cubicBezTo>
                  <a:cubicBezTo>
                    <a:pt x="782102" y="3533026"/>
                    <a:pt x="795867" y="3505200"/>
                    <a:pt x="812800" y="3479800"/>
                  </a:cubicBezTo>
                  <a:cubicBezTo>
                    <a:pt x="854117" y="3417825"/>
                    <a:pt x="790949" y="3463551"/>
                    <a:pt x="850900" y="3403600"/>
                  </a:cubicBezTo>
                  <a:cubicBezTo>
                    <a:pt x="880135" y="3374365"/>
                    <a:pt x="900937" y="3375216"/>
                    <a:pt x="939800" y="3365500"/>
                  </a:cubicBezTo>
                  <a:cubicBezTo>
                    <a:pt x="952500" y="3348567"/>
                    <a:pt x="968434" y="3333632"/>
                    <a:pt x="977900" y="3314700"/>
                  </a:cubicBezTo>
                  <a:cubicBezTo>
                    <a:pt x="989874" y="3290753"/>
                    <a:pt x="1003300" y="3238500"/>
                    <a:pt x="1003300" y="3238500"/>
                  </a:cubicBezTo>
                  <a:cubicBezTo>
                    <a:pt x="1007533" y="3208867"/>
                    <a:pt x="1010798" y="3179079"/>
                    <a:pt x="1016000" y="3149600"/>
                  </a:cubicBezTo>
                  <a:cubicBezTo>
                    <a:pt x="1022729" y="3111469"/>
                    <a:pt x="1039862" y="3021633"/>
                    <a:pt x="1054100" y="2971800"/>
                  </a:cubicBezTo>
                  <a:cubicBezTo>
                    <a:pt x="1057778" y="2958928"/>
                    <a:pt x="1062567" y="2946400"/>
                    <a:pt x="1066800" y="2933700"/>
                  </a:cubicBezTo>
                  <a:cubicBezTo>
                    <a:pt x="1067304" y="2926648"/>
                    <a:pt x="1095692" y="2680123"/>
                    <a:pt x="1066800" y="2641600"/>
                  </a:cubicBezTo>
                  <a:cubicBezTo>
                    <a:pt x="1053848" y="2624331"/>
                    <a:pt x="1024467" y="2650067"/>
                    <a:pt x="1003300" y="2654300"/>
                  </a:cubicBezTo>
                  <a:cubicBezTo>
                    <a:pt x="973273" y="2684327"/>
                    <a:pt x="948823" y="2705185"/>
                    <a:pt x="927100" y="2743200"/>
                  </a:cubicBezTo>
                  <a:cubicBezTo>
                    <a:pt x="920458" y="2754823"/>
                    <a:pt x="921042" y="2769677"/>
                    <a:pt x="914400" y="2781300"/>
                  </a:cubicBezTo>
                  <a:cubicBezTo>
                    <a:pt x="899111" y="2808056"/>
                    <a:pt x="862767" y="2849727"/>
                    <a:pt x="838200" y="2870200"/>
                  </a:cubicBezTo>
                  <a:cubicBezTo>
                    <a:pt x="826474" y="2879971"/>
                    <a:pt x="814392" y="2890241"/>
                    <a:pt x="800100" y="2895600"/>
                  </a:cubicBezTo>
                  <a:cubicBezTo>
                    <a:pt x="779889" y="2903179"/>
                    <a:pt x="736600" y="2937933"/>
                    <a:pt x="736600" y="2933700"/>
                  </a:cubicBezTo>
                  <a:close/>
                </a:path>
              </a:pathLst>
            </a:custGeom>
            <a:solidFill>
              <a:srgbClr val="EDDD32"/>
            </a:solidFill>
            <a:ln w="9525" cap="flat" cmpd="sng" algn="ctr">
              <a:solidFill>
                <a:srgbClr val="4866A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97" tIns="46649" rIns="93297" bIns="46649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8383">
                <a:buClr>
                  <a:srgbClr val="000000"/>
                </a:buClr>
                <a:buSzPct val="100000"/>
              </a:pPr>
              <a:endParaRPr lang="pt-BR" sz="1020" dirty="0">
                <a:solidFill>
                  <a:schemeClr val="bg1"/>
                </a:solidFill>
                <a:latin typeface="Arial" charset="0"/>
              </a:endParaRPr>
            </a:p>
          </p:txBody>
        </p:sp>
        <p:cxnSp>
          <p:nvCxnSpPr>
            <p:cNvPr id="170" name="Straight Connector 96"/>
            <p:cNvCxnSpPr/>
            <p:nvPr/>
          </p:nvCxnSpPr>
          <p:spPr bwMode="auto">
            <a:xfrm flipH="1" flipV="1">
              <a:off x="12769527" y="2406657"/>
              <a:ext cx="77192" cy="534086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</p:cxnSp>
        <p:sp>
          <p:nvSpPr>
            <p:cNvPr id="171" name="Freeform 91"/>
            <p:cNvSpPr/>
            <p:nvPr/>
          </p:nvSpPr>
          <p:spPr bwMode="auto">
            <a:xfrm>
              <a:off x="12381930" y="1602582"/>
              <a:ext cx="766416" cy="810982"/>
            </a:xfrm>
            <a:custGeom>
              <a:avLst/>
              <a:gdLst>
                <a:gd name="connsiteX0" fmla="*/ 1325880 w 4312920"/>
                <a:gd name="connsiteY0" fmla="*/ 1328 h 4489508"/>
                <a:gd name="connsiteX1" fmla="*/ 1554480 w 4312920"/>
                <a:gd name="connsiteY1" fmla="*/ 54668 h 4489508"/>
                <a:gd name="connsiteX2" fmla="*/ 1653540 w 4312920"/>
                <a:gd name="connsiteY2" fmla="*/ 62288 h 4489508"/>
                <a:gd name="connsiteX3" fmla="*/ 1859280 w 4312920"/>
                <a:gd name="connsiteY3" fmla="*/ 77528 h 4489508"/>
                <a:gd name="connsiteX4" fmla="*/ 1927860 w 4312920"/>
                <a:gd name="connsiteY4" fmla="*/ 100388 h 4489508"/>
                <a:gd name="connsiteX5" fmla="*/ 1973580 w 4312920"/>
                <a:gd name="connsiteY5" fmla="*/ 108008 h 4489508"/>
                <a:gd name="connsiteX6" fmla="*/ 2065020 w 4312920"/>
                <a:gd name="connsiteY6" fmla="*/ 115628 h 4489508"/>
                <a:gd name="connsiteX7" fmla="*/ 2125980 w 4312920"/>
                <a:gd name="connsiteY7" fmla="*/ 123248 h 4489508"/>
                <a:gd name="connsiteX8" fmla="*/ 2164080 w 4312920"/>
                <a:gd name="connsiteY8" fmla="*/ 138488 h 4489508"/>
                <a:gd name="connsiteX9" fmla="*/ 2194560 w 4312920"/>
                <a:gd name="connsiteY9" fmla="*/ 146108 h 4489508"/>
                <a:gd name="connsiteX10" fmla="*/ 2217420 w 4312920"/>
                <a:gd name="connsiteY10" fmla="*/ 153728 h 4489508"/>
                <a:gd name="connsiteX11" fmla="*/ 2240280 w 4312920"/>
                <a:gd name="connsiteY11" fmla="*/ 168968 h 4489508"/>
                <a:gd name="connsiteX12" fmla="*/ 2400300 w 4312920"/>
                <a:gd name="connsiteY12" fmla="*/ 207068 h 4489508"/>
                <a:gd name="connsiteX13" fmla="*/ 2423160 w 4312920"/>
                <a:gd name="connsiteY13" fmla="*/ 214688 h 4489508"/>
                <a:gd name="connsiteX14" fmla="*/ 2468880 w 4312920"/>
                <a:gd name="connsiteY14" fmla="*/ 237548 h 4489508"/>
                <a:gd name="connsiteX15" fmla="*/ 2491740 w 4312920"/>
                <a:gd name="connsiteY15" fmla="*/ 252788 h 4489508"/>
                <a:gd name="connsiteX16" fmla="*/ 2514600 w 4312920"/>
                <a:gd name="connsiteY16" fmla="*/ 260408 h 4489508"/>
                <a:gd name="connsiteX17" fmla="*/ 2545080 w 4312920"/>
                <a:gd name="connsiteY17" fmla="*/ 275648 h 4489508"/>
                <a:gd name="connsiteX18" fmla="*/ 2567940 w 4312920"/>
                <a:gd name="connsiteY18" fmla="*/ 290888 h 4489508"/>
                <a:gd name="connsiteX19" fmla="*/ 2613660 w 4312920"/>
                <a:gd name="connsiteY19" fmla="*/ 306128 h 4489508"/>
                <a:gd name="connsiteX20" fmla="*/ 2644140 w 4312920"/>
                <a:gd name="connsiteY20" fmla="*/ 321368 h 4489508"/>
                <a:gd name="connsiteX21" fmla="*/ 2667000 w 4312920"/>
                <a:gd name="connsiteY21" fmla="*/ 374708 h 4489508"/>
                <a:gd name="connsiteX22" fmla="*/ 2689860 w 4312920"/>
                <a:gd name="connsiteY22" fmla="*/ 450908 h 4489508"/>
                <a:gd name="connsiteX23" fmla="*/ 2743200 w 4312920"/>
                <a:gd name="connsiteY23" fmla="*/ 519488 h 4489508"/>
                <a:gd name="connsiteX24" fmla="*/ 2766060 w 4312920"/>
                <a:gd name="connsiteY24" fmla="*/ 565208 h 4489508"/>
                <a:gd name="connsiteX25" fmla="*/ 2819400 w 4312920"/>
                <a:gd name="connsiteY25" fmla="*/ 649028 h 4489508"/>
                <a:gd name="connsiteX26" fmla="*/ 2849880 w 4312920"/>
                <a:gd name="connsiteY26" fmla="*/ 702368 h 4489508"/>
                <a:gd name="connsiteX27" fmla="*/ 2857500 w 4312920"/>
                <a:gd name="connsiteY27" fmla="*/ 732848 h 4489508"/>
                <a:gd name="connsiteX28" fmla="*/ 2880360 w 4312920"/>
                <a:gd name="connsiteY28" fmla="*/ 778568 h 4489508"/>
                <a:gd name="connsiteX29" fmla="*/ 2887980 w 4312920"/>
                <a:gd name="connsiteY29" fmla="*/ 831908 h 4489508"/>
                <a:gd name="connsiteX30" fmla="*/ 2964180 w 4312920"/>
                <a:gd name="connsiteY30" fmla="*/ 816668 h 4489508"/>
                <a:gd name="connsiteX31" fmla="*/ 3032760 w 4312920"/>
                <a:gd name="connsiteY31" fmla="*/ 809048 h 4489508"/>
                <a:gd name="connsiteX32" fmla="*/ 3093720 w 4312920"/>
                <a:gd name="connsiteY32" fmla="*/ 778568 h 4489508"/>
                <a:gd name="connsiteX33" fmla="*/ 3147060 w 4312920"/>
                <a:gd name="connsiteY33" fmla="*/ 763328 h 4489508"/>
                <a:gd name="connsiteX34" fmla="*/ 3200400 w 4312920"/>
                <a:gd name="connsiteY34" fmla="*/ 740468 h 4489508"/>
                <a:gd name="connsiteX35" fmla="*/ 3276600 w 4312920"/>
                <a:gd name="connsiteY35" fmla="*/ 725228 h 4489508"/>
                <a:gd name="connsiteX36" fmla="*/ 3299460 w 4312920"/>
                <a:gd name="connsiteY36" fmla="*/ 717608 h 4489508"/>
                <a:gd name="connsiteX37" fmla="*/ 3322320 w 4312920"/>
                <a:gd name="connsiteY37" fmla="*/ 702368 h 4489508"/>
                <a:gd name="connsiteX38" fmla="*/ 3368040 w 4312920"/>
                <a:gd name="connsiteY38" fmla="*/ 687128 h 4489508"/>
                <a:gd name="connsiteX39" fmla="*/ 3436620 w 4312920"/>
                <a:gd name="connsiteY39" fmla="*/ 679508 h 4489508"/>
                <a:gd name="connsiteX40" fmla="*/ 3436620 w 4312920"/>
                <a:gd name="connsiteY40" fmla="*/ 740468 h 4489508"/>
                <a:gd name="connsiteX41" fmla="*/ 3467100 w 4312920"/>
                <a:gd name="connsiteY41" fmla="*/ 748088 h 4489508"/>
                <a:gd name="connsiteX42" fmla="*/ 3489960 w 4312920"/>
                <a:gd name="connsiteY42" fmla="*/ 763328 h 4489508"/>
                <a:gd name="connsiteX43" fmla="*/ 3512820 w 4312920"/>
                <a:gd name="connsiteY43" fmla="*/ 809048 h 4489508"/>
                <a:gd name="connsiteX44" fmla="*/ 3528060 w 4312920"/>
                <a:gd name="connsiteY44" fmla="*/ 831908 h 4489508"/>
                <a:gd name="connsiteX45" fmla="*/ 3520440 w 4312920"/>
                <a:gd name="connsiteY45" fmla="*/ 854768 h 4489508"/>
                <a:gd name="connsiteX46" fmla="*/ 3505200 w 4312920"/>
                <a:gd name="connsiteY46" fmla="*/ 885248 h 4489508"/>
                <a:gd name="connsiteX47" fmla="*/ 3512820 w 4312920"/>
                <a:gd name="connsiteY47" fmla="*/ 946208 h 4489508"/>
                <a:gd name="connsiteX48" fmla="*/ 3535680 w 4312920"/>
                <a:gd name="connsiteY48" fmla="*/ 969068 h 4489508"/>
                <a:gd name="connsiteX49" fmla="*/ 3528060 w 4312920"/>
                <a:gd name="connsiteY49" fmla="*/ 999548 h 4489508"/>
                <a:gd name="connsiteX50" fmla="*/ 3535680 w 4312920"/>
                <a:gd name="connsiteY50" fmla="*/ 1045268 h 4489508"/>
                <a:gd name="connsiteX51" fmla="*/ 3581400 w 4312920"/>
                <a:gd name="connsiteY51" fmla="*/ 1052888 h 4489508"/>
                <a:gd name="connsiteX52" fmla="*/ 3604260 w 4312920"/>
                <a:gd name="connsiteY52" fmla="*/ 1075748 h 4489508"/>
                <a:gd name="connsiteX53" fmla="*/ 3611880 w 4312920"/>
                <a:gd name="connsiteY53" fmla="*/ 1098608 h 4489508"/>
                <a:gd name="connsiteX54" fmla="*/ 3649980 w 4312920"/>
                <a:gd name="connsiteY54" fmla="*/ 1129088 h 4489508"/>
                <a:gd name="connsiteX55" fmla="*/ 3810000 w 4312920"/>
                <a:gd name="connsiteY55" fmla="*/ 1136708 h 4489508"/>
                <a:gd name="connsiteX56" fmla="*/ 4038600 w 4312920"/>
                <a:gd name="connsiteY56" fmla="*/ 1190048 h 4489508"/>
                <a:gd name="connsiteX57" fmla="*/ 4107180 w 4312920"/>
                <a:gd name="connsiteY57" fmla="*/ 1243388 h 4489508"/>
                <a:gd name="connsiteX58" fmla="*/ 4175760 w 4312920"/>
                <a:gd name="connsiteY58" fmla="*/ 1281488 h 4489508"/>
                <a:gd name="connsiteX59" fmla="*/ 4191000 w 4312920"/>
                <a:gd name="connsiteY59" fmla="*/ 1365308 h 4489508"/>
                <a:gd name="connsiteX60" fmla="*/ 4206240 w 4312920"/>
                <a:gd name="connsiteY60" fmla="*/ 1426268 h 4489508"/>
                <a:gd name="connsiteX61" fmla="*/ 4229100 w 4312920"/>
                <a:gd name="connsiteY61" fmla="*/ 1449128 h 4489508"/>
                <a:gd name="connsiteX62" fmla="*/ 4236720 w 4312920"/>
                <a:gd name="connsiteY62" fmla="*/ 1471988 h 4489508"/>
                <a:gd name="connsiteX63" fmla="*/ 4267200 w 4312920"/>
                <a:gd name="connsiteY63" fmla="*/ 1517708 h 4489508"/>
                <a:gd name="connsiteX64" fmla="*/ 4274820 w 4312920"/>
                <a:gd name="connsiteY64" fmla="*/ 1548188 h 4489508"/>
                <a:gd name="connsiteX65" fmla="*/ 4290060 w 4312920"/>
                <a:gd name="connsiteY65" fmla="*/ 1571048 h 4489508"/>
                <a:gd name="connsiteX66" fmla="*/ 4312920 w 4312920"/>
                <a:gd name="connsiteY66" fmla="*/ 1624388 h 4489508"/>
                <a:gd name="connsiteX67" fmla="*/ 4282440 w 4312920"/>
                <a:gd name="connsiteY67" fmla="*/ 1654868 h 4489508"/>
                <a:gd name="connsiteX68" fmla="*/ 4236720 w 4312920"/>
                <a:gd name="connsiteY68" fmla="*/ 1662488 h 4489508"/>
                <a:gd name="connsiteX69" fmla="*/ 4168140 w 4312920"/>
                <a:gd name="connsiteY69" fmla="*/ 1670108 h 4489508"/>
                <a:gd name="connsiteX70" fmla="*/ 4137660 w 4312920"/>
                <a:gd name="connsiteY70" fmla="*/ 1677728 h 4489508"/>
                <a:gd name="connsiteX71" fmla="*/ 4114800 w 4312920"/>
                <a:gd name="connsiteY71" fmla="*/ 1700588 h 4489508"/>
                <a:gd name="connsiteX72" fmla="*/ 4061460 w 4312920"/>
                <a:gd name="connsiteY72" fmla="*/ 1708208 h 4489508"/>
                <a:gd name="connsiteX73" fmla="*/ 4030980 w 4312920"/>
                <a:gd name="connsiteY73" fmla="*/ 1715828 h 4489508"/>
                <a:gd name="connsiteX74" fmla="*/ 3985260 w 4312920"/>
                <a:gd name="connsiteY74" fmla="*/ 1753928 h 4489508"/>
                <a:gd name="connsiteX75" fmla="*/ 3962400 w 4312920"/>
                <a:gd name="connsiteY75" fmla="*/ 1776788 h 4489508"/>
                <a:gd name="connsiteX76" fmla="*/ 3931920 w 4312920"/>
                <a:gd name="connsiteY76" fmla="*/ 1792028 h 4489508"/>
                <a:gd name="connsiteX77" fmla="*/ 3909060 w 4312920"/>
                <a:gd name="connsiteY77" fmla="*/ 1814888 h 4489508"/>
                <a:gd name="connsiteX78" fmla="*/ 3863340 w 4312920"/>
                <a:gd name="connsiteY78" fmla="*/ 1837748 h 4489508"/>
                <a:gd name="connsiteX79" fmla="*/ 3817620 w 4312920"/>
                <a:gd name="connsiteY79" fmla="*/ 1883468 h 4489508"/>
                <a:gd name="connsiteX80" fmla="*/ 3771900 w 4312920"/>
                <a:gd name="connsiteY80" fmla="*/ 1921568 h 4489508"/>
                <a:gd name="connsiteX81" fmla="*/ 3756660 w 4312920"/>
                <a:gd name="connsiteY81" fmla="*/ 1944428 h 4489508"/>
                <a:gd name="connsiteX82" fmla="*/ 3718560 w 4312920"/>
                <a:gd name="connsiteY82" fmla="*/ 1990148 h 4489508"/>
                <a:gd name="connsiteX83" fmla="*/ 3703320 w 4312920"/>
                <a:gd name="connsiteY83" fmla="*/ 2043488 h 4489508"/>
                <a:gd name="connsiteX84" fmla="*/ 3695700 w 4312920"/>
                <a:gd name="connsiteY84" fmla="*/ 2180648 h 4489508"/>
                <a:gd name="connsiteX85" fmla="*/ 3680460 w 4312920"/>
                <a:gd name="connsiteY85" fmla="*/ 2249228 h 4489508"/>
                <a:gd name="connsiteX86" fmla="*/ 3672840 w 4312920"/>
                <a:gd name="connsiteY86" fmla="*/ 2310188 h 4489508"/>
                <a:gd name="connsiteX87" fmla="*/ 3657600 w 4312920"/>
                <a:gd name="connsiteY87" fmla="*/ 2447348 h 4489508"/>
                <a:gd name="connsiteX88" fmla="*/ 3642360 w 4312920"/>
                <a:gd name="connsiteY88" fmla="*/ 2485448 h 4489508"/>
                <a:gd name="connsiteX89" fmla="*/ 3634740 w 4312920"/>
                <a:gd name="connsiteY89" fmla="*/ 2515928 h 4489508"/>
                <a:gd name="connsiteX90" fmla="*/ 3619500 w 4312920"/>
                <a:gd name="connsiteY90" fmla="*/ 2607368 h 4489508"/>
                <a:gd name="connsiteX91" fmla="*/ 3596640 w 4312920"/>
                <a:gd name="connsiteY91" fmla="*/ 2683568 h 4489508"/>
                <a:gd name="connsiteX92" fmla="*/ 3589020 w 4312920"/>
                <a:gd name="connsiteY92" fmla="*/ 2706428 h 4489508"/>
                <a:gd name="connsiteX93" fmla="*/ 3573780 w 4312920"/>
                <a:gd name="connsiteY93" fmla="*/ 2782628 h 4489508"/>
                <a:gd name="connsiteX94" fmla="*/ 3558540 w 4312920"/>
                <a:gd name="connsiteY94" fmla="*/ 2843588 h 4489508"/>
                <a:gd name="connsiteX95" fmla="*/ 3550920 w 4312920"/>
                <a:gd name="connsiteY95" fmla="*/ 2874068 h 4489508"/>
                <a:gd name="connsiteX96" fmla="*/ 3535680 w 4312920"/>
                <a:gd name="connsiteY96" fmla="*/ 2950268 h 4489508"/>
                <a:gd name="connsiteX97" fmla="*/ 3520440 w 4312920"/>
                <a:gd name="connsiteY97" fmla="*/ 2988368 h 4489508"/>
                <a:gd name="connsiteX98" fmla="*/ 3505200 w 4312920"/>
                <a:gd name="connsiteY98" fmla="*/ 3056948 h 4489508"/>
                <a:gd name="connsiteX99" fmla="*/ 3497580 w 4312920"/>
                <a:gd name="connsiteY99" fmla="*/ 3102668 h 4489508"/>
                <a:gd name="connsiteX100" fmla="*/ 3467100 w 4312920"/>
                <a:gd name="connsiteY100" fmla="*/ 3163628 h 4489508"/>
                <a:gd name="connsiteX101" fmla="*/ 3451860 w 4312920"/>
                <a:gd name="connsiteY101" fmla="*/ 3216968 h 4489508"/>
                <a:gd name="connsiteX102" fmla="*/ 3429000 w 4312920"/>
                <a:gd name="connsiteY102" fmla="*/ 3247448 h 4489508"/>
                <a:gd name="connsiteX103" fmla="*/ 3421380 w 4312920"/>
                <a:gd name="connsiteY103" fmla="*/ 3277928 h 4489508"/>
                <a:gd name="connsiteX104" fmla="*/ 3368040 w 4312920"/>
                <a:gd name="connsiteY104" fmla="*/ 3346508 h 4489508"/>
                <a:gd name="connsiteX105" fmla="*/ 3337560 w 4312920"/>
                <a:gd name="connsiteY105" fmla="*/ 3392228 h 4489508"/>
                <a:gd name="connsiteX106" fmla="*/ 3413760 w 4312920"/>
                <a:gd name="connsiteY106" fmla="*/ 3453188 h 4489508"/>
                <a:gd name="connsiteX107" fmla="*/ 3421380 w 4312920"/>
                <a:gd name="connsiteY107" fmla="*/ 3476048 h 4489508"/>
                <a:gd name="connsiteX108" fmla="*/ 3451860 w 4312920"/>
                <a:gd name="connsiteY108" fmla="*/ 3506528 h 4489508"/>
                <a:gd name="connsiteX109" fmla="*/ 3459480 w 4312920"/>
                <a:gd name="connsiteY109" fmla="*/ 3529388 h 4489508"/>
                <a:gd name="connsiteX110" fmla="*/ 3451860 w 4312920"/>
                <a:gd name="connsiteY110" fmla="*/ 3552248 h 4489508"/>
                <a:gd name="connsiteX111" fmla="*/ 3406140 w 4312920"/>
                <a:gd name="connsiteY111" fmla="*/ 3590348 h 4489508"/>
                <a:gd name="connsiteX112" fmla="*/ 3383280 w 4312920"/>
                <a:gd name="connsiteY112" fmla="*/ 3636068 h 4489508"/>
                <a:gd name="connsiteX113" fmla="*/ 3345180 w 4312920"/>
                <a:gd name="connsiteY113" fmla="*/ 3658928 h 4489508"/>
                <a:gd name="connsiteX114" fmla="*/ 3322320 w 4312920"/>
                <a:gd name="connsiteY114" fmla="*/ 3681788 h 4489508"/>
                <a:gd name="connsiteX115" fmla="*/ 3299460 w 4312920"/>
                <a:gd name="connsiteY115" fmla="*/ 3697028 h 4489508"/>
                <a:gd name="connsiteX116" fmla="*/ 3253740 w 4312920"/>
                <a:gd name="connsiteY116" fmla="*/ 3742748 h 4489508"/>
                <a:gd name="connsiteX117" fmla="*/ 3238500 w 4312920"/>
                <a:gd name="connsiteY117" fmla="*/ 3773228 h 4489508"/>
                <a:gd name="connsiteX118" fmla="*/ 3238500 w 4312920"/>
                <a:gd name="connsiteY118" fmla="*/ 3872288 h 4489508"/>
                <a:gd name="connsiteX119" fmla="*/ 3230880 w 4312920"/>
                <a:gd name="connsiteY119" fmla="*/ 3925628 h 4489508"/>
                <a:gd name="connsiteX120" fmla="*/ 3208020 w 4312920"/>
                <a:gd name="connsiteY120" fmla="*/ 3940868 h 4489508"/>
                <a:gd name="connsiteX121" fmla="*/ 3139440 w 4312920"/>
                <a:gd name="connsiteY121" fmla="*/ 3956108 h 4489508"/>
                <a:gd name="connsiteX122" fmla="*/ 3108960 w 4312920"/>
                <a:gd name="connsiteY122" fmla="*/ 3963728 h 4489508"/>
                <a:gd name="connsiteX123" fmla="*/ 3086100 w 4312920"/>
                <a:gd name="connsiteY123" fmla="*/ 3978968 h 4489508"/>
                <a:gd name="connsiteX124" fmla="*/ 3025140 w 4312920"/>
                <a:gd name="connsiteY124" fmla="*/ 3986588 h 4489508"/>
                <a:gd name="connsiteX125" fmla="*/ 2979420 w 4312920"/>
                <a:gd name="connsiteY125" fmla="*/ 3994208 h 4489508"/>
                <a:gd name="connsiteX126" fmla="*/ 2956560 w 4312920"/>
                <a:gd name="connsiteY126" fmla="*/ 4001828 h 4489508"/>
                <a:gd name="connsiteX127" fmla="*/ 2903220 w 4312920"/>
                <a:gd name="connsiteY127" fmla="*/ 4024688 h 4489508"/>
                <a:gd name="connsiteX128" fmla="*/ 2834640 w 4312920"/>
                <a:gd name="connsiteY128" fmla="*/ 4017068 h 4489508"/>
                <a:gd name="connsiteX129" fmla="*/ 2811780 w 4312920"/>
                <a:gd name="connsiteY129" fmla="*/ 4001828 h 4489508"/>
                <a:gd name="connsiteX130" fmla="*/ 2758440 w 4312920"/>
                <a:gd name="connsiteY130" fmla="*/ 3956108 h 4489508"/>
                <a:gd name="connsiteX131" fmla="*/ 2735580 w 4312920"/>
                <a:gd name="connsiteY131" fmla="*/ 3940868 h 4489508"/>
                <a:gd name="connsiteX132" fmla="*/ 2689860 w 4312920"/>
                <a:gd name="connsiteY132" fmla="*/ 3956108 h 4489508"/>
                <a:gd name="connsiteX133" fmla="*/ 2598420 w 4312920"/>
                <a:gd name="connsiteY133" fmla="*/ 3971348 h 4489508"/>
                <a:gd name="connsiteX134" fmla="*/ 2575560 w 4312920"/>
                <a:gd name="connsiteY134" fmla="*/ 3986588 h 4489508"/>
                <a:gd name="connsiteX135" fmla="*/ 2552700 w 4312920"/>
                <a:gd name="connsiteY135" fmla="*/ 4009448 h 4489508"/>
                <a:gd name="connsiteX136" fmla="*/ 2529840 w 4312920"/>
                <a:gd name="connsiteY136" fmla="*/ 4017068 h 4489508"/>
                <a:gd name="connsiteX137" fmla="*/ 2339340 w 4312920"/>
                <a:gd name="connsiteY137" fmla="*/ 4009448 h 4489508"/>
                <a:gd name="connsiteX138" fmla="*/ 2293620 w 4312920"/>
                <a:gd name="connsiteY138" fmla="*/ 4062788 h 4489508"/>
                <a:gd name="connsiteX139" fmla="*/ 2286000 w 4312920"/>
                <a:gd name="connsiteY139" fmla="*/ 4085648 h 4489508"/>
                <a:gd name="connsiteX140" fmla="*/ 2232660 w 4312920"/>
                <a:gd name="connsiteY140" fmla="*/ 4138988 h 4489508"/>
                <a:gd name="connsiteX141" fmla="*/ 2194560 w 4312920"/>
                <a:gd name="connsiteY141" fmla="*/ 4184708 h 4489508"/>
                <a:gd name="connsiteX142" fmla="*/ 2164080 w 4312920"/>
                <a:gd name="connsiteY142" fmla="*/ 4192328 h 4489508"/>
                <a:gd name="connsiteX143" fmla="*/ 2080260 w 4312920"/>
                <a:gd name="connsiteY143" fmla="*/ 4199948 h 4489508"/>
                <a:gd name="connsiteX144" fmla="*/ 2034540 w 4312920"/>
                <a:gd name="connsiteY144" fmla="*/ 4238048 h 4489508"/>
                <a:gd name="connsiteX145" fmla="*/ 1981200 w 4312920"/>
                <a:gd name="connsiteY145" fmla="*/ 4283768 h 4489508"/>
                <a:gd name="connsiteX146" fmla="*/ 1920240 w 4312920"/>
                <a:gd name="connsiteY146" fmla="*/ 4299008 h 4489508"/>
                <a:gd name="connsiteX147" fmla="*/ 1897380 w 4312920"/>
                <a:gd name="connsiteY147" fmla="*/ 4306628 h 4489508"/>
                <a:gd name="connsiteX148" fmla="*/ 1874520 w 4312920"/>
                <a:gd name="connsiteY148" fmla="*/ 4321868 h 4489508"/>
                <a:gd name="connsiteX149" fmla="*/ 1821180 w 4312920"/>
                <a:gd name="connsiteY149" fmla="*/ 4337108 h 4489508"/>
                <a:gd name="connsiteX150" fmla="*/ 1798320 w 4312920"/>
                <a:gd name="connsiteY150" fmla="*/ 4359968 h 4489508"/>
                <a:gd name="connsiteX151" fmla="*/ 1752600 w 4312920"/>
                <a:gd name="connsiteY151" fmla="*/ 4352348 h 4489508"/>
                <a:gd name="connsiteX152" fmla="*/ 1691640 w 4312920"/>
                <a:gd name="connsiteY152" fmla="*/ 4337108 h 4489508"/>
                <a:gd name="connsiteX153" fmla="*/ 1653540 w 4312920"/>
                <a:gd name="connsiteY153" fmla="*/ 4344728 h 4489508"/>
                <a:gd name="connsiteX154" fmla="*/ 1630680 w 4312920"/>
                <a:gd name="connsiteY154" fmla="*/ 4359968 h 4489508"/>
                <a:gd name="connsiteX155" fmla="*/ 1607820 w 4312920"/>
                <a:gd name="connsiteY155" fmla="*/ 4367588 h 4489508"/>
                <a:gd name="connsiteX156" fmla="*/ 1562100 w 4312920"/>
                <a:gd name="connsiteY156" fmla="*/ 4405688 h 4489508"/>
                <a:gd name="connsiteX157" fmla="*/ 1539240 w 4312920"/>
                <a:gd name="connsiteY157" fmla="*/ 4420928 h 4489508"/>
                <a:gd name="connsiteX158" fmla="*/ 1524000 w 4312920"/>
                <a:gd name="connsiteY158" fmla="*/ 4443788 h 4489508"/>
                <a:gd name="connsiteX159" fmla="*/ 1478280 w 4312920"/>
                <a:gd name="connsiteY159" fmla="*/ 4474268 h 4489508"/>
                <a:gd name="connsiteX160" fmla="*/ 1394460 w 4312920"/>
                <a:gd name="connsiteY160" fmla="*/ 4459028 h 4489508"/>
                <a:gd name="connsiteX161" fmla="*/ 1348740 w 4312920"/>
                <a:gd name="connsiteY161" fmla="*/ 4443788 h 4489508"/>
                <a:gd name="connsiteX162" fmla="*/ 1280160 w 4312920"/>
                <a:gd name="connsiteY162" fmla="*/ 4390448 h 4489508"/>
                <a:gd name="connsiteX163" fmla="*/ 1234440 w 4312920"/>
                <a:gd name="connsiteY163" fmla="*/ 4344728 h 4489508"/>
                <a:gd name="connsiteX164" fmla="*/ 1120140 w 4312920"/>
                <a:gd name="connsiteY164" fmla="*/ 4329488 h 4489508"/>
                <a:gd name="connsiteX165" fmla="*/ 1097280 w 4312920"/>
                <a:gd name="connsiteY165" fmla="*/ 4321868 h 4489508"/>
                <a:gd name="connsiteX166" fmla="*/ 1051560 w 4312920"/>
                <a:gd name="connsiteY166" fmla="*/ 4344728 h 4489508"/>
                <a:gd name="connsiteX167" fmla="*/ 1028700 w 4312920"/>
                <a:gd name="connsiteY167" fmla="*/ 4420928 h 4489508"/>
                <a:gd name="connsiteX168" fmla="*/ 1013460 w 4312920"/>
                <a:gd name="connsiteY168" fmla="*/ 4443788 h 4489508"/>
                <a:gd name="connsiteX169" fmla="*/ 1005840 w 4312920"/>
                <a:gd name="connsiteY169" fmla="*/ 4466648 h 4489508"/>
                <a:gd name="connsiteX170" fmla="*/ 960120 w 4312920"/>
                <a:gd name="connsiteY170" fmla="*/ 4489508 h 4489508"/>
                <a:gd name="connsiteX171" fmla="*/ 914400 w 4312920"/>
                <a:gd name="connsiteY171" fmla="*/ 4481888 h 4489508"/>
                <a:gd name="connsiteX172" fmla="*/ 899160 w 4312920"/>
                <a:gd name="connsiteY172" fmla="*/ 4459028 h 4489508"/>
                <a:gd name="connsiteX173" fmla="*/ 906780 w 4312920"/>
                <a:gd name="connsiteY173" fmla="*/ 4382828 h 4489508"/>
                <a:gd name="connsiteX174" fmla="*/ 929640 w 4312920"/>
                <a:gd name="connsiteY174" fmla="*/ 4299008 h 4489508"/>
                <a:gd name="connsiteX175" fmla="*/ 944880 w 4312920"/>
                <a:gd name="connsiteY175" fmla="*/ 4276148 h 4489508"/>
                <a:gd name="connsiteX176" fmla="*/ 960120 w 4312920"/>
                <a:gd name="connsiteY176" fmla="*/ 4230428 h 4489508"/>
                <a:gd name="connsiteX177" fmla="*/ 967740 w 4312920"/>
                <a:gd name="connsiteY177" fmla="*/ 4055168 h 4489508"/>
                <a:gd name="connsiteX178" fmla="*/ 975360 w 4312920"/>
                <a:gd name="connsiteY178" fmla="*/ 4024688 h 4489508"/>
                <a:gd name="connsiteX179" fmla="*/ 990600 w 4312920"/>
                <a:gd name="connsiteY179" fmla="*/ 3643688 h 4489508"/>
                <a:gd name="connsiteX180" fmla="*/ 998220 w 4312920"/>
                <a:gd name="connsiteY180" fmla="*/ 3597968 h 4489508"/>
                <a:gd name="connsiteX181" fmla="*/ 990600 w 4312920"/>
                <a:gd name="connsiteY181" fmla="*/ 3453188 h 4489508"/>
                <a:gd name="connsiteX182" fmla="*/ 982980 w 4312920"/>
                <a:gd name="connsiteY182" fmla="*/ 3422708 h 4489508"/>
                <a:gd name="connsiteX183" fmla="*/ 967740 w 4312920"/>
                <a:gd name="connsiteY183" fmla="*/ 3399848 h 4489508"/>
                <a:gd name="connsiteX184" fmla="*/ 937260 w 4312920"/>
                <a:gd name="connsiteY184" fmla="*/ 3346508 h 4489508"/>
                <a:gd name="connsiteX185" fmla="*/ 929640 w 4312920"/>
                <a:gd name="connsiteY185" fmla="*/ 3323648 h 4489508"/>
                <a:gd name="connsiteX186" fmla="*/ 914400 w 4312920"/>
                <a:gd name="connsiteY186" fmla="*/ 3270308 h 4489508"/>
                <a:gd name="connsiteX187" fmla="*/ 899160 w 4312920"/>
                <a:gd name="connsiteY187" fmla="*/ 3247448 h 4489508"/>
                <a:gd name="connsiteX188" fmla="*/ 868680 w 4312920"/>
                <a:gd name="connsiteY188" fmla="*/ 3194108 h 4489508"/>
                <a:gd name="connsiteX189" fmla="*/ 815340 w 4312920"/>
                <a:gd name="connsiteY189" fmla="*/ 3140768 h 4489508"/>
                <a:gd name="connsiteX190" fmla="*/ 769620 w 4312920"/>
                <a:gd name="connsiteY190" fmla="*/ 3102668 h 4489508"/>
                <a:gd name="connsiteX191" fmla="*/ 723900 w 4312920"/>
                <a:gd name="connsiteY191" fmla="*/ 3034088 h 4489508"/>
                <a:gd name="connsiteX192" fmla="*/ 708660 w 4312920"/>
                <a:gd name="connsiteY192" fmla="*/ 3011228 h 4489508"/>
                <a:gd name="connsiteX193" fmla="*/ 693420 w 4312920"/>
                <a:gd name="connsiteY193" fmla="*/ 2957888 h 4489508"/>
                <a:gd name="connsiteX194" fmla="*/ 685800 w 4312920"/>
                <a:gd name="connsiteY194" fmla="*/ 2828348 h 4489508"/>
                <a:gd name="connsiteX195" fmla="*/ 670560 w 4312920"/>
                <a:gd name="connsiteY195" fmla="*/ 2790248 h 4489508"/>
                <a:gd name="connsiteX196" fmla="*/ 662940 w 4312920"/>
                <a:gd name="connsiteY196" fmla="*/ 2767388 h 4489508"/>
                <a:gd name="connsiteX197" fmla="*/ 617220 w 4312920"/>
                <a:gd name="connsiteY197" fmla="*/ 2691188 h 4489508"/>
                <a:gd name="connsiteX198" fmla="*/ 609600 w 4312920"/>
                <a:gd name="connsiteY198" fmla="*/ 2668328 h 4489508"/>
                <a:gd name="connsiteX199" fmla="*/ 601980 w 4312920"/>
                <a:gd name="connsiteY199" fmla="*/ 2637848 h 4489508"/>
                <a:gd name="connsiteX200" fmla="*/ 579120 w 4312920"/>
                <a:gd name="connsiteY200" fmla="*/ 2614988 h 4489508"/>
                <a:gd name="connsiteX201" fmla="*/ 563880 w 4312920"/>
                <a:gd name="connsiteY201" fmla="*/ 2561648 h 4489508"/>
                <a:gd name="connsiteX202" fmla="*/ 533400 w 4312920"/>
                <a:gd name="connsiteY202" fmla="*/ 2515928 h 4489508"/>
                <a:gd name="connsiteX203" fmla="*/ 510540 w 4312920"/>
                <a:gd name="connsiteY203" fmla="*/ 2462588 h 4489508"/>
                <a:gd name="connsiteX204" fmla="*/ 480060 w 4312920"/>
                <a:gd name="connsiteY204" fmla="*/ 2409248 h 4489508"/>
                <a:gd name="connsiteX205" fmla="*/ 472440 w 4312920"/>
                <a:gd name="connsiteY205" fmla="*/ 2386388 h 4489508"/>
                <a:gd name="connsiteX206" fmla="*/ 434340 w 4312920"/>
                <a:gd name="connsiteY206" fmla="*/ 2340668 h 4489508"/>
                <a:gd name="connsiteX207" fmla="*/ 419100 w 4312920"/>
                <a:gd name="connsiteY207" fmla="*/ 2317808 h 4489508"/>
                <a:gd name="connsiteX208" fmla="*/ 396240 w 4312920"/>
                <a:gd name="connsiteY208" fmla="*/ 2294948 h 4489508"/>
                <a:gd name="connsiteX209" fmla="*/ 358140 w 4312920"/>
                <a:gd name="connsiteY209" fmla="*/ 2249228 h 4489508"/>
                <a:gd name="connsiteX210" fmla="*/ 335280 w 4312920"/>
                <a:gd name="connsiteY210" fmla="*/ 2241608 h 4489508"/>
                <a:gd name="connsiteX211" fmla="*/ 312420 w 4312920"/>
                <a:gd name="connsiteY211" fmla="*/ 2218748 h 4489508"/>
                <a:gd name="connsiteX212" fmla="*/ 281940 w 4312920"/>
                <a:gd name="connsiteY212" fmla="*/ 2195888 h 4489508"/>
                <a:gd name="connsiteX213" fmla="*/ 259080 w 4312920"/>
                <a:gd name="connsiteY213" fmla="*/ 2142548 h 4489508"/>
                <a:gd name="connsiteX214" fmla="*/ 228600 w 4312920"/>
                <a:gd name="connsiteY214" fmla="*/ 2096828 h 4489508"/>
                <a:gd name="connsiteX215" fmla="*/ 220980 w 4312920"/>
                <a:gd name="connsiteY215" fmla="*/ 2073968 h 4489508"/>
                <a:gd name="connsiteX216" fmla="*/ 205740 w 4312920"/>
                <a:gd name="connsiteY216" fmla="*/ 2035868 h 4489508"/>
                <a:gd name="connsiteX217" fmla="*/ 190500 w 4312920"/>
                <a:gd name="connsiteY217" fmla="*/ 2005388 h 4489508"/>
                <a:gd name="connsiteX218" fmla="*/ 175260 w 4312920"/>
                <a:gd name="connsiteY218" fmla="*/ 1982528 h 4489508"/>
                <a:gd name="connsiteX219" fmla="*/ 160020 w 4312920"/>
                <a:gd name="connsiteY219" fmla="*/ 1921568 h 4489508"/>
                <a:gd name="connsiteX220" fmla="*/ 137160 w 4312920"/>
                <a:gd name="connsiteY220" fmla="*/ 1891088 h 4489508"/>
                <a:gd name="connsiteX221" fmla="*/ 91440 w 4312920"/>
                <a:gd name="connsiteY221" fmla="*/ 1799648 h 4489508"/>
                <a:gd name="connsiteX222" fmla="*/ 53340 w 4312920"/>
                <a:gd name="connsiteY222" fmla="*/ 1746308 h 4489508"/>
                <a:gd name="connsiteX223" fmla="*/ 38100 w 4312920"/>
                <a:gd name="connsiteY223" fmla="*/ 1700588 h 4489508"/>
                <a:gd name="connsiteX224" fmla="*/ 0 w 4312920"/>
                <a:gd name="connsiteY224" fmla="*/ 1632008 h 4489508"/>
                <a:gd name="connsiteX225" fmla="*/ 7620 w 4312920"/>
                <a:gd name="connsiteY225" fmla="*/ 1510088 h 4489508"/>
                <a:gd name="connsiteX226" fmla="*/ 30480 w 4312920"/>
                <a:gd name="connsiteY226" fmla="*/ 1487228 h 4489508"/>
                <a:gd name="connsiteX227" fmla="*/ 45720 w 4312920"/>
                <a:gd name="connsiteY227" fmla="*/ 1464368 h 4489508"/>
                <a:gd name="connsiteX228" fmla="*/ 68580 w 4312920"/>
                <a:gd name="connsiteY228" fmla="*/ 1449128 h 4489508"/>
                <a:gd name="connsiteX229" fmla="*/ 114300 w 4312920"/>
                <a:gd name="connsiteY229" fmla="*/ 1418648 h 4489508"/>
                <a:gd name="connsiteX230" fmla="*/ 160020 w 4312920"/>
                <a:gd name="connsiteY230" fmla="*/ 1388168 h 4489508"/>
                <a:gd name="connsiteX231" fmla="*/ 182880 w 4312920"/>
                <a:gd name="connsiteY231" fmla="*/ 1372928 h 4489508"/>
                <a:gd name="connsiteX232" fmla="*/ 198120 w 4312920"/>
                <a:gd name="connsiteY232" fmla="*/ 1350068 h 4489508"/>
                <a:gd name="connsiteX233" fmla="*/ 243840 w 4312920"/>
                <a:gd name="connsiteY233" fmla="*/ 1304348 h 4489508"/>
                <a:gd name="connsiteX234" fmla="*/ 274320 w 4312920"/>
                <a:gd name="connsiteY234" fmla="*/ 1273868 h 4489508"/>
                <a:gd name="connsiteX235" fmla="*/ 289560 w 4312920"/>
                <a:gd name="connsiteY235" fmla="*/ 1251008 h 4489508"/>
                <a:gd name="connsiteX236" fmla="*/ 320040 w 4312920"/>
                <a:gd name="connsiteY236" fmla="*/ 1228148 h 4489508"/>
                <a:gd name="connsiteX237" fmla="*/ 365760 w 4312920"/>
                <a:gd name="connsiteY237" fmla="*/ 1182428 h 4489508"/>
                <a:gd name="connsiteX238" fmla="*/ 388620 w 4312920"/>
                <a:gd name="connsiteY238" fmla="*/ 1159568 h 4489508"/>
                <a:gd name="connsiteX239" fmla="*/ 419100 w 4312920"/>
                <a:gd name="connsiteY239" fmla="*/ 1113848 h 4489508"/>
                <a:gd name="connsiteX240" fmla="*/ 441960 w 4312920"/>
                <a:gd name="connsiteY240" fmla="*/ 1090988 h 4489508"/>
                <a:gd name="connsiteX241" fmla="*/ 457200 w 4312920"/>
                <a:gd name="connsiteY241" fmla="*/ 1060508 h 4489508"/>
                <a:gd name="connsiteX242" fmla="*/ 480060 w 4312920"/>
                <a:gd name="connsiteY242" fmla="*/ 1030028 h 4489508"/>
                <a:gd name="connsiteX243" fmla="*/ 495300 w 4312920"/>
                <a:gd name="connsiteY243" fmla="*/ 976688 h 4489508"/>
                <a:gd name="connsiteX244" fmla="*/ 541020 w 4312920"/>
                <a:gd name="connsiteY244" fmla="*/ 930968 h 4489508"/>
                <a:gd name="connsiteX245" fmla="*/ 563880 w 4312920"/>
                <a:gd name="connsiteY245" fmla="*/ 908108 h 4489508"/>
                <a:gd name="connsiteX246" fmla="*/ 601980 w 4312920"/>
                <a:gd name="connsiteY246" fmla="*/ 862388 h 4489508"/>
                <a:gd name="connsiteX247" fmla="*/ 617220 w 4312920"/>
                <a:gd name="connsiteY247" fmla="*/ 839528 h 4489508"/>
                <a:gd name="connsiteX248" fmla="*/ 640080 w 4312920"/>
                <a:gd name="connsiteY248" fmla="*/ 816668 h 4489508"/>
                <a:gd name="connsiteX249" fmla="*/ 655320 w 4312920"/>
                <a:gd name="connsiteY249" fmla="*/ 786188 h 4489508"/>
                <a:gd name="connsiteX250" fmla="*/ 723900 w 4312920"/>
                <a:gd name="connsiteY250" fmla="*/ 717608 h 4489508"/>
                <a:gd name="connsiteX251" fmla="*/ 739140 w 4312920"/>
                <a:gd name="connsiteY251" fmla="*/ 694748 h 4489508"/>
                <a:gd name="connsiteX252" fmla="*/ 784860 w 4312920"/>
                <a:gd name="connsiteY252" fmla="*/ 649028 h 4489508"/>
                <a:gd name="connsiteX253" fmla="*/ 830580 w 4312920"/>
                <a:gd name="connsiteY253" fmla="*/ 603308 h 4489508"/>
                <a:gd name="connsiteX254" fmla="*/ 845820 w 4312920"/>
                <a:gd name="connsiteY254" fmla="*/ 580448 h 4489508"/>
                <a:gd name="connsiteX255" fmla="*/ 891540 w 4312920"/>
                <a:gd name="connsiteY255" fmla="*/ 534728 h 4489508"/>
                <a:gd name="connsiteX256" fmla="*/ 914400 w 4312920"/>
                <a:gd name="connsiteY256" fmla="*/ 511868 h 4489508"/>
                <a:gd name="connsiteX257" fmla="*/ 952500 w 4312920"/>
                <a:gd name="connsiteY257" fmla="*/ 450908 h 4489508"/>
                <a:gd name="connsiteX258" fmla="*/ 975360 w 4312920"/>
                <a:gd name="connsiteY258" fmla="*/ 420428 h 4489508"/>
                <a:gd name="connsiteX259" fmla="*/ 990600 w 4312920"/>
                <a:gd name="connsiteY259" fmla="*/ 397568 h 4489508"/>
                <a:gd name="connsiteX260" fmla="*/ 1013460 w 4312920"/>
                <a:gd name="connsiteY260" fmla="*/ 374708 h 4489508"/>
                <a:gd name="connsiteX261" fmla="*/ 1036320 w 4312920"/>
                <a:gd name="connsiteY261" fmla="*/ 321368 h 4489508"/>
                <a:gd name="connsiteX262" fmla="*/ 1059180 w 4312920"/>
                <a:gd name="connsiteY262" fmla="*/ 298508 h 4489508"/>
                <a:gd name="connsiteX263" fmla="*/ 1074420 w 4312920"/>
                <a:gd name="connsiteY263" fmla="*/ 275648 h 4489508"/>
                <a:gd name="connsiteX264" fmla="*/ 1097280 w 4312920"/>
                <a:gd name="connsiteY264" fmla="*/ 252788 h 4489508"/>
                <a:gd name="connsiteX265" fmla="*/ 1135380 w 4312920"/>
                <a:gd name="connsiteY265" fmla="*/ 207068 h 4489508"/>
                <a:gd name="connsiteX266" fmla="*/ 1143000 w 4312920"/>
                <a:gd name="connsiteY266" fmla="*/ 184208 h 4489508"/>
                <a:gd name="connsiteX267" fmla="*/ 1181100 w 4312920"/>
                <a:gd name="connsiteY267" fmla="*/ 130868 h 4489508"/>
                <a:gd name="connsiteX268" fmla="*/ 1226820 w 4312920"/>
                <a:gd name="connsiteY268" fmla="*/ 85148 h 4489508"/>
                <a:gd name="connsiteX269" fmla="*/ 1249680 w 4312920"/>
                <a:gd name="connsiteY269" fmla="*/ 62288 h 4489508"/>
                <a:gd name="connsiteX270" fmla="*/ 1295400 w 4312920"/>
                <a:gd name="connsiteY270" fmla="*/ 24188 h 4489508"/>
                <a:gd name="connsiteX271" fmla="*/ 1325880 w 4312920"/>
                <a:gd name="connsiteY271" fmla="*/ 1328 h 4489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</a:cxnLst>
              <a:rect l="l" t="t" r="r" b="b"/>
              <a:pathLst>
                <a:path w="4312920" h="4489508">
                  <a:moveTo>
                    <a:pt x="1325880" y="1328"/>
                  </a:moveTo>
                  <a:cubicBezTo>
                    <a:pt x="1369060" y="6408"/>
                    <a:pt x="1477553" y="40356"/>
                    <a:pt x="1554480" y="54668"/>
                  </a:cubicBezTo>
                  <a:cubicBezTo>
                    <a:pt x="1587039" y="60725"/>
                    <a:pt x="1620547" y="59419"/>
                    <a:pt x="1653540" y="62288"/>
                  </a:cubicBezTo>
                  <a:cubicBezTo>
                    <a:pt x="1828064" y="77464"/>
                    <a:pt x="1610579" y="62899"/>
                    <a:pt x="1859280" y="77528"/>
                  </a:cubicBezTo>
                  <a:lnTo>
                    <a:pt x="1927860" y="100388"/>
                  </a:lnTo>
                  <a:cubicBezTo>
                    <a:pt x="1942517" y="105274"/>
                    <a:pt x="1958224" y="106302"/>
                    <a:pt x="1973580" y="108008"/>
                  </a:cubicBezTo>
                  <a:cubicBezTo>
                    <a:pt x="2003979" y="111386"/>
                    <a:pt x="2034586" y="112585"/>
                    <a:pt x="2065020" y="115628"/>
                  </a:cubicBezTo>
                  <a:cubicBezTo>
                    <a:pt x="2085397" y="117666"/>
                    <a:pt x="2105660" y="120708"/>
                    <a:pt x="2125980" y="123248"/>
                  </a:cubicBezTo>
                  <a:cubicBezTo>
                    <a:pt x="2138680" y="128328"/>
                    <a:pt x="2151104" y="134163"/>
                    <a:pt x="2164080" y="138488"/>
                  </a:cubicBezTo>
                  <a:cubicBezTo>
                    <a:pt x="2174015" y="141800"/>
                    <a:pt x="2184490" y="143231"/>
                    <a:pt x="2194560" y="146108"/>
                  </a:cubicBezTo>
                  <a:cubicBezTo>
                    <a:pt x="2202283" y="148315"/>
                    <a:pt x="2209800" y="151188"/>
                    <a:pt x="2217420" y="153728"/>
                  </a:cubicBezTo>
                  <a:cubicBezTo>
                    <a:pt x="2225040" y="158808"/>
                    <a:pt x="2231911" y="165249"/>
                    <a:pt x="2240280" y="168968"/>
                  </a:cubicBezTo>
                  <a:cubicBezTo>
                    <a:pt x="2285324" y="188988"/>
                    <a:pt x="2361037" y="199215"/>
                    <a:pt x="2400300" y="207068"/>
                  </a:cubicBezTo>
                  <a:cubicBezTo>
                    <a:pt x="2408176" y="208643"/>
                    <a:pt x="2415540" y="212148"/>
                    <a:pt x="2423160" y="214688"/>
                  </a:cubicBezTo>
                  <a:cubicBezTo>
                    <a:pt x="2488674" y="258364"/>
                    <a:pt x="2405784" y="206000"/>
                    <a:pt x="2468880" y="237548"/>
                  </a:cubicBezTo>
                  <a:cubicBezTo>
                    <a:pt x="2477071" y="241644"/>
                    <a:pt x="2483549" y="248692"/>
                    <a:pt x="2491740" y="252788"/>
                  </a:cubicBezTo>
                  <a:cubicBezTo>
                    <a:pt x="2498924" y="256380"/>
                    <a:pt x="2507217" y="257244"/>
                    <a:pt x="2514600" y="260408"/>
                  </a:cubicBezTo>
                  <a:cubicBezTo>
                    <a:pt x="2525041" y="264883"/>
                    <a:pt x="2535217" y="270012"/>
                    <a:pt x="2545080" y="275648"/>
                  </a:cubicBezTo>
                  <a:cubicBezTo>
                    <a:pt x="2553031" y="280192"/>
                    <a:pt x="2559571" y="287169"/>
                    <a:pt x="2567940" y="290888"/>
                  </a:cubicBezTo>
                  <a:cubicBezTo>
                    <a:pt x="2582620" y="297412"/>
                    <a:pt x="2599292" y="298944"/>
                    <a:pt x="2613660" y="306128"/>
                  </a:cubicBezTo>
                  <a:lnTo>
                    <a:pt x="2644140" y="321368"/>
                  </a:lnTo>
                  <a:cubicBezTo>
                    <a:pt x="2655044" y="343176"/>
                    <a:pt x="2661394" y="352284"/>
                    <a:pt x="2667000" y="374708"/>
                  </a:cubicBezTo>
                  <a:cubicBezTo>
                    <a:pt x="2676216" y="411572"/>
                    <a:pt x="2670957" y="416253"/>
                    <a:pt x="2689860" y="450908"/>
                  </a:cubicBezTo>
                  <a:cubicBezTo>
                    <a:pt x="2711735" y="491011"/>
                    <a:pt x="2715968" y="492256"/>
                    <a:pt x="2743200" y="519488"/>
                  </a:cubicBezTo>
                  <a:cubicBezTo>
                    <a:pt x="2758651" y="565842"/>
                    <a:pt x="2740737" y="518783"/>
                    <a:pt x="2766060" y="565208"/>
                  </a:cubicBezTo>
                  <a:cubicBezTo>
                    <a:pt x="2808419" y="642866"/>
                    <a:pt x="2777127" y="606755"/>
                    <a:pt x="2819400" y="649028"/>
                  </a:cubicBezTo>
                  <a:cubicBezTo>
                    <a:pt x="2842707" y="718948"/>
                    <a:pt x="2803748" y="610104"/>
                    <a:pt x="2849880" y="702368"/>
                  </a:cubicBezTo>
                  <a:cubicBezTo>
                    <a:pt x="2854564" y="711735"/>
                    <a:pt x="2854623" y="722778"/>
                    <a:pt x="2857500" y="732848"/>
                  </a:cubicBezTo>
                  <a:cubicBezTo>
                    <a:pt x="2865387" y="760453"/>
                    <a:pt x="2863662" y="753521"/>
                    <a:pt x="2880360" y="778568"/>
                  </a:cubicBezTo>
                  <a:cubicBezTo>
                    <a:pt x="2882900" y="796348"/>
                    <a:pt x="2871629" y="824476"/>
                    <a:pt x="2887980" y="831908"/>
                  </a:cubicBezTo>
                  <a:cubicBezTo>
                    <a:pt x="2911561" y="842627"/>
                    <a:pt x="2938594" y="820708"/>
                    <a:pt x="2964180" y="816668"/>
                  </a:cubicBezTo>
                  <a:cubicBezTo>
                    <a:pt x="2986899" y="813081"/>
                    <a:pt x="3009900" y="811588"/>
                    <a:pt x="3032760" y="809048"/>
                  </a:cubicBezTo>
                  <a:cubicBezTo>
                    <a:pt x="3093363" y="793897"/>
                    <a:pt x="3033274" y="813109"/>
                    <a:pt x="3093720" y="778568"/>
                  </a:cubicBezTo>
                  <a:cubicBezTo>
                    <a:pt x="3102855" y="773348"/>
                    <a:pt x="3139637" y="765449"/>
                    <a:pt x="3147060" y="763328"/>
                  </a:cubicBezTo>
                  <a:cubicBezTo>
                    <a:pt x="3200043" y="748190"/>
                    <a:pt x="3135376" y="764852"/>
                    <a:pt x="3200400" y="740468"/>
                  </a:cubicBezTo>
                  <a:cubicBezTo>
                    <a:pt x="3218588" y="733648"/>
                    <a:pt x="3260798" y="727862"/>
                    <a:pt x="3276600" y="725228"/>
                  </a:cubicBezTo>
                  <a:cubicBezTo>
                    <a:pt x="3284220" y="722688"/>
                    <a:pt x="3292276" y="721200"/>
                    <a:pt x="3299460" y="717608"/>
                  </a:cubicBezTo>
                  <a:cubicBezTo>
                    <a:pt x="3307651" y="713512"/>
                    <a:pt x="3313951" y="706087"/>
                    <a:pt x="3322320" y="702368"/>
                  </a:cubicBezTo>
                  <a:cubicBezTo>
                    <a:pt x="3337000" y="695844"/>
                    <a:pt x="3368040" y="687128"/>
                    <a:pt x="3368040" y="687128"/>
                  </a:cubicBezTo>
                  <a:cubicBezTo>
                    <a:pt x="3422726" y="650670"/>
                    <a:pt x="3400808" y="643696"/>
                    <a:pt x="3436620" y="679508"/>
                  </a:cubicBezTo>
                  <a:cubicBezTo>
                    <a:pt x="3432556" y="695764"/>
                    <a:pt x="3420364" y="724212"/>
                    <a:pt x="3436620" y="740468"/>
                  </a:cubicBezTo>
                  <a:cubicBezTo>
                    <a:pt x="3444025" y="747873"/>
                    <a:pt x="3456940" y="745548"/>
                    <a:pt x="3467100" y="748088"/>
                  </a:cubicBezTo>
                  <a:cubicBezTo>
                    <a:pt x="3474720" y="753168"/>
                    <a:pt x="3483484" y="756852"/>
                    <a:pt x="3489960" y="763328"/>
                  </a:cubicBezTo>
                  <a:cubicBezTo>
                    <a:pt x="3511798" y="785166"/>
                    <a:pt x="3500425" y="784258"/>
                    <a:pt x="3512820" y="809048"/>
                  </a:cubicBezTo>
                  <a:cubicBezTo>
                    <a:pt x="3516916" y="817239"/>
                    <a:pt x="3522980" y="824288"/>
                    <a:pt x="3528060" y="831908"/>
                  </a:cubicBezTo>
                  <a:cubicBezTo>
                    <a:pt x="3525520" y="839528"/>
                    <a:pt x="3523604" y="847385"/>
                    <a:pt x="3520440" y="854768"/>
                  </a:cubicBezTo>
                  <a:cubicBezTo>
                    <a:pt x="3515965" y="865209"/>
                    <a:pt x="3506143" y="873928"/>
                    <a:pt x="3505200" y="885248"/>
                  </a:cubicBezTo>
                  <a:cubicBezTo>
                    <a:pt x="3503499" y="905655"/>
                    <a:pt x="3505822" y="926963"/>
                    <a:pt x="3512820" y="946208"/>
                  </a:cubicBezTo>
                  <a:cubicBezTo>
                    <a:pt x="3516503" y="956336"/>
                    <a:pt x="3528060" y="961448"/>
                    <a:pt x="3535680" y="969068"/>
                  </a:cubicBezTo>
                  <a:cubicBezTo>
                    <a:pt x="3533140" y="979228"/>
                    <a:pt x="3530937" y="989478"/>
                    <a:pt x="3528060" y="999548"/>
                  </a:cubicBezTo>
                  <a:cubicBezTo>
                    <a:pt x="3523177" y="1016639"/>
                    <a:pt x="3509562" y="1032209"/>
                    <a:pt x="3535680" y="1045268"/>
                  </a:cubicBezTo>
                  <a:cubicBezTo>
                    <a:pt x="3549499" y="1052178"/>
                    <a:pt x="3566160" y="1050348"/>
                    <a:pt x="3581400" y="1052888"/>
                  </a:cubicBezTo>
                  <a:cubicBezTo>
                    <a:pt x="3589020" y="1060508"/>
                    <a:pt x="3598282" y="1066782"/>
                    <a:pt x="3604260" y="1075748"/>
                  </a:cubicBezTo>
                  <a:cubicBezTo>
                    <a:pt x="3608715" y="1082431"/>
                    <a:pt x="3608288" y="1091424"/>
                    <a:pt x="3611880" y="1098608"/>
                  </a:cubicBezTo>
                  <a:cubicBezTo>
                    <a:pt x="3621746" y="1118339"/>
                    <a:pt x="3627053" y="1127177"/>
                    <a:pt x="3649980" y="1129088"/>
                  </a:cubicBezTo>
                  <a:cubicBezTo>
                    <a:pt x="3703196" y="1133523"/>
                    <a:pt x="3756660" y="1134168"/>
                    <a:pt x="3810000" y="1136708"/>
                  </a:cubicBezTo>
                  <a:cubicBezTo>
                    <a:pt x="3898863" y="1225571"/>
                    <a:pt x="3834186" y="1181531"/>
                    <a:pt x="4038600" y="1190048"/>
                  </a:cubicBezTo>
                  <a:cubicBezTo>
                    <a:pt x="4090000" y="1241448"/>
                    <a:pt x="4063873" y="1228952"/>
                    <a:pt x="4107180" y="1243388"/>
                  </a:cubicBezTo>
                  <a:cubicBezTo>
                    <a:pt x="4159583" y="1278323"/>
                    <a:pt x="4135524" y="1268076"/>
                    <a:pt x="4175760" y="1281488"/>
                  </a:cubicBezTo>
                  <a:cubicBezTo>
                    <a:pt x="4193718" y="1335362"/>
                    <a:pt x="4172537" y="1266836"/>
                    <a:pt x="4191000" y="1365308"/>
                  </a:cubicBezTo>
                  <a:cubicBezTo>
                    <a:pt x="4194860" y="1385895"/>
                    <a:pt x="4201160" y="1405948"/>
                    <a:pt x="4206240" y="1426268"/>
                  </a:cubicBezTo>
                  <a:cubicBezTo>
                    <a:pt x="4208854" y="1436723"/>
                    <a:pt x="4221480" y="1441508"/>
                    <a:pt x="4229100" y="1449128"/>
                  </a:cubicBezTo>
                  <a:cubicBezTo>
                    <a:pt x="4231640" y="1456748"/>
                    <a:pt x="4232819" y="1464967"/>
                    <a:pt x="4236720" y="1471988"/>
                  </a:cubicBezTo>
                  <a:cubicBezTo>
                    <a:pt x="4245615" y="1487999"/>
                    <a:pt x="4267200" y="1517708"/>
                    <a:pt x="4267200" y="1517708"/>
                  </a:cubicBezTo>
                  <a:cubicBezTo>
                    <a:pt x="4269740" y="1527868"/>
                    <a:pt x="4270695" y="1538562"/>
                    <a:pt x="4274820" y="1548188"/>
                  </a:cubicBezTo>
                  <a:cubicBezTo>
                    <a:pt x="4278428" y="1556606"/>
                    <a:pt x="4285516" y="1563097"/>
                    <a:pt x="4290060" y="1571048"/>
                  </a:cubicBezTo>
                  <a:cubicBezTo>
                    <a:pt x="4305126" y="1597413"/>
                    <a:pt x="4304371" y="1598741"/>
                    <a:pt x="4312920" y="1624388"/>
                  </a:cubicBezTo>
                  <a:cubicBezTo>
                    <a:pt x="4302760" y="1634548"/>
                    <a:pt x="4295291" y="1648442"/>
                    <a:pt x="4282440" y="1654868"/>
                  </a:cubicBezTo>
                  <a:cubicBezTo>
                    <a:pt x="4268621" y="1661778"/>
                    <a:pt x="4252035" y="1660446"/>
                    <a:pt x="4236720" y="1662488"/>
                  </a:cubicBezTo>
                  <a:cubicBezTo>
                    <a:pt x="4213921" y="1665528"/>
                    <a:pt x="4191000" y="1667568"/>
                    <a:pt x="4168140" y="1670108"/>
                  </a:cubicBezTo>
                  <a:cubicBezTo>
                    <a:pt x="4157980" y="1672648"/>
                    <a:pt x="4146753" y="1672532"/>
                    <a:pt x="4137660" y="1677728"/>
                  </a:cubicBezTo>
                  <a:cubicBezTo>
                    <a:pt x="4128304" y="1683075"/>
                    <a:pt x="4124806" y="1696586"/>
                    <a:pt x="4114800" y="1700588"/>
                  </a:cubicBezTo>
                  <a:cubicBezTo>
                    <a:pt x="4098124" y="1707258"/>
                    <a:pt x="4079131" y="1704995"/>
                    <a:pt x="4061460" y="1708208"/>
                  </a:cubicBezTo>
                  <a:cubicBezTo>
                    <a:pt x="4051156" y="1710081"/>
                    <a:pt x="4041140" y="1713288"/>
                    <a:pt x="4030980" y="1715828"/>
                  </a:cubicBezTo>
                  <a:cubicBezTo>
                    <a:pt x="3964194" y="1782614"/>
                    <a:pt x="4048913" y="1700884"/>
                    <a:pt x="3985260" y="1753928"/>
                  </a:cubicBezTo>
                  <a:cubicBezTo>
                    <a:pt x="3976981" y="1760827"/>
                    <a:pt x="3971169" y="1770524"/>
                    <a:pt x="3962400" y="1776788"/>
                  </a:cubicBezTo>
                  <a:cubicBezTo>
                    <a:pt x="3953157" y="1783390"/>
                    <a:pt x="3941163" y="1785426"/>
                    <a:pt x="3931920" y="1792028"/>
                  </a:cubicBezTo>
                  <a:cubicBezTo>
                    <a:pt x="3923151" y="1798292"/>
                    <a:pt x="3917339" y="1807989"/>
                    <a:pt x="3909060" y="1814888"/>
                  </a:cubicBezTo>
                  <a:cubicBezTo>
                    <a:pt x="3889365" y="1831301"/>
                    <a:pt x="3886251" y="1830111"/>
                    <a:pt x="3863340" y="1837748"/>
                  </a:cubicBezTo>
                  <a:lnTo>
                    <a:pt x="3817620" y="1883468"/>
                  </a:lnTo>
                  <a:cubicBezTo>
                    <a:pt x="3757680" y="1943408"/>
                    <a:pt x="3834317" y="1846668"/>
                    <a:pt x="3771900" y="1921568"/>
                  </a:cubicBezTo>
                  <a:cubicBezTo>
                    <a:pt x="3766037" y="1928603"/>
                    <a:pt x="3762523" y="1937393"/>
                    <a:pt x="3756660" y="1944428"/>
                  </a:cubicBezTo>
                  <a:cubicBezTo>
                    <a:pt x="3735594" y="1969707"/>
                    <a:pt x="3732749" y="1961769"/>
                    <a:pt x="3718560" y="1990148"/>
                  </a:cubicBezTo>
                  <a:cubicBezTo>
                    <a:pt x="3713094" y="2001080"/>
                    <a:pt x="3705761" y="2033722"/>
                    <a:pt x="3703320" y="2043488"/>
                  </a:cubicBezTo>
                  <a:cubicBezTo>
                    <a:pt x="3700780" y="2089208"/>
                    <a:pt x="3700757" y="2135138"/>
                    <a:pt x="3695700" y="2180648"/>
                  </a:cubicBezTo>
                  <a:cubicBezTo>
                    <a:pt x="3693114" y="2203922"/>
                    <a:pt x="3684530" y="2226167"/>
                    <a:pt x="3680460" y="2249228"/>
                  </a:cubicBezTo>
                  <a:cubicBezTo>
                    <a:pt x="3676901" y="2269395"/>
                    <a:pt x="3674984" y="2289822"/>
                    <a:pt x="3672840" y="2310188"/>
                  </a:cubicBezTo>
                  <a:cubicBezTo>
                    <a:pt x="3670945" y="2328188"/>
                    <a:pt x="3664481" y="2419822"/>
                    <a:pt x="3657600" y="2447348"/>
                  </a:cubicBezTo>
                  <a:cubicBezTo>
                    <a:pt x="3654283" y="2460618"/>
                    <a:pt x="3646685" y="2472472"/>
                    <a:pt x="3642360" y="2485448"/>
                  </a:cubicBezTo>
                  <a:cubicBezTo>
                    <a:pt x="3639048" y="2495383"/>
                    <a:pt x="3636670" y="2505635"/>
                    <a:pt x="3634740" y="2515928"/>
                  </a:cubicBezTo>
                  <a:cubicBezTo>
                    <a:pt x="3629045" y="2546299"/>
                    <a:pt x="3629272" y="2578053"/>
                    <a:pt x="3619500" y="2607368"/>
                  </a:cubicBezTo>
                  <a:cubicBezTo>
                    <a:pt x="3583283" y="2716018"/>
                    <a:pt x="3619672" y="2602955"/>
                    <a:pt x="3596640" y="2683568"/>
                  </a:cubicBezTo>
                  <a:cubicBezTo>
                    <a:pt x="3594433" y="2691291"/>
                    <a:pt x="3590826" y="2698602"/>
                    <a:pt x="3589020" y="2706428"/>
                  </a:cubicBezTo>
                  <a:cubicBezTo>
                    <a:pt x="3583195" y="2731668"/>
                    <a:pt x="3581971" y="2758054"/>
                    <a:pt x="3573780" y="2782628"/>
                  </a:cubicBezTo>
                  <a:cubicBezTo>
                    <a:pt x="3560163" y="2823478"/>
                    <a:pt x="3570800" y="2788417"/>
                    <a:pt x="3558540" y="2843588"/>
                  </a:cubicBezTo>
                  <a:cubicBezTo>
                    <a:pt x="3556268" y="2853811"/>
                    <a:pt x="3552974" y="2863799"/>
                    <a:pt x="3550920" y="2874068"/>
                  </a:cubicBezTo>
                  <a:cubicBezTo>
                    <a:pt x="3545292" y="2902206"/>
                    <a:pt x="3544530" y="2923719"/>
                    <a:pt x="3535680" y="2950268"/>
                  </a:cubicBezTo>
                  <a:cubicBezTo>
                    <a:pt x="3531355" y="2963244"/>
                    <a:pt x="3524765" y="2975392"/>
                    <a:pt x="3520440" y="2988368"/>
                  </a:cubicBezTo>
                  <a:cubicBezTo>
                    <a:pt x="3515548" y="3003045"/>
                    <a:pt x="3507616" y="3043661"/>
                    <a:pt x="3505200" y="3056948"/>
                  </a:cubicBezTo>
                  <a:cubicBezTo>
                    <a:pt x="3502436" y="3072149"/>
                    <a:pt x="3502776" y="3088118"/>
                    <a:pt x="3497580" y="3102668"/>
                  </a:cubicBezTo>
                  <a:cubicBezTo>
                    <a:pt x="3489939" y="3124063"/>
                    <a:pt x="3477260" y="3143308"/>
                    <a:pt x="3467100" y="3163628"/>
                  </a:cubicBezTo>
                  <a:cubicBezTo>
                    <a:pt x="3452254" y="3193321"/>
                    <a:pt x="3466840" y="3190753"/>
                    <a:pt x="3451860" y="3216968"/>
                  </a:cubicBezTo>
                  <a:cubicBezTo>
                    <a:pt x="3445559" y="3227995"/>
                    <a:pt x="3436620" y="3237288"/>
                    <a:pt x="3429000" y="3247448"/>
                  </a:cubicBezTo>
                  <a:cubicBezTo>
                    <a:pt x="3426460" y="3257608"/>
                    <a:pt x="3426064" y="3268561"/>
                    <a:pt x="3421380" y="3277928"/>
                  </a:cubicBezTo>
                  <a:cubicBezTo>
                    <a:pt x="3386096" y="3348497"/>
                    <a:pt x="3403161" y="3301352"/>
                    <a:pt x="3368040" y="3346508"/>
                  </a:cubicBezTo>
                  <a:cubicBezTo>
                    <a:pt x="3356795" y="3360966"/>
                    <a:pt x="3337560" y="3392228"/>
                    <a:pt x="3337560" y="3392228"/>
                  </a:cubicBezTo>
                  <a:cubicBezTo>
                    <a:pt x="3351387" y="3489017"/>
                    <a:pt x="3323546" y="3417102"/>
                    <a:pt x="3413760" y="3453188"/>
                  </a:cubicBezTo>
                  <a:cubicBezTo>
                    <a:pt x="3421218" y="3456171"/>
                    <a:pt x="3416711" y="3469512"/>
                    <a:pt x="3421380" y="3476048"/>
                  </a:cubicBezTo>
                  <a:cubicBezTo>
                    <a:pt x="3429731" y="3487740"/>
                    <a:pt x="3441700" y="3496368"/>
                    <a:pt x="3451860" y="3506528"/>
                  </a:cubicBezTo>
                  <a:cubicBezTo>
                    <a:pt x="3454400" y="3514148"/>
                    <a:pt x="3459480" y="3521356"/>
                    <a:pt x="3459480" y="3529388"/>
                  </a:cubicBezTo>
                  <a:cubicBezTo>
                    <a:pt x="3459480" y="3537420"/>
                    <a:pt x="3456315" y="3545565"/>
                    <a:pt x="3451860" y="3552248"/>
                  </a:cubicBezTo>
                  <a:cubicBezTo>
                    <a:pt x="3440126" y="3569849"/>
                    <a:pt x="3423008" y="3579103"/>
                    <a:pt x="3406140" y="3590348"/>
                  </a:cubicBezTo>
                  <a:cubicBezTo>
                    <a:pt x="3400806" y="3606349"/>
                    <a:pt x="3397067" y="3624251"/>
                    <a:pt x="3383280" y="3636068"/>
                  </a:cubicBezTo>
                  <a:cubicBezTo>
                    <a:pt x="3372035" y="3645707"/>
                    <a:pt x="3357028" y="3650042"/>
                    <a:pt x="3345180" y="3658928"/>
                  </a:cubicBezTo>
                  <a:cubicBezTo>
                    <a:pt x="3336559" y="3665394"/>
                    <a:pt x="3330599" y="3674889"/>
                    <a:pt x="3322320" y="3681788"/>
                  </a:cubicBezTo>
                  <a:cubicBezTo>
                    <a:pt x="3315285" y="3687651"/>
                    <a:pt x="3306305" y="3690944"/>
                    <a:pt x="3299460" y="3697028"/>
                  </a:cubicBezTo>
                  <a:cubicBezTo>
                    <a:pt x="3283351" y="3711347"/>
                    <a:pt x="3268980" y="3727508"/>
                    <a:pt x="3253740" y="3742748"/>
                  </a:cubicBezTo>
                  <a:cubicBezTo>
                    <a:pt x="3245708" y="3750780"/>
                    <a:pt x="3243580" y="3763068"/>
                    <a:pt x="3238500" y="3773228"/>
                  </a:cubicBezTo>
                  <a:cubicBezTo>
                    <a:pt x="3248760" y="3845049"/>
                    <a:pt x="3248681" y="3806111"/>
                    <a:pt x="3238500" y="3872288"/>
                  </a:cubicBezTo>
                  <a:cubicBezTo>
                    <a:pt x="3235769" y="3890040"/>
                    <a:pt x="3238174" y="3909215"/>
                    <a:pt x="3230880" y="3925628"/>
                  </a:cubicBezTo>
                  <a:cubicBezTo>
                    <a:pt x="3227161" y="3933997"/>
                    <a:pt x="3216211" y="3936772"/>
                    <a:pt x="3208020" y="3940868"/>
                  </a:cubicBezTo>
                  <a:cubicBezTo>
                    <a:pt x="3188247" y="3950755"/>
                    <a:pt x="3158951" y="3952206"/>
                    <a:pt x="3139440" y="3956108"/>
                  </a:cubicBezTo>
                  <a:cubicBezTo>
                    <a:pt x="3129171" y="3958162"/>
                    <a:pt x="3119120" y="3961188"/>
                    <a:pt x="3108960" y="3963728"/>
                  </a:cubicBezTo>
                  <a:cubicBezTo>
                    <a:pt x="3101340" y="3968808"/>
                    <a:pt x="3094935" y="3976558"/>
                    <a:pt x="3086100" y="3978968"/>
                  </a:cubicBezTo>
                  <a:cubicBezTo>
                    <a:pt x="3066343" y="3984356"/>
                    <a:pt x="3045412" y="3983692"/>
                    <a:pt x="3025140" y="3986588"/>
                  </a:cubicBezTo>
                  <a:cubicBezTo>
                    <a:pt x="3009845" y="3988773"/>
                    <a:pt x="2994660" y="3991668"/>
                    <a:pt x="2979420" y="3994208"/>
                  </a:cubicBezTo>
                  <a:cubicBezTo>
                    <a:pt x="2971800" y="3996748"/>
                    <a:pt x="2963943" y="3998664"/>
                    <a:pt x="2956560" y="4001828"/>
                  </a:cubicBezTo>
                  <a:cubicBezTo>
                    <a:pt x="2890648" y="4030076"/>
                    <a:pt x="2956831" y="4006818"/>
                    <a:pt x="2903220" y="4024688"/>
                  </a:cubicBezTo>
                  <a:cubicBezTo>
                    <a:pt x="2880360" y="4022148"/>
                    <a:pt x="2856954" y="4022646"/>
                    <a:pt x="2834640" y="4017068"/>
                  </a:cubicBezTo>
                  <a:cubicBezTo>
                    <a:pt x="2825755" y="4014847"/>
                    <a:pt x="2819232" y="4007151"/>
                    <a:pt x="2811780" y="4001828"/>
                  </a:cubicBezTo>
                  <a:cubicBezTo>
                    <a:pt x="2731876" y="3944753"/>
                    <a:pt x="2824903" y="4011494"/>
                    <a:pt x="2758440" y="3956108"/>
                  </a:cubicBezTo>
                  <a:cubicBezTo>
                    <a:pt x="2751405" y="3950245"/>
                    <a:pt x="2743200" y="3945948"/>
                    <a:pt x="2735580" y="3940868"/>
                  </a:cubicBezTo>
                  <a:cubicBezTo>
                    <a:pt x="2720340" y="3945948"/>
                    <a:pt x="2705763" y="3953836"/>
                    <a:pt x="2689860" y="3956108"/>
                  </a:cubicBezTo>
                  <a:cubicBezTo>
                    <a:pt x="2623699" y="3965560"/>
                    <a:pt x="2654132" y="3960206"/>
                    <a:pt x="2598420" y="3971348"/>
                  </a:cubicBezTo>
                  <a:cubicBezTo>
                    <a:pt x="2590800" y="3976428"/>
                    <a:pt x="2582595" y="3980725"/>
                    <a:pt x="2575560" y="3986588"/>
                  </a:cubicBezTo>
                  <a:cubicBezTo>
                    <a:pt x="2567281" y="3993487"/>
                    <a:pt x="2561666" y="4003470"/>
                    <a:pt x="2552700" y="4009448"/>
                  </a:cubicBezTo>
                  <a:cubicBezTo>
                    <a:pt x="2546017" y="4013903"/>
                    <a:pt x="2537460" y="4014528"/>
                    <a:pt x="2529840" y="4017068"/>
                  </a:cubicBezTo>
                  <a:cubicBezTo>
                    <a:pt x="2426917" y="3991337"/>
                    <a:pt x="2489789" y="4000598"/>
                    <a:pt x="2339340" y="4009448"/>
                  </a:cubicBezTo>
                  <a:cubicBezTo>
                    <a:pt x="2321324" y="4027464"/>
                    <a:pt x="2306654" y="4039979"/>
                    <a:pt x="2293620" y="4062788"/>
                  </a:cubicBezTo>
                  <a:cubicBezTo>
                    <a:pt x="2289635" y="4069762"/>
                    <a:pt x="2291018" y="4079376"/>
                    <a:pt x="2286000" y="4085648"/>
                  </a:cubicBezTo>
                  <a:cubicBezTo>
                    <a:pt x="2270292" y="4105283"/>
                    <a:pt x="2250440" y="4121208"/>
                    <a:pt x="2232660" y="4138988"/>
                  </a:cubicBezTo>
                  <a:cubicBezTo>
                    <a:pt x="2211619" y="4160029"/>
                    <a:pt x="2223688" y="4168064"/>
                    <a:pt x="2194560" y="4184708"/>
                  </a:cubicBezTo>
                  <a:cubicBezTo>
                    <a:pt x="2185467" y="4189904"/>
                    <a:pt x="2174461" y="4190944"/>
                    <a:pt x="2164080" y="4192328"/>
                  </a:cubicBezTo>
                  <a:cubicBezTo>
                    <a:pt x="2136271" y="4196036"/>
                    <a:pt x="2108200" y="4197408"/>
                    <a:pt x="2080260" y="4199948"/>
                  </a:cubicBezTo>
                  <a:cubicBezTo>
                    <a:pt x="2013474" y="4266734"/>
                    <a:pt x="2098193" y="4185004"/>
                    <a:pt x="2034540" y="4238048"/>
                  </a:cubicBezTo>
                  <a:cubicBezTo>
                    <a:pt x="2005059" y="4262615"/>
                    <a:pt x="2017520" y="4263014"/>
                    <a:pt x="1981200" y="4283768"/>
                  </a:cubicBezTo>
                  <a:cubicBezTo>
                    <a:pt x="1967652" y="4291509"/>
                    <a:pt x="1931388" y="4296221"/>
                    <a:pt x="1920240" y="4299008"/>
                  </a:cubicBezTo>
                  <a:cubicBezTo>
                    <a:pt x="1912448" y="4300956"/>
                    <a:pt x="1905000" y="4304088"/>
                    <a:pt x="1897380" y="4306628"/>
                  </a:cubicBezTo>
                  <a:cubicBezTo>
                    <a:pt x="1889760" y="4311708"/>
                    <a:pt x="1882711" y="4317772"/>
                    <a:pt x="1874520" y="4321868"/>
                  </a:cubicBezTo>
                  <a:cubicBezTo>
                    <a:pt x="1863588" y="4327334"/>
                    <a:pt x="1830946" y="4334667"/>
                    <a:pt x="1821180" y="4337108"/>
                  </a:cubicBezTo>
                  <a:cubicBezTo>
                    <a:pt x="1813560" y="4344728"/>
                    <a:pt x="1808840" y="4357630"/>
                    <a:pt x="1798320" y="4359968"/>
                  </a:cubicBezTo>
                  <a:cubicBezTo>
                    <a:pt x="1783238" y="4363320"/>
                    <a:pt x="1767801" y="4355112"/>
                    <a:pt x="1752600" y="4352348"/>
                  </a:cubicBezTo>
                  <a:cubicBezTo>
                    <a:pt x="1712141" y="4344992"/>
                    <a:pt x="1723365" y="4347683"/>
                    <a:pt x="1691640" y="4337108"/>
                  </a:cubicBezTo>
                  <a:cubicBezTo>
                    <a:pt x="1678940" y="4339648"/>
                    <a:pt x="1665667" y="4340180"/>
                    <a:pt x="1653540" y="4344728"/>
                  </a:cubicBezTo>
                  <a:cubicBezTo>
                    <a:pt x="1644965" y="4347944"/>
                    <a:pt x="1638871" y="4355872"/>
                    <a:pt x="1630680" y="4359968"/>
                  </a:cubicBezTo>
                  <a:cubicBezTo>
                    <a:pt x="1623496" y="4363560"/>
                    <a:pt x="1615440" y="4365048"/>
                    <a:pt x="1607820" y="4367588"/>
                  </a:cubicBezTo>
                  <a:cubicBezTo>
                    <a:pt x="1551063" y="4405426"/>
                    <a:pt x="1620772" y="4356795"/>
                    <a:pt x="1562100" y="4405688"/>
                  </a:cubicBezTo>
                  <a:cubicBezTo>
                    <a:pt x="1555065" y="4411551"/>
                    <a:pt x="1546860" y="4415848"/>
                    <a:pt x="1539240" y="4420928"/>
                  </a:cubicBezTo>
                  <a:cubicBezTo>
                    <a:pt x="1534160" y="4428548"/>
                    <a:pt x="1530892" y="4437757"/>
                    <a:pt x="1524000" y="4443788"/>
                  </a:cubicBezTo>
                  <a:cubicBezTo>
                    <a:pt x="1510216" y="4455849"/>
                    <a:pt x="1478280" y="4474268"/>
                    <a:pt x="1478280" y="4474268"/>
                  </a:cubicBezTo>
                  <a:cubicBezTo>
                    <a:pt x="1440713" y="4468901"/>
                    <a:pt x="1427122" y="4468827"/>
                    <a:pt x="1394460" y="4459028"/>
                  </a:cubicBezTo>
                  <a:cubicBezTo>
                    <a:pt x="1379073" y="4454412"/>
                    <a:pt x="1348740" y="4443788"/>
                    <a:pt x="1348740" y="4443788"/>
                  </a:cubicBezTo>
                  <a:cubicBezTo>
                    <a:pt x="1297340" y="4392388"/>
                    <a:pt x="1323467" y="4404884"/>
                    <a:pt x="1280160" y="4390448"/>
                  </a:cubicBezTo>
                  <a:cubicBezTo>
                    <a:pt x="1264920" y="4375208"/>
                    <a:pt x="1255776" y="4347776"/>
                    <a:pt x="1234440" y="4344728"/>
                  </a:cubicBezTo>
                  <a:cubicBezTo>
                    <a:pt x="1160828" y="4334212"/>
                    <a:pt x="1198922" y="4339336"/>
                    <a:pt x="1120140" y="4329488"/>
                  </a:cubicBezTo>
                  <a:cubicBezTo>
                    <a:pt x="1112520" y="4326948"/>
                    <a:pt x="1105312" y="4321868"/>
                    <a:pt x="1097280" y="4321868"/>
                  </a:cubicBezTo>
                  <a:cubicBezTo>
                    <a:pt x="1081506" y="4321868"/>
                    <a:pt x="1063118" y="4337023"/>
                    <a:pt x="1051560" y="4344728"/>
                  </a:cubicBezTo>
                  <a:cubicBezTo>
                    <a:pt x="1017266" y="4396170"/>
                    <a:pt x="1055445" y="4331776"/>
                    <a:pt x="1028700" y="4420928"/>
                  </a:cubicBezTo>
                  <a:cubicBezTo>
                    <a:pt x="1026068" y="4429700"/>
                    <a:pt x="1017556" y="4435597"/>
                    <a:pt x="1013460" y="4443788"/>
                  </a:cubicBezTo>
                  <a:cubicBezTo>
                    <a:pt x="1009868" y="4450972"/>
                    <a:pt x="1010858" y="4460376"/>
                    <a:pt x="1005840" y="4466648"/>
                  </a:cubicBezTo>
                  <a:cubicBezTo>
                    <a:pt x="995097" y="4480077"/>
                    <a:pt x="975179" y="4484488"/>
                    <a:pt x="960120" y="4489508"/>
                  </a:cubicBezTo>
                  <a:cubicBezTo>
                    <a:pt x="944880" y="4486968"/>
                    <a:pt x="928219" y="4488798"/>
                    <a:pt x="914400" y="4481888"/>
                  </a:cubicBezTo>
                  <a:cubicBezTo>
                    <a:pt x="906209" y="4477792"/>
                    <a:pt x="899862" y="4468159"/>
                    <a:pt x="899160" y="4459028"/>
                  </a:cubicBezTo>
                  <a:cubicBezTo>
                    <a:pt x="897202" y="4433577"/>
                    <a:pt x="903406" y="4408131"/>
                    <a:pt x="906780" y="4382828"/>
                  </a:cubicBezTo>
                  <a:cubicBezTo>
                    <a:pt x="911567" y="4346926"/>
                    <a:pt x="917726" y="4334750"/>
                    <a:pt x="929640" y="4299008"/>
                  </a:cubicBezTo>
                  <a:cubicBezTo>
                    <a:pt x="932536" y="4290320"/>
                    <a:pt x="941161" y="4284517"/>
                    <a:pt x="944880" y="4276148"/>
                  </a:cubicBezTo>
                  <a:cubicBezTo>
                    <a:pt x="951404" y="4261468"/>
                    <a:pt x="960120" y="4230428"/>
                    <a:pt x="960120" y="4230428"/>
                  </a:cubicBezTo>
                  <a:cubicBezTo>
                    <a:pt x="962660" y="4172008"/>
                    <a:pt x="963420" y="4113483"/>
                    <a:pt x="967740" y="4055168"/>
                  </a:cubicBezTo>
                  <a:cubicBezTo>
                    <a:pt x="968514" y="4044724"/>
                    <a:pt x="974862" y="4035149"/>
                    <a:pt x="975360" y="4024688"/>
                  </a:cubicBezTo>
                  <a:cubicBezTo>
                    <a:pt x="983378" y="3856318"/>
                    <a:pt x="975091" y="3783273"/>
                    <a:pt x="990600" y="3643688"/>
                  </a:cubicBezTo>
                  <a:cubicBezTo>
                    <a:pt x="992306" y="3628332"/>
                    <a:pt x="995680" y="3613208"/>
                    <a:pt x="998220" y="3597968"/>
                  </a:cubicBezTo>
                  <a:cubicBezTo>
                    <a:pt x="995680" y="3549708"/>
                    <a:pt x="994787" y="3501333"/>
                    <a:pt x="990600" y="3453188"/>
                  </a:cubicBezTo>
                  <a:cubicBezTo>
                    <a:pt x="989693" y="3442755"/>
                    <a:pt x="987105" y="3432334"/>
                    <a:pt x="982980" y="3422708"/>
                  </a:cubicBezTo>
                  <a:cubicBezTo>
                    <a:pt x="979372" y="3414290"/>
                    <a:pt x="972820" y="3407468"/>
                    <a:pt x="967740" y="3399848"/>
                  </a:cubicBezTo>
                  <a:cubicBezTo>
                    <a:pt x="951624" y="3335383"/>
                    <a:pt x="973578" y="3400986"/>
                    <a:pt x="937260" y="3346508"/>
                  </a:cubicBezTo>
                  <a:cubicBezTo>
                    <a:pt x="932805" y="3339825"/>
                    <a:pt x="931847" y="3331371"/>
                    <a:pt x="929640" y="3323648"/>
                  </a:cubicBezTo>
                  <a:cubicBezTo>
                    <a:pt x="926385" y="3312255"/>
                    <a:pt x="920490" y="3282488"/>
                    <a:pt x="914400" y="3270308"/>
                  </a:cubicBezTo>
                  <a:cubicBezTo>
                    <a:pt x="910304" y="3262117"/>
                    <a:pt x="903704" y="3255399"/>
                    <a:pt x="899160" y="3247448"/>
                  </a:cubicBezTo>
                  <a:cubicBezTo>
                    <a:pt x="888522" y="3228831"/>
                    <a:pt x="883209" y="3210251"/>
                    <a:pt x="868680" y="3194108"/>
                  </a:cubicBezTo>
                  <a:cubicBezTo>
                    <a:pt x="851859" y="3175418"/>
                    <a:pt x="833120" y="3158548"/>
                    <a:pt x="815340" y="3140768"/>
                  </a:cubicBezTo>
                  <a:cubicBezTo>
                    <a:pt x="786004" y="3111432"/>
                    <a:pt x="801446" y="3123886"/>
                    <a:pt x="769620" y="3102668"/>
                  </a:cubicBezTo>
                  <a:lnTo>
                    <a:pt x="723900" y="3034088"/>
                  </a:lnTo>
                  <a:cubicBezTo>
                    <a:pt x="718820" y="3026468"/>
                    <a:pt x="711556" y="3019916"/>
                    <a:pt x="708660" y="3011228"/>
                  </a:cubicBezTo>
                  <a:cubicBezTo>
                    <a:pt x="697728" y="2978433"/>
                    <a:pt x="702988" y="2996160"/>
                    <a:pt x="693420" y="2957888"/>
                  </a:cubicBezTo>
                  <a:cubicBezTo>
                    <a:pt x="690880" y="2914708"/>
                    <a:pt x="691644" y="2871206"/>
                    <a:pt x="685800" y="2828348"/>
                  </a:cubicBezTo>
                  <a:cubicBezTo>
                    <a:pt x="683952" y="2814795"/>
                    <a:pt x="675363" y="2803055"/>
                    <a:pt x="670560" y="2790248"/>
                  </a:cubicBezTo>
                  <a:cubicBezTo>
                    <a:pt x="667740" y="2782727"/>
                    <a:pt x="666841" y="2774409"/>
                    <a:pt x="662940" y="2767388"/>
                  </a:cubicBezTo>
                  <a:cubicBezTo>
                    <a:pt x="629083" y="2706446"/>
                    <a:pt x="638838" y="2741629"/>
                    <a:pt x="617220" y="2691188"/>
                  </a:cubicBezTo>
                  <a:cubicBezTo>
                    <a:pt x="614056" y="2683805"/>
                    <a:pt x="611807" y="2676051"/>
                    <a:pt x="609600" y="2668328"/>
                  </a:cubicBezTo>
                  <a:cubicBezTo>
                    <a:pt x="606723" y="2658258"/>
                    <a:pt x="607176" y="2646941"/>
                    <a:pt x="601980" y="2637848"/>
                  </a:cubicBezTo>
                  <a:cubicBezTo>
                    <a:pt x="596633" y="2628492"/>
                    <a:pt x="586740" y="2622608"/>
                    <a:pt x="579120" y="2614988"/>
                  </a:cubicBezTo>
                  <a:cubicBezTo>
                    <a:pt x="577326" y="2607814"/>
                    <a:pt x="568849" y="2570592"/>
                    <a:pt x="563880" y="2561648"/>
                  </a:cubicBezTo>
                  <a:cubicBezTo>
                    <a:pt x="554985" y="2545637"/>
                    <a:pt x="541591" y="2532311"/>
                    <a:pt x="533400" y="2515928"/>
                  </a:cubicBezTo>
                  <a:cubicBezTo>
                    <a:pt x="482855" y="2414839"/>
                    <a:pt x="544176" y="2541073"/>
                    <a:pt x="510540" y="2462588"/>
                  </a:cubicBezTo>
                  <a:cubicBezTo>
                    <a:pt x="470463" y="2369074"/>
                    <a:pt x="518324" y="2485775"/>
                    <a:pt x="480060" y="2409248"/>
                  </a:cubicBezTo>
                  <a:cubicBezTo>
                    <a:pt x="476468" y="2402064"/>
                    <a:pt x="476032" y="2393572"/>
                    <a:pt x="472440" y="2386388"/>
                  </a:cubicBezTo>
                  <a:cubicBezTo>
                    <a:pt x="458251" y="2358009"/>
                    <a:pt x="455406" y="2365947"/>
                    <a:pt x="434340" y="2340668"/>
                  </a:cubicBezTo>
                  <a:cubicBezTo>
                    <a:pt x="428477" y="2333633"/>
                    <a:pt x="424963" y="2324843"/>
                    <a:pt x="419100" y="2317808"/>
                  </a:cubicBezTo>
                  <a:cubicBezTo>
                    <a:pt x="412201" y="2309529"/>
                    <a:pt x="403139" y="2303227"/>
                    <a:pt x="396240" y="2294948"/>
                  </a:cubicBezTo>
                  <a:cubicBezTo>
                    <a:pt x="378669" y="2273863"/>
                    <a:pt x="383185" y="2265924"/>
                    <a:pt x="358140" y="2249228"/>
                  </a:cubicBezTo>
                  <a:cubicBezTo>
                    <a:pt x="351457" y="2244773"/>
                    <a:pt x="342900" y="2244148"/>
                    <a:pt x="335280" y="2241608"/>
                  </a:cubicBezTo>
                  <a:cubicBezTo>
                    <a:pt x="327660" y="2233988"/>
                    <a:pt x="320602" y="2225761"/>
                    <a:pt x="312420" y="2218748"/>
                  </a:cubicBezTo>
                  <a:cubicBezTo>
                    <a:pt x="302777" y="2210483"/>
                    <a:pt x="290205" y="2205531"/>
                    <a:pt x="281940" y="2195888"/>
                  </a:cubicBezTo>
                  <a:cubicBezTo>
                    <a:pt x="257843" y="2167775"/>
                    <a:pt x="274015" y="2169430"/>
                    <a:pt x="259080" y="2142548"/>
                  </a:cubicBezTo>
                  <a:cubicBezTo>
                    <a:pt x="250185" y="2126537"/>
                    <a:pt x="238760" y="2112068"/>
                    <a:pt x="228600" y="2096828"/>
                  </a:cubicBezTo>
                  <a:cubicBezTo>
                    <a:pt x="224145" y="2090145"/>
                    <a:pt x="223800" y="2081489"/>
                    <a:pt x="220980" y="2073968"/>
                  </a:cubicBezTo>
                  <a:cubicBezTo>
                    <a:pt x="216177" y="2061161"/>
                    <a:pt x="211295" y="2048367"/>
                    <a:pt x="205740" y="2035868"/>
                  </a:cubicBezTo>
                  <a:cubicBezTo>
                    <a:pt x="201127" y="2025488"/>
                    <a:pt x="196136" y="2015251"/>
                    <a:pt x="190500" y="2005388"/>
                  </a:cubicBezTo>
                  <a:cubicBezTo>
                    <a:pt x="185956" y="1997437"/>
                    <a:pt x="179356" y="1990719"/>
                    <a:pt x="175260" y="1982528"/>
                  </a:cubicBezTo>
                  <a:cubicBezTo>
                    <a:pt x="147678" y="1927364"/>
                    <a:pt x="194799" y="1999822"/>
                    <a:pt x="160020" y="1921568"/>
                  </a:cubicBezTo>
                  <a:cubicBezTo>
                    <a:pt x="154862" y="1909963"/>
                    <a:pt x="144780" y="1901248"/>
                    <a:pt x="137160" y="1891088"/>
                  </a:cubicBezTo>
                  <a:cubicBezTo>
                    <a:pt x="98854" y="1776170"/>
                    <a:pt x="150526" y="1917821"/>
                    <a:pt x="91440" y="1799648"/>
                  </a:cubicBezTo>
                  <a:cubicBezTo>
                    <a:pt x="71381" y="1759529"/>
                    <a:pt x="84232" y="1777200"/>
                    <a:pt x="53340" y="1746308"/>
                  </a:cubicBezTo>
                  <a:cubicBezTo>
                    <a:pt x="48260" y="1731068"/>
                    <a:pt x="47011" y="1713954"/>
                    <a:pt x="38100" y="1700588"/>
                  </a:cubicBezTo>
                  <a:cubicBezTo>
                    <a:pt x="3165" y="1648185"/>
                    <a:pt x="13412" y="1672244"/>
                    <a:pt x="0" y="1632008"/>
                  </a:cubicBezTo>
                  <a:cubicBezTo>
                    <a:pt x="2540" y="1591368"/>
                    <a:pt x="-769" y="1549934"/>
                    <a:pt x="7620" y="1510088"/>
                  </a:cubicBezTo>
                  <a:cubicBezTo>
                    <a:pt x="9840" y="1499543"/>
                    <a:pt x="23581" y="1495507"/>
                    <a:pt x="30480" y="1487228"/>
                  </a:cubicBezTo>
                  <a:cubicBezTo>
                    <a:pt x="36343" y="1480193"/>
                    <a:pt x="39244" y="1470844"/>
                    <a:pt x="45720" y="1464368"/>
                  </a:cubicBezTo>
                  <a:cubicBezTo>
                    <a:pt x="52196" y="1457892"/>
                    <a:pt x="61545" y="1454991"/>
                    <a:pt x="68580" y="1449128"/>
                  </a:cubicBezTo>
                  <a:cubicBezTo>
                    <a:pt x="106633" y="1417417"/>
                    <a:pt x="74126" y="1432039"/>
                    <a:pt x="114300" y="1418648"/>
                  </a:cubicBezTo>
                  <a:lnTo>
                    <a:pt x="160020" y="1388168"/>
                  </a:lnTo>
                  <a:lnTo>
                    <a:pt x="182880" y="1372928"/>
                  </a:lnTo>
                  <a:cubicBezTo>
                    <a:pt x="187960" y="1365308"/>
                    <a:pt x="192036" y="1356913"/>
                    <a:pt x="198120" y="1350068"/>
                  </a:cubicBezTo>
                  <a:cubicBezTo>
                    <a:pt x="212439" y="1333959"/>
                    <a:pt x="228600" y="1319588"/>
                    <a:pt x="243840" y="1304348"/>
                  </a:cubicBezTo>
                  <a:lnTo>
                    <a:pt x="274320" y="1273868"/>
                  </a:lnTo>
                  <a:cubicBezTo>
                    <a:pt x="280796" y="1267392"/>
                    <a:pt x="283084" y="1257484"/>
                    <a:pt x="289560" y="1251008"/>
                  </a:cubicBezTo>
                  <a:cubicBezTo>
                    <a:pt x="298540" y="1242028"/>
                    <a:pt x="310600" y="1236644"/>
                    <a:pt x="320040" y="1228148"/>
                  </a:cubicBezTo>
                  <a:cubicBezTo>
                    <a:pt x="336060" y="1213730"/>
                    <a:pt x="350520" y="1197668"/>
                    <a:pt x="365760" y="1182428"/>
                  </a:cubicBezTo>
                  <a:cubicBezTo>
                    <a:pt x="373380" y="1174808"/>
                    <a:pt x="382642" y="1168534"/>
                    <a:pt x="388620" y="1159568"/>
                  </a:cubicBezTo>
                  <a:cubicBezTo>
                    <a:pt x="398780" y="1144328"/>
                    <a:pt x="406148" y="1126800"/>
                    <a:pt x="419100" y="1113848"/>
                  </a:cubicBezTo>
                  <a:cubicBezTo>
                    <a:pt x="426720" y="1106228"/>
                    <a:pt x="435696" y="1099757"/>
                    <a:pt x="441960" y="1090988"/>
                  </a:cubicBezTo>
                  <a:cubicBezTo>
                    <a:pt x="448562" y="1081745"/>
                    <a:pt x="451180" y="1070141"/>
                    <a:pt x="457200" y="1060508"/>
                  </a:cubicBezTo>
                  <a:cubicBezTo>
                    <a:pt x="463931" y="1049738"/>
                    <a:pt x="472440" y="1040188"/>
                    <a:pt x="480060" y="1030028"/>
                  </a:cubicBezTo>
                  <a:cubicBezTo>
                    <a:pt x="480626" y="1027764"/>
                    <a:pt x="491273" y="981866"/>
                    <a:pt x="495300" y="976688"/>
                  </a:cubicBezTo>
                  <a:cubicBezTo>
                    <a:pt x="508532" y="959675"/>
                    <a:pt x="525780" y="946208"/>
                    <a:pt x="541020" y="930968"/>
                  </a:cubicBezTo>
                  <a:cubicBezTo>
                    <a:pt x="548640" y="923348"/>
                    <a:pt x="557902" y="917074"/>
                    <a:pt x="563880" y="908108"/>
                  </a:cubicBezTo>
                  <a:cubicBezTo>
                    <a:pt x="601718" y="851351"/>
                    <a:pt x="553087" y="921060"/>
                    <a:pt x="601980" y="862388"/>
                  </a:cubicBezTo>
                  <a:cubicBezTo>
                    <a:pt x="607843" y="855353"/>
                    <a:pt x="611357" y="846563"/>
                    <a:pt x="617220" y="839528"/>
                  </a:cubicBezTo>
                  <a:cubicBezTo>
                    <a:pt x="624119" y="831249"/>
                    <a:pt x="633816" y="825437"/>
                    <a:pt x="640080" y="816668"/>
                  </a:cubicBezTo>
                  <a:cubicBezTo>
                    <a:pt x="646682" y="807425"/>
                    <a:pt x="648224" y="795058"/>
                    <a:pt x="655320" y="786188"/>
                  </a:cubicBezTo>
                  <a:lnTo>
                    <a:pt x="723900" y="717608"/>
                  </a:lnTo>
                  <a:cubicBezTo>
                    <a:pt x="730376" y="711132"/>
                    <a:pt x="733056" y="701593"/>
                    <a:pt x="739140" y="694748"/>
                  </a:cubicBezTo>
                  <a:cubicBezTo>
                    <a:pt x="753459" y="678639"/>
                    <a:pt x="769620" y="664268"/>
                    <a:pt x="784860" y="649028"/>
                  </a:cubicBezTo>
                  <a:lnTo>
                    <a:pt x="830580" y="603308"/>
                  </a:lnTo>
                  <a:cubicBezTo>
                    <a:pt x="837056" y="596832"/>
                    <a:pt x="839736" y="587293"/>
                    <a:pt x="845820" y="580448"/>
                  </a:cubicBezTo>
                  <a:cubicBezTo>
                    <a:pt x="860139" y="564339"/>
                    <a:pt x="876300" y="549968"/>
                    <a:pt x="891540" y="534728"/>
                  </a:cubicBezTo>
                  <a:lnTo>
                    <a:pt x="914400" y="511868"/>
                  </a:lnTo>
                  <a:cubicBezTo>
                    <a:pt x="938804" y="450858"/>
                    <a:pt x="915901" y="493606"/>
                    <a:pt x="952500" y="450908"/>
                  </a:cubicBezTo>
                  <a:cubicBezTo>
                    <a:pt x="960765" y="441265"/>
                    <a:pt x="967978" y="430762"/>
                    <a:pt x="975360" y="420428"/>
                  </a:cubicBezTo>
                  <a:cubicBezTo>
                    <a:pt x="980683" y="412976"/>
                    <a:pt x="984737" y="404603"/>
                    <a:pt x="990600" y="397568"/>
                  </a:cubicBezTo>
                  <a:cubicBezTo>
                    <a:pt x="997499" y="389289"/>
                    <a:pt x="1005840" y="382328"/>
                    <a:pt x="1013460" y="374708"/>
                  </a:cubicBezTo>
                  <a:cubicBezTo>
                    <a:pt x="1019678" y="356053"/>
                    <a:pt x="1024550" y="337846"/>
                    <a:pt x="1036320" y="321368"/>
                  </a:cubicBezTo>
                  <a:cubicBezTo>
                    <a:pt x="1042584" y="312599"/>
                    <a:pt x="1052281" y="306787"/>
                    <a:pt x="1059180" y="298508"/>
                  </a:cubicBezTo>
                  <a:cubicBezTo>
                    <a:pt x="1065043" y="291473"/>
                    <a:pt x="1068557" y="282683"/>
                    <a:pt x="1074420" y="275648"/>
                  </a:cubicBezTo>
                  <a:cubicBezTo>
                    <a:pt x="1081319" y="267369"/>
                    <a:pt x="1090381" y="261067"/>
                    <a:pt x="1097280" y="252788"/>
                  </a:cubicBezTo>
                  <a:cubicBezTo>
                    <a:pt x="1150324" y="189135"/>
                    <a:pt x="1068594" y="273854"/>
                    <a:pt x="1135380" y="207068"/>
                  </a:cubicBezTo>
                  <a:cubicBezTo>
                    <a:pt x="1137920" y="199448"/>
                    <a:pt x="1139408" y="191392"/>
                    <a:pt x="1143000" y="184208"/>
                  </a:cubicBezTo>
                  <a:cubicBezTo>
                    <a:pt x="1147638" y="174932"/>
                    <a:pt x="1177217" y="135182"/>
                    <a:pt x="1181100" y="130868"/>
                  </a:cubicBezTo>
                  <a:cubicBezTo>
                    <a:pt x="1195518" y="114848"/>
                    <a:pt x="1211580" y="100388"/>
                    <a:pt x="1226820" y="85148"/>
                  </a:cubicBezTo>
                  <a:cubicBezTo>
                    <a:pt x="1234440" y="77528"/>
                    <a:pt x="1243702" y="71254"/>
                    <a:pt x="1249680" y="62288"/>
                  </a:cubicBezTo>
                  <a:cubicBezTo>
                    <a:pt x="1273619" y="26379"/>
                    <a:pt x="1253754" y="47986"/>
                    <a:pt x="1295400" y="24188"/>
                  </a:cubicBezTo>
                  <a:cubicBezTo>
                    <a:pt x="1327001" y="6130"/>
                    <a:pt x="1282700" y="-3752"/>
                    <a:pt x="1325880" y="1328"/>
                  </a:cubicBezTo>
                  <a:close/>
                </a:path>
              </a:pathLst>
            </a:custGeom>
            <a:solidFill>
              <a:srgbClr val="EDDD32"/>
            </a:solidFill>
            <a:ln w="9525" cap="flat" cmpd="sng" algn="ctr">
              <a:solidFill>
                <a:srgbClr val="4866A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458383">
                <a:buClr>
                  <a:srgbClr val="000000"/>
                </a:buClr>
                <a:buSzPct val="100000"/>
              </a:pPr>
              <a:endParaRPr lang="pt-BR" sz="1020" dirty="0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172" name="Picture 248"/>
            <p:cNvPicPr>
              <a:picLocks/>
            </p:cNvPicPr>
            <p:nvPr/>
          </p:nvPicPr>
          <p:blipFill>
            <a:blip r:embed="rId19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590684" y="2116674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73" name="Picture 249"/>
            <p:cNvPicPr>
              <a:picLocks/>
            </p:cNvPicPr>
            <p:nvPr/>
          </p:nvPicPr>
          <p:blipFill>
            <a:blip r:embed="rId13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754287" y="1912363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98" name="Picture 250"/>
            <p:cNvPicPr>
              <a:picLocks/>
            </p:cNvPicPr>
            <p:nvPr/>
          </p:nvPicPr>
          <p:blipFill>
            <a:blip r:embed="rId15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498407" y="1870590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99" name="Picture 252"/>
            <p:cNvPicPr>
              <a:picLocks/>
            </p:cNvPicPr>
            <p:nvPr/>
          </p:nvPicPr>
          <p:blipFill>
            <a:blip r:embed="rId14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653487" y="1677011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201" name="Group 265"/>
            <p:cNvGrpSpPr/>
            <p:nvPr/>
          </p:nvGrpSpPr>
          <p:grpSpPr>
            <a:xfrm>
              <a:off x="11715153" y="2554252"/>
              <a:ext cx="746432" cy="779578"/>
              <a:chOff x="3028255" y="2417085"/>
              <a:chExt cx="746432" cy="779578"/>
            </a:xfrm>
          </p:grpSpPr>
          <p:pic>
            <p:nvPicPr>
              <p:cNvPr id="316" name="Picture 269"/>
              <p:cNvPicPr>
                <a:picLocks/>
              </p:cNvPicPr>
              <p:nvPr/>
            </p:nvPicPr>
            <p:blipFill>
              <a:blip r:embed="rId9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573087" y="2689839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17" name="Picture 271"/>
              <p:cNvPicPr>
                <a:picLocks/>
              </p:cNvPicPr>
              <p:nvPr/>
            </p:nvPicPr>
            <p:blipFill>
              <a:blip r:embed="rId13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465713" y="2417085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18" name="Picture 273"/>
              <p:cNvPicPr>
                <a:picLocks/>
              </p:cNvPicPr>
              <p:nvPr/>
            </p:nvPicPr>
            <p:blipFill>
              <a:blip r:embed="rId1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255257" y="2672931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19" name="Picture 279"/>
              <p:cNvPicPr>
                <a:picLocks/>
              </p:cNvPicPr>
              <p:nvPr/>
            </p:nvPicPr>
            <p:blipFill>
              <a:blip r:embed="rId16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294457" y="2995063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20" name="Picture 282"/>
              <p:cNvPicPr>
                <a:picLocks/>
              </p:cNvPicPr>
              <p:nvPr/>
            </p:nvPicPr>
            <p:blipFill>
              <a:blip r:embed="rId12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028255" y="2877456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5" name="Grupo 4"/>
            <p:cNvGrpSpPr/>
            <p:nvPr/>
          </p:nvGrpSpPr>
          <p:grpSpPr>
            <a:xfrm>
              <a:off x="12241945" y="2973981"/>
              <a:ext cx="788581" cy="910465"/>
              <a:chOff x="12241945" y="2973981"/>
              <a:chExt cx="788581" cy="910465"/>
            </a:xfrm>
          </p:grpSpPr>
          <p:sp>
            <p:nvSpPr>
              <p:cNvPr id="164" name="Freeform 28"/>
              <p:cNvSpPr/>
              <p:nvPr/>
            </p:nvSpPr>
            <p:spPr bwMode="auto">
              <a:xfrm>
                <a:off x="12267300" y="2973981"/>
                <a:ext cx="763226" cy="910465"/>
              </a:xfrm>
              <a:custGeom>
                <a:avLst/>
                <a:gdLst>
                  <a:gd name="connsiteX0" fmla="*/ 1866900 w 2577100"/>
                  <a:gd name="connsiteY0" fmla="*/ 96 h 3024283"/>
                  <a:gd name="connsiteX1" fmla="*/ 1833562 w 2577100"/>
                  <a:gd name="connsiteY1" fmla="*/ 28671 h 3024283"/>
                  <a:gd name="connsiteX2" fmla="*/ 1819275 w 2577100"/>
                  <a:gd name="connsiteY2" fmla="*/ 100108 h 3024283"/>
                  <a:gd name="connsiteX3" fmla="*/ 1814512 w 2577100"/>
                  <a:gd name="connsiteY3" fmla="*/ 123921 h 3024283"/>
                  <a:gd name="connsiteX4" fmla="*/ 1804987 w 2577100"/>
                  <a:gd name="connsiteY4" fmla="*/ 138208 h 3024283"/>
                  <a:gd name="connsiteX5" fmla="*/ 1781175 w 2577100"/>
                  <a:gd name="connsiteY5" fmla="*/ 181071 h 3024283"/>
                  <a:gd name="connsiteX6" fmla="*/ 1762125 w 2577100"/>
                  <a:gd name="connsiteY6" fmla="*/ 209646 h 3024283"/>
                  <a:gd name="connsiteX7" fmla="*/ 1752600 w 2577100"/>
                  <a:gd name="connsiteY7" fmla="*/ 223933 h 3024283"/>
                  <a:gd name="connsiteX8" fmla="*/ 1747837 w 2577100"/>
                  <a:gd name="connsiteY8" fmla="*/ 238221 h 3024283"/>
                  <a:gd name="connsiteX9" fmla="*/ 1733550 w 2577100"/>
                  <a:gd name="connsiteY9" fmla="*/ 252508 h 3024283"/>
                  <a:gd name="connsiteX10" fmla="*/ 1724025 w 2577100"/>
                  <a:gd name="connsiteY10" fmla="*/ 266796 h 3024283"/>
                  <a:gd name="connsiteX11" fmla="*/ 1709737 w 2577100"/>
                  <a:gd name="connsiteY11" fmla="*/ 281083 h 3024283"/>
                  <a:gd name="connsiteX12" fmla="*/ 1681162 w 2577100"/>
                  <a:gd name="connsiteY12" fmla="*/ 328708 h 3024283"/>
                  <a:gd name="connsiteX13" fmla="*/ 1666875 w 2577100"/>
                  <a:gd name="connsiteY13" fmla="*/ 366808 h 3024283"/>
                  <a:gd name="connsiteX14" fmla="*/ 1643062 w 2577100"/>
                  <a:gd name="connsiteY14" fmla="*/ 395383 h 3024283"/>
                  <a:gd name="connsiteX15" fmla="*/ 1633537 w 2577100"/>
                  <a:gd name="connsiteY15" fmla="*/ 409671 h 3024283"/>
                  <a:gd name="connsiteX16" fmla="*/ 1619250 w 2577100"/>
                  <a:gd name="connsiteY16" fmla="*/ 423958 h 3024283"/>
                  <a:gd name="connsiteX17" fmla="*/ 1604962 w 2577100"/>
                  <a:gd name="connsiteY17" fmla="*/ 443008 h 3024283"/>
                  <a:gd name="connsiteX18" fmla="*/ 1571625 w 2577100"/>
                  <a:gd name="connsiteY18" fmla="*/ 462058 h 3024283"/>
                  <a:gd name="connsiteX19" fmla="*/ 1495425 w 2577100"/>
                  <a:gd name="connsiteY19" fmla="*/ 466821 h 3024283"/>
                  <a:gd name="connsiteX20" fmla="*/ 1462087 w 2577100"/>
                  <a:gd name="connsiteY20" fmla="*/ 481108 h 3024283"/>
                  <a:gd name="connsiteX21" fmla="*/ 1414462 w 2577100"/>
                  <a:gd name="connsiteY21" fmla="*/ 495396 h 3024283"/>
                  <a:gd name="connsiteX22" fmla="*/ 1409700 w 2577100"/>
                  <a:gd name="connsiteY22" fmla="*/ 509683 h 3024283"/>
                  <a:gd name="connsiteX23" fmla="*/ 1395412 w 2577100"/>
                  <a:gd name="connsiteY23" fmla="*/ 514446 h 3024283"/>
                  <a:gd name="connsiteX24" fmla="*/ 1371600 w 2577100"/>
                  <a:gd name="connsiteY24" fmla="*/ 519208 h 3024283"/>
                  <a:gd name="connsiteX25" fmla="*/ 1357312 w 2577100"/>
                  <a:gd name="connsiteY25" fmla="*/ 528733 h 3024283"/>
                  <a:gd name="connsiteX26" fmla="*/ 1333500 w 2577100"/>
                  <a:gd name="connsiteY26" fmla="*/ 533496 h 3024283"/>
                  <a:gd name="connsiteX27" fmla="*/ 1300162 w 2577100"/>
                  <a:gd name="connsiteY27" fmla="*/ 543021 h 3024283"/>
                  <a:gd name="connsiteX28" fmla="*/ 1271587 w 2577100"/>
                  <a:gd name="connsiteY28" fmla="*/ 566833 h 3024283"/>
                  <a:gd name="connsiteX29" fmla="*/ 1238250 w 2577100"/>
                  <a:gd name="connsiteY29" fmla="*/ 590646 h 3024283"/>
                  <a:gd name="connsiteX30" fmla="*/ 1200150 w 2577100"/>
                  <a:gd name="connsiteY30" fmla="*/ 623983 h 3024283"/>
                  <a:gd name="connsiteX31" fmla="*/ 1171575 w 2577100"/>
                  <a:gd name="connsiteY31" fmla="*/ 633508 h 3024283"/>
                  <a:gd name="connsiteX32" fmla="*/ 928687 w 2577100"/>
                  <a:gd name="connsiteY32" fmla="*/ 647796 h 3024283"/>
                  <a:gd name="connsiteX33" fmla="*/ 904875 w 2577100"/>
                  <a:gd name="connsiteY33" fmla="*/ 652558 h 3024283"/>
                  <a:gd name="connsiteX34" fmla="*/ 885825 w 2577100"/>
                  <a:gd name="connsiteY34" fmla="*/ 666846 h 3024283"/>
                  <a:gd name="connsiteX35" fmla="*/ 852487 w 2577100"/>
                  <a:gd name="connsiteY35" fmla="*/ 681133 h 3024283"/>
                  <a:gd name="connsiteX36" fmla="*/ 838200 w 2577100"/>
                  <a:gd name="connsiteY36" fmla="*/ 690658 h 3024283"/>
                  <a:gd name="connsiteX37" fmla="*/ 800100 w 2577100"/>
                  <a:gd name="connsiteY37" fmla="*/ 700183 h 3024283"/>
                  <a:gd name="connsiteX38" fmla="*/ 785812 w 2577100"/>
                  <a:gd name="connsiteY38" fmla="*/ 704946 h 3024283"/>
                  <a:gd name="connsiteX39" fmla="*/ 762000 w 2577100"/>
                  <a:gd name="connsiteY39" fmla="*/ 709708 h 3024283"/>
                  <a:gd name="connsiteX40" fmla="*/ 742950 w 2577100"/>
                  <a:gd name="connsiteY40" fmla="*/ 714471 h 3024283"/>
                  <a:gd name="connsiteX41" fmla="*/ 709612 w 2577100"/>
                  <a:gd name="connsiteY41" fmla="*/ 704946 h 3024283"/>
                  <a:gd name="connsiteX42" fmla="*/ 676275 w 2577100"/>
                  <a:gd name="connsiteY42" fmla="*/ 695421 h 3024283"/>
                  <a:gd name="connsiteX43" fmla="*/ 657225 w 2577100"/>
                  <a:gd name="connsiteY43" fmla="*/ 685896 h 3024283"/>
                  <a:gd name="connsiteX44" fmla="*/ 595312 w 2577100"/>
                  <a:gd name="connsiteY44" fmla="*/ 695421 h 3024283"/>
                  <a:gd name="connsiteX45" fmla="*/ 571500 w 2577100"/>
                  <a:gd name="connsiteY45" fmla="*/ 700183 h 3024283"/>
                  <a:gd name="connsiteX46" fmla="*/ 542925 w 2577100"/>
                  <a:gd name="connsiteY46" fmla="*/ 709708 h 3024283"/>
                  <a:gd name="connsiteX47" fmla="*/ 519112 w 2577100"/>
                  <a:gd name="connsiteY47" fmla="*/ 738283 h 3024283"/>
                  <a:gd name="connsiteX48" fmla="*/ 490537 w 2577100"/>
                  <a:gd name="connsiteY48" fmla="*/ 747808 h 3024283"/>
                  <a:gd name="connsiteX49" fmla="*/ 476250 w 2577100"/>
                  <a:gd name="connsiteY49" fmla="*/ 752571 h 3024283"/>
                  <a:gd name="connsiteX50" fmla="*/ 333375 w 2577100"/>
                  <a:gd name="connsiteY50" fmla="*/ 747808 h 3024283"/>
                  <a:gd name="connsiteX51" fmla="*/ 290512 w 2577100"/>
                  <a:gd name="connsiteY51" fmla="*/ 733521 h 3024283"/>
                  <a:gd name="connsiteX52" fmla="*/ 252412 w 2577100"/>
                  <a:gd name="connsiteY52" fmla="*/ 723996 h 3024283"/>
                  <a:gd name="connsiteX53" fmla="*/ 214312 w 2577100"/>
                  <a:gd name="connsiteY53" fmla="*/ 709708 h 3024283"/>
                  <a:gd name="connsiteX54" fmla="*/ 166687 w 2577100"/>
                  <a:gd name="connsiteY54" fmla="*/ 700183 h 3024283"/>
                  <a:gd name="connsiteX55" fmla="*/ 42862 w 2577100"/>
                  <a:gd name="connsiteY55" fmla="*/ 709708 h 3024283"/>
                  <a:gd name="connsiteX56" fmla="*/ 28575 w 2577100"/>
                  <a:gd name="connsiteY56" fmla="*/ 714471 h 3024283"/>
                  <a:gd name="connsiteX57" fmla="*/ 14287 w 2577100"/>
                  <a:gd name="connsiteY57" fmla="*/ 723996 h 3024283"/>
                  <a:gd name="connsiteX58" fmla="*/ 4762 w 2577100"/>
                  <a:gd name="connsiteY58" fmla="*/ 752571 h 3024283"/>
                  <a:gd name="connsiteX59" fmla="*/ 0 w 2577100"/>
                  <a:gd name="connsiteY59" fmla="*/ 766858 h 3024283"/>
                  <a:gd name="connsiteX60" fmla="*/ 9525 w 2577100"/>
                  <a:gd name="connsiteY60" fmla="*/ 809721 h 3024283"/>
                  <a:gd name="connsiteX61" fmla="*/ 28575 w 2577100"/>
                  <a:gd name="connsiteY61" fmla="*/ 838296 h 3024283"/>
                  <a:gd name="connsiteX62" fmla="*/ 47625 w 2577100"/>
                  <a:gd name="connsiteY62" fmla="*/ 852583 h 3024283"/>
                  <a:gd name="connsiteX63" fmla="*/ 57150 w 2577100"/>
                  <a:gd name="connsiteY63" fmla="*/ 919258 h 3024283"/>
                  <a:gd name="connsiteX64" fmla="*/ 71437 w 2577100"/>
                  <a:gd name="connsiteY64" fmla="*/ 995458 h 3024283"/>
                  <a:gd name="connsiteX65" fmla="*/ 71437 w 2577100"/>
                  <a:gd name="connsiteY65" fmla="*/ 1095471 h 3024283"/>
                  <a:gd name="connsiteX66" fmla="*/ 57150 w 2577100"/>
                  <a:gd name="connsiteY66" fmla="*/ 1128808 h 3024283"/>
                  <a:gd name="connsiteX67" fmla="*/ 23812 w 2577100"/>
                  <a:gd name="connsiteY67" fmla="*/ 1152621 h 3024283"/>
                  <a:gd name="connsiteX68" fmla="*/ 9525 w 2577100"/>
                  <a:gd name="connsiteY68" fmla="*/ 1185958 h 3024283"/>
                  <a:gd name="connsiteX69" fmla="*/ 23812 w 2577100"/>
                  <a:gd name="connsiteY69" fmla="*/ 1200246 h 3024283"/>
                  <a:gd name="connsiteX70" fmla="*/ 47625 w 2577100"/>
                  <a:gd name="connsiteY70" fmla="*/ 1219296 h 3024283"/>
                  <a:gd name="connsiteX71" fmla="*/ 57150 w 2577100"/>
                  <a:gd name="connsiteY71" fmla="*/ 1247871 h 3024283"/>
                  <a:gd name="connsiteX72" fmla="*/ 42862 w 2577100"/>
                  <a:gd name="connsiteY72" fmla="*/ 1319308 h 3024283"/>
                  <a:gd name="connsiteX73" fmla="*/ 47625 w 2577100"/>
                  <a:gd name="connsiteY73" fmla="*/ 1485996 h 3024283"/>
                  <a:gd name="connsiteX74" fmla="*/ 52387 w 2577100"/>
                  <a:gd name="connsiteY74" fmla="*/ 1500283 h 3024283"/>
                  <a:gd name="connsiteX75" fmla="*/ 66675 w 2577100"/>
                  <a:gd name="connsiteY75" fmla="*/ 1547908 h 3024283"/>
                  <a:gd name="connsiteX76" fmla="*/ 71437 w 2577100"/>
                  <a:gd name="connsiteY76" fmla="*/ 1566958 h 3024283"/>
                  <a:gd name="connsiteX77" fmla="*/ 104775 w 2577100"/>
                  <a:gd name="connsiteY77" fmla="*/ 1605058 h 3024283"/>
                  <a:gd name="connsiteX78" fmla="*/ 119062 w 2577100"/>
                  <a:gd name="connsiteY78" fmla="*/ 1609821 h 3024283"/>
                  <a:gd name="connsiteX79" fmla="*/ 147637 w 2577100"/>
                  <a:gd name="connsiteY79" fmla="*/ 1628871 h 3024283"/>
                  <a:gd name="connsiteX80" fmla="*/ 176212 w 2577100"/>
                  <a:gd name="connsiteY80" fmla="*/ 1686021 h 3024283"/>
                  <a:gd name="connsiteX81" fmla="*/ 190500 w 2577100"/>
                  <a:gd name="connsiteY81" fmla="*/ 1700308 h 3024283"/>
                  <a:gd name="connsiteX82" fmla="*/ 200025 w 2577100"/>
                  <a:gd name="connsiteY82" fmla="*/ 1714596 h 3024283"/>
                  <a:gd name="connsiteX83" fmla="*/ 204787 w 2577100"/>
                  <a:gd name="connsiteY83" fmla="*/ 1733646 h 3024283"/>
                  <a:gd name="connsiteX84" fmla="*/ 214312 w 2577100"/>
                  <a:gd name="connsiteY84" fmla="*/ 1762221 h 3024283"/>
                  <a:gd name="connsiteX85" fmla="*/ 219075 w 2577100"/>
                  <a:gd name="connsiteY85" fmla="*/ 1857471 h 3024283"/>
                  <a:gd name="connsiteX86" fmla="*/ 228600 w 2577100"/>
                  <a:gd name="connsiteY86" fmla="*/ 1876521 h 3024283"/>
                  <a:gd name="connsiteX87" fmla="*/ 233362 w 2577100"/>
                  <a:gd name="connsiteY87" fmla="*/ 1909858 h 3024283"/>
                  <a:gd name="connsiteX88" fmla="*/ 247650 w 2577100"/>
                  <a:gd name="connsiteY88" fmla="*/ 1924146 h 3024283"/>
                  <a:gd name="connsiteX89" fmla="*/ 257175 w 2577100"/>
                  <a:gd name="connsiteY89" fmla="*/ 1943196 h 3024283"/>
                  <a:gd name="connsiteX90" fmla="*/ 290512 w 2577100"/>
                  <a:gd name="connsiteY90" fmla="*/ 1986058 h 3024283"/>
                  <a:gd name="connsiteX91" fmla="*/ 309562 w 2577100"/>
                  <a:gd name="connsiteY91" fmla="*/ 2014633 h 3024283"/>
                  <a:gd name="connsiteX92" fmla="*/ 323850 w 2577100"/>
                  <a:gd name="connsiteY92" fmla="*/ 2043208 h 3024283"/>
                  <a:gd name="connsiteX93" fmla="*/ 338137 w 2577100"/>
                  <a:gd name="connsiteY93" fmla="*/ 2057496 h 3024283"/>
                  <a:gd name="connsiteX94" fmla="*/ 361950 w 2577100"/>
                  <a:gd name="connsiteY94" fmla="*/ 2100358 h 3024283"/>
                  <a:gd name="connsiteX95" fmla="*/ 342900 w 2577100"/>
                  <a:gd name="connsiteY95" fmla="*/ 2124171 h 3024283"/>
                  <a:gd name="connsiteX96" fmla="*/ 314325 w 2577100"/>
                  <a:gd name="connsiteY96" fmla="*/ 2133696 h 3024283"/>
                  <a:gd name="connsiteX97" fmla="*/ 300037 w 2577100"/>
                  <a:gd name="connsiteY97" fmla="*/ 2162271 h 3024283"/>
                  <a:gd name="connsiteX98" fmla="*/ 280987 w 2577100"/>
                  <a:gd name="connsiteY98" fmla="*/ 2233708 h 3024283"/>
                  <a:gd name="connsiteX99" fmla="*/ 257175 w 2577100"/>
                  <a:gd name="connsiteY99" fmla="*/ 2309908 h 3024283"/>
                  <a:gd name="connsiteX100" fmla="*/ 242887 w 2577100"/>
                  <a:gd name="connsiteY100" fmla="*/ 2314671 h 3024283"/>
                  <a:gd name="connsiteX101" fmla="*/ 228600 w 2577100"/>
                  <a:gd name="connsiteY101" fmla="*/ 2324196 h 3024283"/>
                  <a:gd name="connsiteX102" fmla="*/ 219075 w 2577100"/>
                  <a:gd name="connsiteY102" fmla="*/ 2433733 h 3024283"/>
                  <a:gd name="connsiteX103" fmla="*/ 214312 w 2577100"/>
                  <a:gd name="connsiteY103" fmla="*/ 2448021 h 3024283"/>
                  <a:gd name="connsiteX104" fmla="*/ 219075 w 2577100"/>
                  <a:gd name="connsiteY104" fmla="*/ 2486121 h 3024283"/>
                  <a:gd name="connsiteX105" fmla="*/ 223837 w 2577100"/>
                  <a:gd name="connsiteY105" fmla="*/ 2505171 h 3024283"/>
                  <a:gd name="connsiteX106" fmla="*/ 252412 w 2577100"/>
                  <a:gd name="connsiteY106" fmla="*/ 2533746 h 3024283"/>
                  <a:gd name="connsiteX107" fmla="*/ 280987 w 2577100"/>
                  <a:gd name="connsiteY107" fmla="*/ 2576608 h 3024283"/>
                  <a:gd name="connsiteX108" fmla="*/ 295275 w 2577100"/>
                  <a:gd name="connsiteY108" fmla="*/ 2595658 h 3024283"/>
                  <a:gd name="connsiteX109" fmla="*/ 304800 w 2577100"/>
                  <a:gd name="connsiteY109" fmla="*/ 2609946 h 3024283"/>
                  <a:gd name="connsiteX110" fmla="*/ 309562 w 2577100"/>
                  <a:gd name="connsiteY110" fmla="*/ 2624233 h 3024283"/>
                  <a:gd name="connsiteX111" fmla="*/ 338137 w 2577100"/>
                  <a:gd name="connsiteY111" fmla="*/ 2657571 h 3024283"/>
                  <a:gd name="connsiteX112" fmla="*/ 357187 w 2577100"/>
                  <a:gd name="connsiteY112" fmla="*/ 2686146 h 3024283"/>
                  <a:gd name="connsiteX113" fmla="*/ 376237 w 2577100"/>
                  <a:gd name="connsiteY113" fmla="*/ 2714721 h 3024283"/>
                  <a:gd name="connsiteX114" fmla="*/ 385762 w 2577100"/>
                  <a:gd name="connsiteY114" fmla="*/ 2733771 h 3024283"/>
                  <a:gd name="connsiteX115" fmla="*/ 400050 w 2577100"/>
                  <a:gd name="connsiteY115" fmla="*/ 2748058 h 3024283"/>
                  <a:gd name="connsiteX116" fmla="*/ 409575 w 2577100"/>
                  <a:gd name="connsiteY116" fmla="*/ 2781396 h 3024283"/>
                  <a:gd name="connsiteX117" fmla="*/ 414337 w 2577100"/>
                  <a:gd name="connsiteY117" fmla="*/ 2795683 h 3024283"/>
                  <a:gd name="connsiteX118" fmla="*/ 395287 w 2577100"/>
                  <a:gd name="connsiteY118" fmla="*/ 2824258 h 3024283"/>
                  <a:gd name="connsiteX119" fmla="*/ 376237 w 2577100"/>
                  <a:gd name="connsiteY119" fmla="*/ 2852833 h 3024283"/>
                  <a:gd name="connsiteX120" fmla="*/ 366712 w 2577100"/>
                  <a:gd name="connsiteY120" fmla="*/ 2867121 h 3024283"/>
                  <a:gd name="connsiteX121" fmla="*/ 338137 w 2577100"/>
                  <a:gd name="connsiteY121" fmla="*/ 2895696 h 3024283"/>
                  <a:gd name="connsiteX122" fmla="*/ 309562 w 2577100"/>
                  <a:gd name="connsiteY122" fmla="*/ 2909983 h 3024283"/>
                  <a:gd name="connsiteX123" fmla="*/ 290512 w 2577100"/>
                  <a:gd name="connsiteY123" fmla="*/ 2919508 h 3024283"/>
                  <a:gd name="connsiteX124" fmla="*/ 276225 w 2577100"/>
                  <a:gd name="connsiteY124" fmla="*/ 2933796 h 3024283"/>
                  <a:gd name="connsiteX125" fmla="*/ 271462 w 2577100"/>
                  <a:gd name="connsiteY125" fmla="*/ 2948083 h 3024283"/>
                  <a:gd name="connsiteX126" fmla="*/ 257175 w 2577100"/>
                  <a:gd name="connsiteY126" fmla="*/ 2957608 h 3024283"/>
                  <a:gd name="connsiteX127" fmla="*/ 247650 w 2577100"/>
                  <a:gd name="connsiteY127" fmla="*/ 2971896 h 3024283"/>
                  <a:gd name="connsiteX128" fmla="*/ 238125 w 2577100"/>
                  <a:gd name="connsiteY128" fmla="*/ 3009996 h 3024283"/>
                  <a:gd name="connsiteX129" fmla="*/ 252412 w 2577100"/>
                  <a:gd name="connsiteY129" fmla="*/ 3024283 h 3024283"/>
                  <a:gd name="connsiteX130" fmla="*/ 285750 w 2577100"/>
                  <a:gd name="connsiteY130" fmla="*/ 3019521 h 3024283"/>
                  <a:gd name="connsiteX131" fmla="*/ 314325 w 2577100"/>
                  <a:gd name="connsiteY131" fmla="*/ 3009996 h 3024283"/>
                  <a:gd name="connsiteX132" fmla="*/ 328612 w 2577100"/>
                  <a:gd name="connsiteY132" fmla="*/ 3000471 h 3024283"/>
                  <a:gd name="connsiteX133" fmla="*/ 409575 w 2577100"/>
                  <a:gd name="connsiteY133" fmla="*/ 2990946 h 3024283"/>
                  <a:gd name="connsiteX134" fmla="*/ 481012 w 2577100"/>
                  <a:gd name="connsiteY134" fmla="*/ 2976658 h 3024283"/>
                  <a:gd name="connsiteX135" fmla="*/ 523875 w 2577100"/>
                  <a:gd name="connsiteY135" fmla="*/ 2957608 h 3024283"/>
                  <a:gd name="connsiteX136" fmla="*/ 523875 w 2577100"/>
                  <a:gd name="connsiteY136" fmla="*/ 2957608 h 3024283"/>
                  <a:gd name="connsiteX137" fmla="*/ 561975 w 2577100"/>
                  <a:gd name="connsiteY137" fmla="*/ 2933796 h 3024283"/>
                  <a:gd name="connsiteX138" fmla="*/ 576262 w 2577100"/>
                  <a:gd name="connsiteY138" fmla="*/ 2919508 h 3024283"/>
                  <a:gd name="connsiteX139" fmla="*/ 633412 w 2577100"/>
                  <a:gd name="connsiteY139" fmla="*/ 2909983 h 3024283"/>
                  <a:gd name="connsiteX140" fmla="*/ 671512 w 2577100"/>
                  <a:gd name="connsiteY140" fmla="*/ 2876646 h 3024283"/>
                  <a:gd name="connsiteX141" fmla="*/ 676275 w 2577100"/>
                  <a:gd name="connsiteY141" fmla="*/ 2862358 h 3024283"/>
                  <a:gd name="connsiteX142" fmla="*/ 661987 w 2577100"/>
                  <a:gd name="connsiteY142" fmla="*/ 2829021 h 3024283"/>
                  <a:gd name="connsiteX143" fmla="*/ 666750 w 2577100"/>
                  <a:gd name="connsiteY143" fmla="*/ 2809971 h 3024283"/>
                  <a:gd name="connsiteX144" fmla="*/ 676275 w 2577100"/>
                  <a:gd name="connsiteY144" fmla="*/ 2781396 h 3024283"/>
                  <a:gd name="connsiteX145" fmla="*/ 671512 w 2577100"/>
                  <a:gd name="connsiteY145" fmla="*/ 2752821 h 3024283"/>
                  <a:gd name="connsiteX146" fmla="*/ 690562 w 2577100"/>
                  <a:gd name="connsiteY146" fmla="*/ 2748058 h 3024283"/>
                  <a:gd name="connsiteX147" fmla="*/ 733425 w 2577100"/>
                  <a:gd name="connsiteY147" fmla="*/ 2733771 h 3024283"/>
                  <a:gd name="connsiteX148" fmla="*/ 871537 w 2577100"/>
                  <a:gd name="connsiteY148" fmla="*/ 2738533 h 3024283"/>
                  <a:gd name="connsiteX149" fmla="*/ 914400 w 2577100"/>
                  <a:gd name="connsiteY149" fmla="*/ 2743296 h 3024283"/>
                  <a:gd name="connsiteX150" fmla="*/ 957262 w 2577100"/>
                  <a:gd name="connsiteY150" fmla="*/ 2762346 h 3024283"/>
                  <a:gd name="connsiteX151" fmla="*/ 971550 w 2577100"/>
                  <a:gd name="connsiteY151" fmla="*/ 2767108 h 3024283"/>
                  <a:gd name="connsiteX152" fmla="*/ 1085850 w 2577100"/>
                  <a:gd name="connsiteY152" fmla="*/ 2762346 h 3024283"/>
                  <a:gd name="connsiteX153" fmla="*/ 1109662 w 2577100"/>
                  <a:gd name="connsiteY153" fmla="*/ 2757583 h 3024283"/>
                  <a:gd name="connsiteX154" fmla="*/ 1171575 w 2577100"/>
                  <a:gd name="connsiteY154" fmla="*/ 2743296 h 3024283"/>
                  <a:gd name="connsiteX155" fmla="*/ 1204912 w 2577100"/>
                  <a:gd name="connsiteY155" fmla="*/ 2719483 h 3024283"/>
                  <a:gd name="connsiteX156" fmla="*/ 1223962 w 2577100"/>
                  <a:gd name="connsiteY156" fmla="*/ 2705196 h 3024283"/>
                  <a:gd name="connsiteX157" fmla="*/ 1495425 w 2577100"/>
                  <a:gd name="connsiteY157" fmla="*/ 2700433 h 3024283"/>
                  <a:gd name="connsiteX158" fmla="*/ 1509712 w 2577100"/>
                  <a:gd name="connsiteY158" fmla="*/ 2686146 h 3024283"/>
                  <a:gd name="connsiteX159" fmla="*/ 1524000 w 2577100"/>
                  <a:gd name="connsiteY159" fmla="*/ 2676621 h 3024283"/>
                  <a:gd name="connsiteX160" fmla="*/ 1547812 w 2577100"/>
                  <a:gd name="connsiteY160" fmla="*/ 2643283 h 3024283"/>
                  <a:gd name="connsiteX161" fmla="*/ 1571625 w 2577100"/>
                  <a:gd name="connsiteY161" fmla="*/ 2648046 h 3024283"/>
                  <a:gd name="connsiteX162" fmla="*/ 1624012 w 2577100"/>
                  <a:gd name="connsiteY162" fmla="*/ 2638521 h 3024283"/>
                  <a:gd name="connsiteX163" fmla="*/ 1638300 w 2577100"/>
                  <a:gd name="connsiteY163" fmla="*/ 2628996 h 3024283"/>
                  <a:gd name="connsiteX164" fmla="*/ 1666875 w 2577100"/>
                  <a:gd name="connsiteY164" fmla="*/ 2619471 h 3024283"/>
                  <a:gd name="connsiteX165" fmla="*/ 1681162 w 2577100"/>
                  <a:gd name="connsiteY165" fmla="*/ 2614708 h 3024283"/>
                  <a:gd name="connsiteX166" fmla="*/ 1695450 w 2577100"/>
                  <a:gd name="connsiteY166" fmla="*/ 2609946 h 3024283"/>
                  <a:gd name="connsiteX167" fmla="*/ 1709737 w 2577100"/>
                  <a:gd name="connsiteY167" fmla="*/ 2605183 h 3024283"/>
                  <a:gd name="connsiteX168" fmla="*/ 1724025 w 2577100"/>
                  <a:gd name="connsiteY168" fmla="*/ 2590896 h 3024283"/>
                  <a:gd name="connsiteX169" fmla="*/ 1728787 w 2577100"/>
                  <a:gd name="connsiteY169" fmla="*/ 2576608 h 3024283"/>
                  <a:gd name="connsiteX170" fmla="*/ 1757362 w 2577100"/>
                  <a:gd name="connsiteY170" fmla="*/ 2557558 h 3024283"/>
                  <a:gd name="connsiteX171" fmla="*/ 1781175 w 2577100"/>
                  <a:gd name="connsiteY171" fmla="*/ 2538508 h 3024283"/>
                  <a:gd name="connsiteX172" fmla="*/ 1809750 w 2577100"/>
                  <a:gd name="connsiteY172" fmla="*/ 2519458 h 3024283"/>
                  <a:gd name="connsiteX173" fmla="*/ 1819275 w 2577100"/>
                  <a:gd name="connsiteY173" fmla="*/ 2505171 h 3024283"/>
                  <a:gd name="connsiteX174" fmla="*/ 1824037 w 2577100"/>
                  <a:gd name="connsiteY174" fmla="*/ 2490883 h 3024283"/>
                  <a:gd name="connsiteX175" fmla="*/ 1838325 w 2577100"/>
                  <a:gd name="connsiteY175" fmla="*/ 2476596 h 3024283"/>
                  <a:gd name="connsiteX176" fmla="*/ 1843087 w 2577100"/>
                  <a:gd name="connsiteY176" fmla="*/ 2462308 h 3024283"/>
                  <a:gd name="connsiteX177" fmla="*/ 1928812 w 2577100"/>
                  <a:gd name="connsiteY177" fmla="*/ 2448021 h 3024283"/>
                  <a:gd name="connsiteX178" fmla="*/ 1947862 w 2577100"/>
                  <a:gd name="connsiteY178" fmla="*/ 2428971 h 3024283"/>
                  <a:gd name="connsiteX179" fmla="*/ 1962150 w 2577100"/>
                  <a:gd name="connsiteY179" fmla="*/ 2419446 h 3024283"/>
                  <a:gd name="connsiteX180" fmla="*/ 1981200 w 2577100"/>
                  <a:gd name="connsiteY180" fmla="*/ 2367058 h 3024283"/>
                  <a:gd name="connsiteX181" fmla="*/ 1985962 w 2577100"/>
                  <a:gd name="connsiteY181" fmla="*/ 2348008 h 3024283"/>
                  <a:gd name="connsiteX182" fmla="*/ 1990725 w 2577100"/>
                  <a:gd name="connsiteY182" fmla="*/ 2333721 h 3024283"/>
                  <a:gd name="connsiteX183" fmla="*/ 1985962 w 2577100"/>
                  <a:gd name="connsiteY183" fmla="*/ 2228946 h 3024283"/>
                  <a:gd name="connsiteX184" fmla="*/ 1971675 w 2577100"/>
                  <a:gd name="connsiteY184" fmla="*/ 2214658 h 3024283"/>
                  <a:gd name="connsiteX185" fmla="*/ 1943100 w 2577100"/>
                  <a:gd name="connsiteY185" fmla="*/ 2205133 h 3024283"/>
                  <a:gd name="connsiteX186" fmla="*/ 1928812 w 2577100"/>
                  <a:gd name="connsiteY186" fmla="*/ 2195608 h 3024283"/>
                  <a:gd name="connsiteX187" fmla="*/ 1943100 w 2577100"/>
                  <a:gd name="connsiteY187" fmla="*/ 2147983 h 3024283"/>
                  <a:gd name="connsiteX188" fmla="*/ 1952625 w 2577100"/>
                  <a:gd name="connsiteY188" fmla="*/ 2133696 h 3024283"/>
                  <a:gd name="connsiteX189" fmla="*/ 1957387 w 2577100"/>
                  <a:gd name="connsiteY189" fmla="*/ 2119408 h 3024283"/>
                  <a:gd name="connsiteX190" fmla="*/ 1962150 w 2577100"/>
                  <a:gd name="connsiteY190" fmla="*/ 2100358 h 3024283"/>
                  <a:gd name="connsiteX191" fmla="*/ 1981200 w 2577100"/>
                  <a:gd name="connsiteY191" fmla="*/ 2062258 h 3024283"/>
                  <a:gd name="connsiteX192" fmla="*/ 1995487 w 2577100"/>
                  <a:gd name="connsiteY192" fmla="*/ 2009871 h 3024283"/>
                  <a:gd name="connsiteX193" fmla="*/ 2000250 w 2577100"/>
                  <a:gd name="connsiteY193" fmla="*/ 1995583 h 3024283"/>
                  <a:gd name="connsiteX194" fmla="*/ 2019300 w 2577100"/>
                  <a:gd name="connsiteY194" fmla="*/ 1986058 h 3024283"/>
                  <a:gd name="connsiteX195" fmla="*/ 2033587 w 2577100"/>
                  <a:gd name="connsiteY195" fmla="*/ 1990821 h 3024283"/>
                  <a:gd name="connsiteX196" fmla="*/ 2052637 w 2577100"/>
                  <a:gd name="connsiteY196" fmla="*/ 1957483 h 3024283"/>
                  <a:gd name="connsiteX197" fmla="*/ 2047875 w 2577100"/>
                  <a:gd name="connsiteY197" fmla="*/ 1881283 h 3024283"/>
                  <a:gd name="connsiteX198" fmla="*/ 2052637 w 2577100"/>
                  <a:gd name="connsiteY198" fmla="*/ 1833658 h 3024283"/>
                  <a:gd name="connsiteX199" fmla="*/ 2047875 w 2577100"/>
                  <a:gd name="connsiteY199" fmla="*/ 1757458 h 3024283"/>
                  <a:gd name="connsiteX200" fmla="*/ 2028825 w 2577100"/>
                  <a:gd name="connsiteY200" fmla="*/ 1686021 h 3024283"/>
                  <a:gd name="connsiteX201" fmla="*/ 2014537 w 2577100"/>
                  <a:gd name="connsiteY201" fmla="*/ 1681258 h 3024283"/>
                  <a:gd name="connsiteX202" fmla="*/ 2019300 w 2577100"/>
                  <a:gd name="connsiteY202" fmla="*/ 1595533 h 3024283"/>
                  <a:gd name="connsiteX203" fmla="*/ 2028825 w 2577100"/>
                  <a:gd name="connsiteY203" fmla="*/ 1576483 h 3024283"/>
                  <a:gd name="connsiteX204" fmla="*/ 2038350 w 2577100"/>
                  <a:gd name="connsiteY204" fmla="*/ 1547908 h 3024283"/>
                  <a:gd name="connsiteX205" fmla="*/ 2033587 w 2577100"/>
                  <a:gd name="connsiteY205" fmla="*/ 1524096 h 3024283"/>
                  <a:gd name="connsiteX206" fmla="*/ 2019300 w 2577100"/>
                  <a:gd name="connsiteY206" fmla="*/ 1509808 h 3024283"/>
                  <a:gd name="connsiteX207" fmla="*/ 2009775 w 2577100"/>
                  <a:gd name="connsiteY207" fmla="*/ 1495521 h 3024283"/>
                  <a:gd name="connsiteX208" fmla="*/ 2033587 w 2577100"/>
                  <a:gd name="connsiteY208" fmla="*/ 1447896 h 3024283"/>
                  <a:gd name="connsiteX209" fmla="*/ 2043112 w 2577100"/>
                  <a:gd name="connsiteY209" fmla="*/ 1428846 h 3024283"/>
                  <a:gd name="connsiteX210" fmla="*/ 2071687 w 2577100"/>
                  <a:gd name="connsiteY210" fmla="*/ 1409796 h 3024283"/>
                  <a:gd name="connsiteX211" fmla="*/ 2081212 w 2577100"/>
                  <a:gd name="connsiteY211" fmla="*/ 1376458 h 3024283"/>
                  <a:gd name="connsiteX212" fmla="*/ 2085975 w 2577100"/>
                  <a:gd name="connsiteY212" fmla="*/ 1347883 h 3024283"/>
                  <a:gd name="connsiteX213" fmla="*/ 2090737 w 2577100"/>
                  <a:gd name="connsiteY213" fmla="*/ 1328833 h 3024283"/>
                  <a:gd name="connsiteX214" fmla="*/ 2119312 w 2577100"/>
                  <a:gd name="connsiteY214" fmla="*/ 1314546 h 3024283"/>
                  <a:gd name="connsiteX215" fmla="*/ 2133600 w 2577100"/>
                  <a:gd name="connsiteY215" fmla="*/ 1300258 h 3024283"/>
                  <a:gd name="connsiteX216" fmla="*/ 2147887 w 2577100"/>
                  <a:gd name="connsiteY216" fmla="*/ 1290733 h 3024283"/>
                  <a:gd name="connsiteX217" fmla="*/ 2166937 w 2577100"/>
                  <a:gd name="connsiteY217" fmla="*/ 1262158 h 3024283"/>
                  <a:gd name="connsiteX218" fmla="*/ 2176462 w 2577100"/>
                  <a:gd name="connsiteY218" fmla="*/ 1247871 h 3024283"/>
                  <a:gd name="connsiteX219" fmla="*/ 2185987 w 2577100"/>
                  <a:gd name="connsiteY219" fmla="*/ 1233583 h 3024283"/>
                  <a:gd name="connsiteX220" fmla="*/ 2219325 w 2577100"/>
                  <a:gd name="connsiteY220" fmla="*/ 1200246 h 3024283"/>
                  <a:gd name="connsiteX221" fmla="*/ 2224087 w 2577100"/>
                  <a:gd name="connsiteY221" fmla="*/ 1185958 h 3024283"/>
                  <a:gd name="connsiteX222" fmla="*/ 2252662 w 2577100"/>
                  <a:gd name="connsiteY222" fmla="*/ 1176433 h 3024283"/>
                  <a:gd name="connsiteX223" fmla="*/ 2286000 w 2577100"/>
                  <a:gd name="connsiteY223" fmla="*/ 1185958 h 3024283"/>
                  <a:gd name="connsiteX224" fmla="*/ 2300287 w 2577100"/>
                  <a:gd name="connsiteY224" fmla="*/ 1200246 h 3024283"/>
                  <a:gd name="connsiteX225" fmla="*/ 2305050 w 2577100"/>
                  <a:gd name="connsiteY225" fmla="*/ 1214533 h 3024283"/>
                  <a:gd name="connsiteX226" fmla="*/ 2343150 w 2577100"/>
                  <a:gd name="connsiteY226" fmla="*/ 1224058 h 3024283"/>
                  <a:gd name="connsiteX227" fmla="*/ 2357437 w 2577100"/>
                  <a:gd name="connsiteY227" fmla="*/ 1219296 h 3024283"/>
                  <a:gd name="connsiteX228" fmla="*/ 2371725 w 2577100"/>
                  <a:gd name="connsiteY228" fmla="*/ 1190721 h 3024283"/>
                  <a:gd name="connsiteX229" fmla="*/ 2386012 w 2577100"/>
                  <a:gd name="connsiteY229" fmla="*/ 1181196 h 3024283"/>
                  <a:gd name="connsiteX230" fmla="*/ 2400300 w 2577100"/>
                  <a:gd name="connsiteY230" fmla="*/ 1166908 h 3024283"/>
                  <a:gd name="connsiteX231" fmla="*/ 2428875 w 2577100"/>
                  <a:gd name="connsiteY231" fmla="*/ 1152621 h 3024283"/>
                  <a:gd name="connsiteX232" fmla="*/ 2471737 w 2577100"/>
                  <a:gd name="connsiteY232" fmla="*/ 1128808 h 3024283"/>
                  <a:gd name="connsiteX233" fmla="*/ 2486025 w 2577100"/>
                  <a:gd name="connsiteY233" fmla="*/ 1119283 h 3024283"/>
                  <a:gd name="connsiteX234" fmla="*/ 2519362 w 2577100"/>
                  <a:gd name="connsiteY234" fmla="*/ 1109758 h 3024283"/>
                  <a:gd name="connsiteX235" fmla="*/ 2552700 w 2577100"/>
                  <a:gd name="connsiteY235" fmla="*/ 1095471 h 3024283"/>
                  <a:gd name="connsiteX236" fmla="*/ 2566987 w 2577100"/>
                  <a:gd name="connsiteY236" fmla="*/ 1085946 h 3024283"/>
                  <a:gd name="connsiteX237" fmla="*/ 2562225 w 2577100"/>
                  <a:gd name="connsiteY237" fmla="*/ 1062133 h 3024283"/>
                  <a:gd name="connsiteX238" fmla="*/ 2547937 w 2577100"/>
                  <a:gd name="connsiteY238" fmla="*/ 1057371 h 3024283"/>
                  <a:gd name="connsiteX239" fmla="*/ 2543175 w 2577100"/>
                  <a:gd name="connsiteY239" fmla="*/ 1043083 h 3024283"/>
                  <a:gd name="connsiteX240" fmla="*/ 2547937 w 2577100"/>
                  <a:gd name="connsiteY240" fmla="*/ 1028796 h 3024283"/>
                  <a:gd name="connsiteX241" fmla="*/ 2557462 w 2577100"/>
                  <a:gd name="connsiteY241" fmla="*/ 1009746 h 3024283"/>
                  <a:gd name="connsiteX242" fmla="*/ 2566987 w 2577100"/>
                  <a:gd name="connsiteY242" fmla="*/ 962121 h 3024283"/>
                  <a:gd name="connsiteX243" fmla="*/ 2571750 w 2577100"/>
                  <a:gd name="connsiteY243" fmla="*/ 947833 h 3024283"/>
                  <a:gd name="connsiteX244" fmla="*/ 2571750 w 2577100"/>
                  <a:gd name="connsiteY244" fmla="*/ 866871 h 3024283"/>
                  <a:gd name="connsiteX245" fmla="*/ 2562225 w 2577100"/>
                  <a:gd name="connsiteY245" fmla="*/ 828771 h 3024283"/>
                  <a:gd name="connsiteX246" fmla="*/ 2557462 w 2577100"/>
                  <a:gd name="connsiteY246" fmla="*/ 814483 h 3024283"/>
                  <a:gd name="connsiteX247" fmla="*/ 2543175 w 2577100"/>
                  <a:gd name="connsiteY247" fmla="*/ 800196 h 3024283"/>
                  <a:gd name="connsiteX248" fmla="*/ 2538412 w 2577100"/>
                  <a:gd name="connsiteY248" fmla="*/ 785908 h 3024283"/>
                  <a:gd name="connsiteX249" fmla="*/ 2524125 w 2577100"/>
                  <a:gd name="connsiteY249" fmla="*/ 781146 h 3024283"/>
                  <a:gd name="connsiteX250" fmla="*/ 2509837 w 2577100"/>
                  <a:gd name="connsiteY250" fmla="*/ 766858 h 3024283"/>
                  <a:gd name="connsiteX251" fmla="*/ 2495550 w 2577100"/>
                  <a:gd name="connsiteY251" fmla="*/ 733521 h 3024283"/>
                  <a:gd name="connsiteX252" fmla="*/ 2466975 w 2577100"/>
                  <a:gd name="connsiteY252" fmla="*/ 723996 h 3024283"/>
                  <a:gd name="connsiteX253" fmla="*/ 2433637 w 2577100"/>
                  <a:gd name="connsiteY253" fmla="*/ 704946 h 3024283"/>
                  <a:gd name="connsiteX254" fmla="*/ 2424112 w 2577100"/>
                  <a:gd name="connsiteY254" fmla="*/ 690658 h 3024283"/>
                  <a:gd name="connsiteX255" fmla="*/ 2419350 w 2577100"/>
                  <a:gd name="connsiteY255" fmla="*/ 671608 h 3024283"/>
                  <a:gd name="connsiteX256" fmla="*/ 2414587 w 2577100"/>
                  <a:gd name="connsiteY256" fmla="*/ 657321 h 3024283"/>
                  <a:gd name="connsiteX257" fmla="*/ 2409825 w 2577100"/>
                  <a:gd name="connsiteY257" fmla="*/ 638271 h 3024283"/>
                  <a:gd name="connsiteX258" fmla="*/ 2390775 w 2577100"/>
                  <a:gd name="connsiteY258" fmla="*/ 609696 h 3024283"/>
                  <a:gd name="connsiteX259" fmla="*/ 2347912 w 2577100"/>
                  <a:gd name="connsiteY259" fmla="*/ 604933 h 3024283"/>
                  <a:gd name="connsiteX260" fmla="*/ 2343150 w 2577100"/>
                  <a:gd name="connsiteY260" fmla="*/ 547783 h 3024283"/>
                  <a:gd name="connsiteX261" fmla="*/ 2324100 w 2577100"/>
                  <a:gd name="connsiteY261" fmla="*/ 519208 h 3024283"/>
                  <a:gd name="connsiteX262" fmla="*/ 2319337 w 2577100"/>
                  <a:gd name="connsiteY262" fmla="*/ 504921 h 3024283"/>
                  <a:gd name="connsiteX263" fmla="*/ 2309812 w 2577100"/>
                  <a:gd name="connsiteY263" fmla="*/ 481108 h 3024283"/>
                  <a:gd name="connsiteX264" fmla="*/ 2300287 w 2577100"/>
                  <a:gd name="connsiteY264" fmla="*/ 452533 h 3024283"/>
                  <a:gd name="connsiteX265" fmla="*/ 2271712 w 2577100"/>
                  <a:gd name="connsiteY265" fmla="*/ 423958 h 3024283"/>
                  <a:gd name="connsiteX266" fmla="*/ 2243137 w 2577100"/>
                  <a:gd name="connsiteY266" fmla="*/ 400146 h 3024283"/>
                  <a:gd name="connsiteX267" fmla="*/ 2252662 w 2577100"/>
                  <a:gd name="connsiteY267" fmla="*/ 371571 h 3024283"/>
                  <a:gd name="connsiteX268" fmla="*/ 2247900 w 2577100"/>
                  <a:gd name="connsiteY268" fmla="*/ 333471 h 3024283"/>
                  <a:gd name="connsiteX269" fmla="*/ 2190750 w 2577100"/>
                  <a:gd name="connsiteY269" fmla="*/ 347758 h 3024283"/>
                  <a:gd name="connsiteX270" fmla="*/ 2176462 w 2577100"/>
                  <a:gd name="connsiteY270" fmla="*/ 362046 h 3024283"/>
                  <a:gd name="connsiteX271" fmla="*/ 2138362 w 2577100"/>
                  <a:gd name="connsiteY271" fmla="*/ 371571 h 3024283"/>
                  <a:gd name="connsiteX272" fmla="*/ 2124075 w 2577100"/>
                  <a:gd name="connsiteY272" fmla="*/ 381096 h 3024283"/>
                  <a:gd name="connsiteX273" fmla="*/ 2085975 w 2577100"/>
                  <a:gd name="connsiteY273" fmla="*/ 390621 h 3024283"/>
                  <a:gd name="connsiteX274" fmla="*/ 2014537 w 2577100"/>
                  <a:gd name="connsiteY274" fmla="*/ 385858 h 3024283"/>
                  <a:gd name="connsiteX275" fmla="*/ 2000250 w 2577100"/>
                  <a:gd name="connsiteY275" fmla="*/ 366808 h 3024283"/>
                  <a:gd name="connsiteX276" fmla="*/ 2005012 w 2577100"/>
                  <a:gd name="connsiteY276" fmla="*/ 352521 h 3024283"/>
                  <a:gd name="connsiteX277" fmla="*/ 2014537 w 2577100"/>
                  <a:gd name="connsiteY277" fmla="*/ 309658 h 3024283"/>
                  <a:gd name="connsiteX278" fmla="*/ 2009775 w 2577100"/>
                  <a:gd name="connsiteY278" fmla="*/ 271558 h 3024283"/>
                  <a:gd name="connsiteX279" fmla="*/ 1995487 w 2577100"/>
                  <a:gd name="connsiteY279" fmla="*/ 257271 h 3024283"/>
                  <a:gd name="connsiteX280" fmla="*/ 1981200 w 2577100"/>
                  <a:gd name="connsiteY280" fmla="*/ 209646 h 3024283"/>
                  <a:gd name="connsiteX281" fmla="*/ 1966912 w 2577100"/>
                  <a:gd name="connsiteY281" fmla="*/ 166783 h 3024283"/>
                  <a:gd name="connsiteX282" fmla="*/ 1957387 w 2577100"/>
                  <a:gd name="connsiteY282" fmla="*/ 152496 h 3024283"/>
                  <a:gd name="connsiteX283" fmla="*/ 1943100 w 2577100"/>
                  <a:gd name="connsiteY283" fmla="*/ 133446 h 3024283"/>
                  <a:gd name="connsiteX284" fmla="*/ 1933575 w 2577100"/>
                  <a:gd name="connsiteY284" fmla="*/ 119158 h 3024283"/>
                  <a:gd name="connsiteX285" fmla="*/ 1919287 w 2577100"/>
                  <a:gd name="connsiteY285" fmla="*/ 104871 h 3024283"/>
                  <a:gd name="connsiteX286" fmla="*/ 1895475 w 2577100"/>
                  <a:gd name="connsiteY286" fmla="*/ 62008 h 3024283"/>
                  <a:gd name="connsiteX287" fmla="*/ 1890712 w 2577100"/>
                  <a:gd name="connsiteY287" fmla="*/ 47721 h 3024283"/>
                  <a:gd name="connsiteX288" fmla="*/ 1866900 w 2577100"/>
                  <a:gd name="connsiteY288" fmla="*/ 19146 h 3024283"/>
                  <a:gd name="connsiteX289" fmla="*/ 1866900 w 2577100"/>
                  <a:gd name="connsiteY289" fmla="*/ 96 h 3024283"/>
                  <a:gd name="connsiteX0" fmla="*/ 1866900 w 2577100"/>
                  <a:gd name="connsiteY0" fmla="*/ 96 h 3024283"/>
                  <a:gd name="connsiteX1" fmla="*/ 1833562 w 2577100"/>
                  <a:gd name="connsiteY1" fmla="*/ 28671 h 3024283"/>
                  <a:gd name="connsiteX2" fmla="*/ 1819275 w 2577100"/>
                  <a:gd name="connsiteY2" fmla="*/ 100108 h 3024283"/>
                  <a:gd name="connsiteX3" fmla="*/ 1814512 w 2577100"/>
                  <a:gd name="connsiteY3" fmla="*/ 123921 h 3024283"/>
                  <a:gd name="connsiteX4" fmla="*/ 1804987 w 2577100"/>
                  <a:gd name="connsiteY4" fmla="*/ 138208 h 3024283"/>
                  <a:gd name="connsiteX5" fmla="*/ 1781175 w 2577100"/>
                  <a:gd name="connsiteY5" fmla="*/ 181071 h 3024283"/>
                  <a:gd name="connsiteX6" fmla="*/ 1762125 w 2577100"/>
                  <a:gd name="connsiteY6" fmla="*/ 209646 h 3024283"/>
                  <a:gd name="connsiteX7" fmla="*/ 1752600 w 2577100"/>
                  <a:gd name="connsiteY7" fmla="*/ 223933 h 3024283"/>
                  <a:gd name="connsiteX8" fmla="*/ 1747837 w 2577100"/>
                  <a:gd name="connsiteY8" fmla="*/ 238221 h 3024283"/>
                  <a:gd name="connsiteX9" fmla="*/ 1733550 w 2577100"/>
                  <a:gd name="connsiteY9" fmla="*/ 252508 h 3024283"/>
                  <a:gd name="connsiteX10" fmla="*/ 1724025 w 2577100"/>
                  <a:gd name="connsiteY10" fmla="*/ 266796 h 3024283"/>
                  <a:gd name="connsiteX11" fmla="*/ 1709737 w 2577100"/>
                  <a:gd name="connsiteY11" fmla="*/ 281083 h 3024283"/>
                  <a:gd name="connsiteX12" fmla="*/ 1681162 w 2577100"/>
                  <a:gd name="connsiteY12" fmla="*/ 328708 h 3024283"/>
                  <a:gd name="connsiteX13" fmla="*/ 1666875 w 2577100"/>
                  <a:gd name="connsiteY13" fmla="*/ 366808 h 3024283"/>
                  <a:gd name="connsiteX14" fmla="*/ 1643062 w 2577100"/>
                  <a:gd name="connsiteY14" fmla="*/ 395383 h 3024283"/>
                  <a:gd name="connsiteX15" fmla="*/ 1633537 w 2577100"/>
                  <a:gd name="connsiteY15" fmla="*/ 409671 h 3024283"/>
                  <a:gd name="connsiteX16" fmla="*/ 1619250 w 2577100"/>
                  <a:gd name="connsiteY16" fmla="*/ 423958 h 3024283"/>
                  <a:gd name="connsiteX17" fmla="*/ 1604962 w 2577100"/>
                  <a:gd name="connsiteY17" fmla="*/ 443008 h 3024283"/>
                  <a:gd name="connsiteX18" fmla="*/ 1571625 w 2577100"/>
                  <a:gd name="connsiteY18" fmla="*/ 462058 h 3024283"/>
                  <a:gd name="connsiteX19" fmla="*/ 1495425 w 2577100"/>
                  <a:gd name="connsiteY19" fmla="*/ 466821 h 3024283"/>
                  <a:gd name="connsiteX20" fmla="*/ 1462087 w 2577100"/>
                  <a:gd name="connsiteY20" fmla="*/ 481108 h 3024283"/>
                  <a:gd name="connsiteX21" fmla="*/ 1414462 w 2577100"/>
                  <a:gd name="connsiteY21" fmla="*/ 495396 h 3024283"/>
                  <a:gd name="connsiteX22" fmla="*/ 1409700 w 2577100"/>
                  <a:gd name="connsiteY22" fmla="*/ 509683 h 3024283"/>
                  <a:gd name="connsiteX23" fmla="*/ 1395412 w 2577100"/>
                  <a:gd name="connsiteY23" fmla="*/ 514446 h 3024283"/>
                  <a:gd name="connsiteX24" fmla="*/ 1371600 w 2577100"/>
                  <a:gd name="connsiteY24" fmla="*/ 519208 h 3024283"/>
                  <a:gd name="connsiteX25" fmla="*/ 1357312 w 2577100"/>
                  <a:gd name="connsiteY25" fmla="*/ 528733 h 3024283"/>
                  <a:gd name="connsiteX26" fmla="*/ 1333500 w 2577100"/>
                  <a:gd name="connsiteY26" fmla="*/ 533496 h 3024283"/>
                  <a:gd name="connsiteX27" fmla="*/ 1300162 w 2577100"/>
                  <a:gd name="connsiteY27" fmla="*/ 543021 h 3024283"/>
                  <a:gd name="connsiteX28" fmla="*/ 1271587 w 2577100"/>
                  <a:gd name="connsiteY28" fmla="*/ 566833 h 3024283"/>
                  <a:gd name="connsiteX29" fmla="*/ 1238250 w 2577100"/>
                  <a:gd name="connsiteY29" fmla="*/ 590646 h 3024283"/>
                  <a:gd name="connsiteX30" fmla="*/ 1200150 w 2577100"/>
                  <a:gd name="connsiteY30" fmla="*/ 623983 h 3024283"/>
                  <a:gd name="connsiteX31" fmla="*/ 1171575 w 2577100"/>
                  <a:gd name="connsiteY31" fmla="*/ 633508 h 3024283"/>
                  <a:gd name="connsiteX32" fmla="*/ 957262 w 2577100"/>
                  <a:gd name="connsiteY32" fmla="*/ 619221 h 3024283"/>
                  <a:gd name="connsiteX33" fmla="*/ 904875 w 2577100"/>
                  <a:gd name="connsiteY33" fmla="*/ 652558 h 3024283"/>
                  <a:gd name="connsiteX34" fmla="*/ 885825 w 2577100"/>
                  <a:gd name="connsiteY34" fmla="*/ 666846 h 3024283"/>
                  <a:gd name="connsiteX35" fmla="*/ 852487 w 2577100"/>
                  <a:gd name="connsiteY35" fmla="*/ 681133 h 3024283"/>
                  <a:gd name="connsiteX36" fmla="*/ 838200 w 2577100"/>
                  <a:gd name="connsiteY36" fmla="*/ 690658 h 3024283"/>
                  <a:gd name="connsiteX37" fmla="*/ 800100 w 2577100"/>
                  <a:gd name="connsiteY37" fmla="*/ 700183 h 3024283"/>
                  <a:gd name="connsiteX38" fmla="*/ 785812 w 2577100"/>
                  <a:gd name="connsiteY38" fmla="*/ 704946 h 3024283"/>
                  <a:gd name="connsiteX39" fmla="*/ 762000 w 2577100"/>
                  <a:gd name="connsiteY39" fmla="*/ 709708 h 3024283"/>
                  <a:gd name="connsiteX40" fmla="*/ 742950 w 2577100"/>
                  <a:gd name="connsiteY40" fmla="*/ 714471 h 3024283"/>
                  <a:gd name="connsiteX41" fmla="*/ 709612 w 2577100"/>
                  <a:gd name="connsiteY41" fmla="*/ 704946 h 3024283"/>
                  <a:gd name="connsiteX42" fmla="*/ 676275 w 2577100"/>
                  <a:gd name="connsiteY42" fmla="*/ 695421 h 3024283"/>
                  <a:gd name="connsiteX43" fmla="*/ 657225 w 2577100"/>
                  <a:gd name="connsiteY43" fmla="*/ 685896 h 3024283"/>
                  <a:gd name="connsiteX44" fmla="*/ 595312 w 2577100"/>
                  <a:gd name="connsiteY44" fmla="*/ 695421 h 3024283"/>
                  <a:gd name="connsiteX45" fmla="*/ 571500 w 2577100"/>
                  <a:gd name="connsiteY45" fmla="*/ 700183 h 3024283"/>
                  <a:gd name="connsiteX46" fmla="*/ 542925 w 2577100"/>
                  <a:gd name="connsiteY46" fmla="*/ 709708 h 3024283"/>
                  <a:gd name="connsiteX47" fmla="*/ 519112 w 2577100"/>
                  <a:gd name="connsiteY47" fmla="*/ 738283 h 3024283"/>
                  <a:gd name="connsiteX48" fmla="*/ 490537 w 2577100"/>
                  <a:gd name="connsiteY48" fmla="*/ 747808 h 3024283"/>
                  <a:gd name="connsiteX49" fmla="*/ 476250 w 2577100"/>
                  <a:gd name="connsiteY49" fmla="*/ 752571 h 3024283"/>
                  <a:gd name="connsiteX50" fmla="*/ 333375 w 2577100"/>
                  <a:gd name="connsiteY50" fmla="*/ 747808 h 3024283"/>
                  <a:gd name="connsiteX51" fmla="*/ 290512 w 2577100"/>
                  <a:gd name="connsiteY51" fmla="*/ 733521 h 3024283"/>
                  <a:gd name="connsiteX52" fmla="*/ 252412 w 2577100"/>
                  <a:gd name="connsiteY52" fmla="*/ 723996 h 3024283"/>
                  <a:gd name="connsiteX53" fmla="*/ 214312 w 2577100"/>
                  <a:gd name="connsiteY53" fmla="*/ 709708 h 3024283"/>
                  <a:gd name="connsiteX54" fmla="*/ 166687 w 2577100"/>
                  <a:gd name="connsiteY54" fmla="*/ 700183 h 3024283"/>
                  <a:gd name="connsiteX55" fmla="*/ 42862 w 2577100"/>
                  <a:gd name="connsiteY55" fmla="*/ 709708 h 3024283"/>
                  <a:gd name="connsiteX56" fmla="*/ 28575 w 2577100"/>
                  <a:gd name="connsiteY56" fmla="*/ 714471 h 3024283"/>
                  <a:gd name="connsiteX57" fmla="*/ 14287 w 2577100"/>
                  <a:gd name="connsiteY57" fmla="*/ 723996 h 3024283"/>
                  <a:gd name="connsiteX58" fmla="*/ 4762 w 2577100"/>
                  <a:gd name="connsiteY58" fmla="*/ 752571 h 3024283"/>
                  <a:gd name="connsiteX59" fmla="*/ 0 w 2577100"/>
                  <a:gd name="connsiteY59" fmla="*/ 766858 h 3024283"/>
                  <a:gd name="connsiteX60" fmla="*/ 9525 w 2577100"/>
                  <a:gd name="connsiteY60" fmla="*/ 809721 h 3024283"/>
                  <a:gd name="connsiteX61" fmla="*/ 28575 w 2577100"/>
                  <a:gd name="connsiteY61" fmla="*/ 838296 h 3024283"/>
                  <a:gd name="connsiteX62" fmla="*/ 47625 w 2577100"/>
                  <a:gd name="connsiteY62" fmla="*/ 852583 h 3024283"/>
                  <a:gd name="connsiteX63" fmla="*/ 57150 w 2577100"/>
                  <a:gd name="connsiteY63" fmla="*/ 919258 h 3024283"/>
                  <a:gd name="connsiteX64" fmla="*/ 71437 w 2577100"/>
                  <a:gd name="connsiteY64" fmla="*/ 995458 h 3024283"/>
                  <a:gd name="connsiteX65" fmla="*/ 71437 w 2577100"/>
                  <a:gd name="connsiteY65" fmla="*/ 1095471 h 3024283"/>
                  <a:gd name="connsiteX66" fmla="*/ 57150 w 2577100"/>
                  <a:gd name="connsiteY66" fmla="*/ 1128808 h 3024283"/>
                  <a:gd name="connsiteX67" fmla="*/ 23812 w 2577100"/>
                  <a:gd name="connsiteY67" fmla="*/ 1152621 h 3024283"/>
                  <a:gd name="connsiteX68" fmla="*/ 9525 w 2577100"/>
                  <a:gd name="connsiteY68" fmla="*/ 1185958 h 3024283"/>
                  <a:gd name="connsiteX69" fmla="*/ 23812 w 2577100"/>
                  <a:gd name="connsiteY69" fmla="*/ 1200246 h 3024283"/>
                  <a:gd name="connsiteX70" fmla="*/ 47625 w 2577100"/>
                  <a:gd name="connsiteY70" fmla="*/ 1219296 h 3024283"/>
                  <a:gd name="connsiteX71" fmla="*/ 57150 w 2577100"/>
                  <a:gd name="connsiteY71" fmla="*/ 1247871 h 3024283"/>
                  <a:gd name="connsiteX72" fmla="*/ 42862 w 2577100"/>
                  <a:gd name="connsiteY72" fmla="*/ 1319308 h 3024283"/>
                  <a:gd name="connsiteX73" fmla="*/ 47625 w 2577100"/>
                  <a:gd name="connsiteY73" fmla="*/ 1485996 h 3024283"/>
                  <a:gd name="connsiteX74" fmla="*/ 52387 w 2577100"/>
                  <a:gd name="connsiteY74" fmla="*/ 1500283 h 3024283"/>
                  <a:gd name="connsiteX75" fmla="*/ 66675 w 2577100"/>
                  <a:gd name="connsiteY75" fmla="*/ 1547908 h 3024283"/>
                  <a:gd name="connsiteX76" fmla="*/ 71437 w 2577100"/>
                  <a:gd name="connsiteY76" fmla="*/ 1566958 h 3024283"/>
                  <a:gd name="connsiteX77" fmla="*/ 104775 w 2577100"/>
                  <a:gd name="connsiteY77" fmla="*/ 1605058 h 3024283"/>
                  <a:gd name="connsiteX78" fmla="*/ 119062 w 2577100"/>
                  <a:gd name="connsiteY78" fmla="*/ 1609821 h 3024283"/>
                  <a:gd name="connsiteX79" fmla="*/ 147637 w 2577100"/>
                  <a:gd name="connsiteY79" fmla="*/ 1628871 h 3024283"/>
                  <a:gd name="connsiteX80" fmla="*/ 176212 w 2577100"/>
                  <a:gd name="connsiteY80" fmla="*/ 1686021 h 3024283"/>
                  <a:gd name="connsiteX81" fmla="*/ 190500 w 2577100"/>
                  <a:gd name="connsiteY81" fmla="*/ 1700308 h 3024283"/>
                  <a:gd name="connsiteX82" fmla="*/ 200025 w 2577100"/>
                  <a:gd name="connsiteY82" fmla="*/ 1714596 h 3024283"/>
                  <a:gd name="connsiteX83" fmla="*/ 204787 w 2577100"/>
                  <a:gd name="connsiteY83" fmla="*/ 1733646 h 3024283"/>
                  <a:gd name="connsiteX84" fmla="*/ 214312 w 2577100"/>
                  <a:gd name="connsiteY84" fmla="*/ 1762221 h 3024283"/>
                  <a:gd name="connsiteX85" fmla="*/ 219075 w 2577100"/>
                  <a:gd name="connsiteY85" fmla="*/ 1857471 h 3024283"/>
                  <a:gd name="connsiteX86" fmla="*/ 228600 w 2577100"/>
                  <a:gd name="connsiteY86" fmla="*/ 1876521 h 3024283"/>
                  <a:gd name="connsiteX87" fmla="*/ 233362 w 2577100"/>
                  <a:gd name="connsiteY87" fmla="*/ 1909858 h 3024283"/>
                  <a:gd name="connsiteX88" fmla="*/ 247650 w 2577100"/>
                  <a:gd name="connsiteY88" fmla="*/ 1924146 h 3024283"/>
                  <a:gd name="connsiteX89" fmla="*/ 257175 w 2577100"/>
                  <a:gd name="connsiteY89" fmla="*/ 1943196 h 3024283"/>
                  <a:gd name="connsiteX90" fmla="*/ 290512 w 2577100"/>
                  <a:gd name="connsiteY90" fmla="*/ 1986058 h 3024283"/>
                  <a:gd name="connsiteX91" fmla="*/ 309562 w 2577100"/>
                  <a:gd name="connsiteY91" fmla="*/ 2014633 h 3024283"/>
                  <a:gd name="connsiteX92" fmla="*/ 323850 w 2577100"/>
                  <a:gd name="connsiteY92" fmla="*/ 2043208 h 3024283"/>
                  <a:gd name="connsiteX93" fmla="*/ 338137 w 2577100"/>
                  <a:gd name="connsiteY93" fmla="*/ 2057496 h 3024283"/>
                  <a:gd name="connsiteX94" fmla="*/ 361950 w 2577100"/>
                  <a:gd name="connsiteY94" fmla="*/ 2100358 h 3024283"/>
                  <a:gd name="connsiteX95" fmla="*/ 342900 w 2577100"/>
                  <a:gd name="connsiteY95" fmla="*/ 2124171 h 3024283"/>
                  <a:gd name="connsiteX96" fmla="*/ 314325 w 2577100"/>
                  <a:gd name="connsiteY96" fmla="*/ 2133696 h 3024283"/>
                  <a:gd name="connsiteX97" fmla="*/ 300037 w 2577100"/>
                  <a:gd name="connsiteY97" fmla="*/ 2162271 h 3024283"/>
                  <a:gd name="connsiteX98" fmla="*/ 280987 w 2577100"/>
                  <a:gd name="connsiteY98" fmla="*/ 2233708 h 3024283"/>
                  <a:gd name="connsiteX99" fmla="*/ 257175 w 2577100"/>
                  <a:gd name="connsiteY99" fmla="*/ 2309908 h 3024283"/>
                  <a:gd name="connsiteX100" fmla="*/ 242887 w 2577100"/>
                  <a:gd name="connsiteY100" fmla="*/ 2314671 h 3024283"/>
                  <a:gd name="connsiteX101" fmla="*/ 228600 w 2577100"/>
                  <a:gd name="connsiteY101" fmla="*/ 2324196 h 3024283"/>
                  <a:gd name="connsiteX102" fmla="*/ 219075 w 2577100"/>
                  <a:gd name="connsiteY102" fmla="*/ 2433733 h 3024283"/>
                  <a:gd name="connsiteX103" fmla="*/ 214312 w 2577100"/>
                  <a:gd name="connsiteY103" fmla="*/ 2448021 h 3024283"/>
                  <a:gd name="connsiteX104" fmla="*/ 219075 w 2577100"/>
                  <a:gd name="connsiteY104" fmla="*/ 2486121 h 3024283"/>
                  <a:gd name="connsiteX105" fmla="*/ 223837 w 2577100"/>
                  <a:gd name="connsiteY105" fmla="*/ 2505171 h 3024283"/>
                  <a:gd name="connsiteX106" fmla="*/ 252412 w 2577100"/>
                  <a:gd name="connsiteY106" fmla="*/ 2533746 h 3024283"/>
                  <a:gd name="connsiteX107" fmla="*/ 280987 w 2577100"/>
                  <a:gd name="connsiteY107" fmla="*/ 2576608 h 3024283"/>
                  <a:gd name="connsiteX108" fmla="*/ 295275 w 2577100"/>
                  <a:gd name="connsiteY108" fmla="*/ 2595658 h 3024283"/>
                  <a:gd name="connsiteX109" fmla="*/ 304800 w 2577100"/>
                  <a:gd name="connsiteY109" fmla="*/ 2609946 h 3024283"/>
                  <a:gd name="connsiteX110" fmla="*/ 309562 w 2577100"/>
                  <a:gd name="connsiteY110" fmla="*/ 2624233 h 3024283"/>
                  <a:gd name="connsiteX111" fmla="*/ 338137 w 2577100"/>
                  <a:gd name="connsiteY111" fmla="*/ 2657571 h 3024283"/>
                  <a:gd name="connsiteX112" fmla="*/ 357187 w 2577100"/>
                  <a:gd name="connsiteY112" fmla="*/ 2686146 h 3024283"/>
                  <a:gd name="connsiteX113" fmla="*/ 376237 w 2577100"/>
                  <a:gd name="connsiteY113" fmla="*/ 2714721 h 3024283"/>
                  <a:gd name="connsiteX114" fmla="*/ 385762 w 2577100"/>
                  <a:gd name="connsiteY114" fmla="*/ 2733771 h 3024283"/>
                  <a:gd name="connsiteX115" fmla="*/ 400050 w 2577100"/>
                  <a:gd name="connsiteY115" fmla="*/ 2748058 h 3024283"/>
                  <a:gd name="connsiteX116" fmla="*/ 409575 w 2577100"/>
                  <a:gd name="connsiteY116" fmla="*/ 2781396 h 3024283"/>
                  <a:gd name="connsiteX117" fmla="*/ 414337 w 2577100"/>
                  <a:gd name="connsiteY117" fmla="*/ 2795683 h 3024283"/>
                  <a:gd name="connsiteX118" fmla="*/ 395287 w 2577100"/>
                  <a:gd name="connsiteY118" fmla="*/ 2824258 h 3024283"/>
                  <a:gd name="connsiteX119" fmla="*/ 376237 w 2577100"/>
                  <a:gd name="connsiteY119" fmla="*/ 2852833 h 3024283"/>
                  <a:gd name="connsiteX120" fmla="*/ 366712 w 2577100"/>
                  <a:gd name="connsiteY120" fmla="*/ 2867121 h 3024283"/>
                  <a:gd name="connsiteX121" fmla="*/ 338137 w 2577100"/>
                  <a:gd name="connsiteY121" fmla="*/ 2895696 h 3024283"/>
                  <a:gd name="connsiteX122" fmla="*/ 309562 w 2577100"/>
                  <a:gd name="connsiteY122" fmla="*/ 2909983 h 3024283"/>
                  <a:gd name="connsiteX123" fmla="*/ 290512 w 2577100"/>
                  <a:gd name="connsiteY123" fmla="*/ 2919508 h 3024283"/>
                  <a:gd name="connsiteX124" fmla="*/ 276225 w 2577100"/>
                  <a:gd name="connsiteY124" fmla="*/ 2933796 h 3024283"/>
                  <a:gd name="connsiteX125" fmla="*/ 271462 w 2577100"/>
                  <a:gd name="connsiteY125" fmla="*/ 2948083 h 3024283"/>
                  <a:gd name="connsiteX126" fmla="*/ 257175 w 2577100"/>
                  <a:gd name="connsiteY126" fmla="*/ 2957608 h 3024283"/>
                  <a:gd name="connsiteX127" fmla="*/ 247650 w 2577100"/>
                  <a:gd name="connsiteY127" fmla="*/ 2971896 h 3024283"/>
                  <a:gd name="connsiteX128" fmla="*/ 238125 w 2577100"/>
                  <a:gd name="connsiteY128" fmla="*/ 3009996 h 3024283"/>
                  <a:gd name="connsiteX129" fmla="*/ 252412 w 2577100"/>
                  <a:gd name="connsiteY129" fmla="*/ 3024283 h 3024283"/>
                  <a:gd name="connsiteX130" fmla="*/ 285750 w 2577100"/>
                  <a:gd name="connsiteY130" fmla="*/ 3019521 h 3024283"/>
                  <a:gd name="connsiteX131" fmla="*/ 314325 w 2577100"/>
                  <a:gd name="connsiteY131" fmla="*/ 3009996 h 3024283"/>
                  <a:gd name="connsiteX132" fmla="*/ 328612 w 2577100"/>
                  <a:gd name="connsiteY132" fmla="*/ 3000471 h 3024283"/>
                  <a:gd name="connsiteX133" fmla="*/ 409575 w 2577100"/>
                  <a:gd name="connsiteY133" fmla="*/ 2990946 h 3024283"/>
                  <a:gd name="connsiteX134" fmla="*/ 481012 w 2577100"/>
                  <a:gd name="connsiteY134" fmla="*/ 2976658 h 3024283"/>
                  <a:gd name="connsiteX135" fmla="*/ 523875 w 2577100"/>
                  <a:gd name="connsiteY135" fmla="*/ 2957608 h 3024283"/>
                  <a:gd name="connsiteX136" fmla="*/ 523875 w 2577100"/>
                  <a:gd name="connsiteY136" fmla="*/ 2957608 h 3024283"/>
                  <a:gd name="connsiteX137" fmla="*/ 561975 w 2577100"/>
                  <a:gd name="connsiteY137" fmla="*/ 2933796 h 3024283"/>
                  <a:gd name="connsiteX138" fmla="*/ 576262 w 2577100"/>
                  <a:gd name="connsiteY138" fmla="*/ 2919508 h 3024283"/>
                  <a:gd name="connsiteX139" fmla="*/ 633412 w 2577100"/>
                  <a:gd name="connsiteY139" fmla="*/ 2909983 h 3024283"/>
                  <a:gd name="connsiteX140" fmla="*/ 671512 w 2577100"/>
                  <a:gd name="connsiteY140" fmla="*/ 2876646 h 3024283"/>
                  <a:gd name="connsiteX141" fmla="*/ 676275 w 2577100"/>
                  <a:gd name="connsiteY141" fmla="*/ 2862358 h 3024283"/>
                  <a:gd name="connsiteX142" fmla="*/ 661987 w 2577100"/>
                  <a:gd name="connsiteY142" fmla="*/ 2829021 h 3024283"/>
                  <a:gd name="connsiteX143" fmla="*/ 666750 w 2577100"/>
                  <a:gd name="connsiteY143" fmla="*/ 2809971 h 3024283"/>
                  <a:gd name="connsiteX144" fmla="*/ 676275 w 2577100"/>
                  <a:gd name="connsiteY144" fmla="*/ 2781396 h 3024283"/>
                  <a:gd name="connsiteX145" fmla="*/ 671512 w 2577100"/>
                  <a:gd name="connsiteY145" fmla="*/ 2752821 h 3024283"/>
                  <a:gd name="connsiteX146" fmla="*/ 690562 w 2577100"/>
                  <a:gd name="connsiteY146" fmla="*/ 2748058 h 3024283"/>
                  <a:gd name="connsiteX147" fmla="*/ 733425 w 2577100"/>
                  <a:gd name="connsiteY147" fmla="*/ 2733771 h 3024283"/>
                  <a:gd name="connsiteX148" fmla="*/ 871537 w 2577100"/>
                  <a:gd name="connsiteY148" fmla="*/ 2738533 h 3024283"/>
                  <a:gd name="connsiteX149" fmla="*/ 914400 w 2577100"/>
                  <a:gd name="connsiteY149" fmla="*/ 2743296 h 3024283"/>
                  <a:gd name="connsiteX150" fmla="*/ 957262 w 2577100"/>
                  <a:gd name="connsiteY150" fmla="*/ 2762346 h 3024283"/>
                  <a:gd name="connsiteX151" fmla="*/ 971550 w 2577100"/>
                  <a:gd name="connsiteY151" fmla="*/ 2767108 h 3024283"/>
                  <a:gd name="connsiteX152" fmla="*/ 1085850 w 2577100"/>
                  <a:gd name="connsiteY152" fmla="*/ 2762346 h 3024283"/>
                  <a:gd name="connsiteX153" fmla="*/ 1109662 w 2577100"/>
                  <a:gd name="connsiteY153" fmla="*/ 2757583 h 3024283"/>
                  <a:gd name="connsiteX154" fmla="*/ 1171575 w 2577100"/>
                  <a:gd name="connsiteY154" fmla="*/ 2743296 h 3024283"/>
                  <a:gd name="connsiteX155" fmla="*/ 1204912 w 2577100"/>
                  <a:gd name="connsiteY155" fmla="*/ 2719483 h 3024283"/>
                  <a:gd name="connsiteX156" fmla="*/ 1223962 w 2577100"/>
                  <a:gd name="connsiteY156" fmla="*/ 2705196 h 3024283"/>
                  <a:gd name="connsiteX157" fmla="*/ 1495425 w 2577100"/>
                  <a:gd name="connsiteY157" fmla="*/ 2700433 h 3024283"/>
                  <a:gd name="connsiteX158" fmla="*/ 1509712 w 2577100"/>
                  <a:gd name="connsiteY158" fmla="*/ 2686146 h 3024283"/>
                  <a:gd name="connsiteX159" fmla="*/ 1524000 w 2577100"/>
                  <a:gd name="connsiteY159" fmla="*/ 2676621 h 3024283"/>
                  <a:gd name="connsiteX160" fmla="*/ 1547812 w 2577100"/>
                  <a:gd name="connsiteY160" fmla="*/ 2643283 h 3024283"/>
                  <a:gd name="connsiteX161" fmla="*/ 1571625 w 2577100"/>
                  <a:gd name="connsiteY161" fmla="*/ 2648046 h 3024283"/>
                  <a:gd name="connsiteX162" fmla="*/ 1624012 w 2577100"/>
                  <a:gd name="connsiteY162" fmla="*/ 2638521 h 3024283"/>
                  <a:gd name="connsiteX163" fmla="*/ 1638300 w 2577100"/>
                  <a:gd name="connsiteY163" fmla="*/ 2628996 h 3024283"/>
                  <a:gd name="connsiteX164" fmla="*/ 1666875 w 2577100"/>
                  <a:gd name="connsiteY164" fmla="*/ 2619471 h 3024283"/>
                  <a:gd name="connsiteX165" fmla="*/ 1681162 w 2577100"/>
                  <a:gd name="connsiteY165" fmla="*/ 2614708 h 3024283"/>
                  <a:gd name="connsiteX166" fmla="*/ 1695450 w 2577100"/>
                  <a:gd name="connsiteY166" fmla="*/ 2609946 h 3024283"/>
                  <a:gd name="connsiteX167" fmla="*/ 1709737 w 2577100"/>
                  <a:gd name="connsiteY167" fmla="*/ 2605183 h 3024283"/>
                  <a:gd name="connsiteX168" fmla="*/ 1724025 w 2577100"/>
                  <a:gd name="connsiteY168" fmla="*/ 2590896 h 3024283"/>
                  <a:gd name="connsiteX169" fmla="*/ 1728787 w 2577100"/>
                  <a:gd name="connsiteY169" fmla="*/ 2576608 h 3024283"/>
                  <a:gd name="connsiteX170" fmla="*/ 1757362 w 2577100"/>
                  <a:gd name="connsiteY170" fmla="*/ 2557558 h 3024283"/>
                  <a:gd name="connsiteX171" fmla="*/ 1781175 w 2577100"/>
                  <a:gd name="connsiteY171" fmla="*/ 2538508 h 3024283"/>
                  <a:gd name="connsiteX172" fmla="*/ 1809750 w 2577100"/>
                  <a:gd name="connsiteY172" fmla="*/ 2519458 h 3024283"/>
                  <a:gd name="connsiteX173" fmla="*/ 1819275 w 2577100"/>
                  <a:gd name="connsiteY173" fmla="*/ 2505171 h 3024283"/>
                  <a:gd name="connsiteX174" fmla="*/ 1824037 w 2577100"/>
                  <a:gd name="connsiteY174" fmla="*/ 2490883 h 3024283"/>
                  <a:gd name="connsiteX175" fmla="*/ 1838325 w 2577100"/>
                  <a:gd name="connsiteY175" fmla="*/ 2476596 h 3024283"/>
                  <a:gd name="connsiteX176" fmla="*/ 1843087 w 2577100"/>
                  <a:gd name="connsiteY176" fmla="*/ 2462308 h 3024283"/>
                  <a:gd name="connsiteX177" fmla="*/ 1928812 w 2577100"/>
                  <a:gd name="connsiteY177" fmla="*/ 2448021 h 3024283"/>
                  <a:gd name="connsiteX178" fmla="*/ 1947862 w 2577100"/>
                  <a:gd name="connsiteY178" fmla="*/ 2428971 h 3024283"/>
                  <a:gd name="connsiteX179" fmla="*/ 1962150 w 2577100"/>
                  <a:gd name="connsiteY179" fmla="*/ 2419446 h 3024283"/>
                  <a:gd name="connsiteX180" fmla="*/ 1981200 w 2577100"/>
                  <a:gd name="connsiteY180" fmla="*/ 2367058 h 3024283"/>
                  <a:gd name="connsiteX181" fmla="*/ 1985962 w 2577100"/>
                  <a:gd name="connsiteY181" fmla="*/ 2348008 h 3024283"/>
                  <a:gd name="connsiteX182" fmla="*/ 1990725 w 2577100"/>
                  <a:gd name="connsiteY182" fmla="*/ 2333721 h 3024283"/>
                  <a:gd name="connsiteX183" fmla="*/ 1985962 w 2577100"/>
                  <a:gd name="connsiteY183" fmla="*/ 2228946 h 3024283"/>
                  <a:gd name="connsiteX184" fmla="*/ 1971675 w 2577100"/>
                  <a:gd name="connsiteY184" fmla="*/ 2214658 h 3024283"/>
                  <a:gd name="connsiteX185" fmla="*/ 1943100 w 2577100"/>
                  <a:gd name="connsiteY185" fmla="*/ 2205133 h 3024283"/>
                  <a:gd name="connsiteX186" fmla="*/ 1928812 w 2577100"/>
                  <a:gd name="connsiteY186" fmla="*/ 2195608 h 3024283"/>
                  <a:gd name="connsiteX187" fmla="*/ 1943100 w 2577100"/>
                  <a:gd name="connsiteY187" fmla="*/ 2147983 h 3024283"/>
                  <a:gd name="connsiteX188" fmla="*/ 1952625 w 2577100"/>
                  <a:gd name="connsiteY188" fmla="*/ 2133696 h 3024283"/>
                  <a:gd name="connsiteX189" fmla="*/ 1957387 w 2577100"/>
                  <a:gd name="connsiteY189" fmla="*/ 2119408 h 3024283"/>
                  <a:gd name="connsiteX190" fmla="*/ 1962150 w 2577100"/>
                  <a:gd name="connsiteY190" fmla="*/ 2100358 h 3024283"/>
                  <a:gd name="connsiteX191" fmla="*/ 1981200 w 2577100"/>
                  <a:gd name="connsiteY191" fmla="*/ 2062258 h 3024283"/>
                  <a:gd name="connsiteX192" fmla="*/ 1995487 w 2577100"/>
                  <a:gd name="connsiteY192" fmla="*/ 2009871 h 3024283"/>
                  <a:gd name="connsiteX193" fmla="*/ 2000250 w 2577100"/>
                  <a:gd name="connsiteY193" fmla="*/ 1995583 h 3024283"/>
                  <a:gd name="connsiteX194" fmla="*/ 2019300 w 2577100"/>
                  <a:gd name="connsiteY194" fmla="*/ 1986058 h 3024283"/>
                  <a:gd name="connsiteX195" fmla="*/ 2033587 w 2577100"/>
                  <a:gd name="connsiteY195" fmla="*/ 1990821 h 3024283"/>
                  <a:gd name="connsiteX196" fmla="*/ 2052637 w 2577100"/>
                  <a:gd name="connsiteY196" fmla="*/ 1957483 h 3024283"/>
                  <a:gd name="connsiteX197" fmla="*/ 2047875 w 2577100"/>
                  <a:gd name="connsiteY197" fmla="*/ 1881283 h 3024283"/>
                  <a:gd name="connsiteX198" fmla="*/ 2052637 w 2577100"/>
                  <a:gd name="connsiteY198" fmla="*/ 1833658 h 3024283"/>
                  <a:gd name="connsiteX199" fmla="*/ 2047875 w 2577100"/>
                  <a:gd name="connsiteY199" fmla="*/ 1757458 h 3024283"/>
                  <a:gd name="connsiteX200" fmla="*/ 2028825 w 2577100"/>
                  <a:gd name="connsiteY200" fmla="*/ 1686021 h 3024283"/>
                  <a:gd name="connsiteX201" fmla="*/ 2014537 w 2577100"/>
                  <a:gd name="connsiteY201" fmla="*/ 1681258 h 3024283"/>
                  <a:gd name="connsiteX202" fmla="*/ 2019300 w 2577100"/>
                  <a:gd name="connsiteY202" fmla="*/ 1595533 h 3024283"/>
                  <a:gd name="connsiteX203" fmla="*/ 2028825 w 2577100"/>
                  <a:gd name="connsiteY203" fmla="*/ 1576483 h 3024283"/>
                  <a:gd name="connsiteX204" fmla="*/ 2038350 w 2577100"/>
                  <a:gd name="connsiteY204" fmla="*/ 1547908 h 3024283"/>
                  <a:gd name="connsiteX205" fmla="*/ 2033587 w 2577100"/>
                  <a:gd name="connsiteY205" fmla="*/ 1524096 h 3024283"/>
                  <a:gd name="connsiteX206" fmla="*/ 2019300 w 2577100"/>
                  <a:gd name="connsiteY206" fmla="*/ 1509808 h 3024283"/>
                  <a:gd name="connsiteX207" fmla="*/ 2009775 w 2577100"/>
                  <a:gd name="connsiteY207" fmla="*/ 1495521 h 3024283"/>
                  <a:gd name="connsiteX208" fmla="*/ 2033587 w 2577100"/>
                  <a:gd name="connsiteY208" fmla="*/ 1447896 h 3024283"/>
                  <a:gd name="connsiteX209" fmla="*/ 2043112 w 2577100"/>
                  <a:gd name="connsiteY209" fmla="*/ 1428846 h 3024283"/>
                  <a:gd name="connsiteX210" fmla="*/ 2071687 w 2577100"/>
                  <a:gd name="connsiteY210" fmla="*/ 1409796 h 3024283"/>
                  <a:gd name="connsiteX211" fmla="*/ 2081212 w 2577100"/>
                  <a:gd name="connsiteY211" fmla="*/ 1376458 h 3024283"/>
                  <a:gd name="connsiteX212" fmla="*/ 2085975 w 2577100"/>
                  <a:gd name="connsiteY212" fmla="*/ 1347883 h 3024283"/>
                  <a:gd name="connsiteX213" fmla="*/ 2090737 w 2577100"/>
                  <a:gd name="connsiteY213" fmla="*/ 1328833 h 3024283"/>
                  <a:gd name="connsiteX214" fmla="*/ 2119312 w 2577100"/>
                  <a:gd name="connsiteY214" fmla="*/ 1314546 h 3024283"/>
                  <a:gd name="connsiteX215" fmla="*/ 2133600 w 2577100"/>
                  <a:gd name="connsiteY215" fmla="*/ 1300258 h 3024283"/>
                  <a:gd name="connsiteX216" fmla="*/ 2147887 w 2577100"/>
                  <a:gd name="connsiteY216" fmla="*/ 1290733 h 3024283"/>
                  <a:gd name="connsiteX217" fmla="*/ 2166937 w 2577100"/>
                  <a:gd name="connsiteY217" fmla="*/ 1262158 h 3024283"/>
                  <a:gd name="connsiteX218" fmla="*/ 2176462 w 2577100"/>
                  <a:gd name="connsiteY218" fmla="*/ 1247871 h 3024283"/>
                  <a:gd name="connsiteX219" fmla="*/ 2185987 w 2577100"/>
                  <a:gd name="connsiteY219" fmla="*/ 1233583 h 3024283"/>
                  <a:gd name="connsiteX220" fmla="*/ 2219325 w 2577100"/>
                  <a:gd name="connsiteY220" fmla="*/ 1200246 h 3024283"/>
                  <a:gd name="connsiteX221" fmla="*/ 2224087 w 2577100"/>
                  <a:gd name="connsiteY221" fmla="*/ 1185958 h 3024283"/>
                  <a:gd name="connsiteX222" fmla="*/ 2252662 w 2577100"/>
                  <a:gd name="connsiteY222" fmla="*/ 1176433 h 3024283"/>
                  <a:gd name="connsiteX223" fmla="*/ 2286000 w 2577100"/>
                  <a:gd name="connsiteY223" fmla="*/ 1185958 h 3024283"/>
                  <a:gd name="connsiteX224" fmla="*/ 2300287 w 2577100"/>
                  <a:gd name="connsiteY224" fmla="*/ 1200246 h 3024283"/>
                  <a:gd name="connsiteX225" fmla="*/ 2305050 w 2577100"/>
                  <a:gd name="connsiteY225" fmla="*/ 1214533 h 3024283"/>
                  <a:gd name="connsiteX226" fmla="*/ 2343150 w 2577100"/>
                  <a:gd name="connsiteY226" fmla="*/ 1224058 h 3024283"/>
                  <a:gd name="connsiteX227" fmla="*/ 2357437 w 2577100"/>
                  <a:gd name="connsiteY227" fmla="*/ 1219296 h 3024283"/>
                  <a:gd name="connsiteX228" fmla="*/ 2371725 w 2577100"/>
                  <a:gd name="connsiteY228" fmla="*/ 1190721 h 3024283"/>
                  <a:gd name="connsiteX229" fmla="*/ 2386012 w 2577100"/>
                  <a:gd name="connsiteY229" fmla="*/ 1181196 h 3024283"/>
                  <a:gd name="connsiteX230" fmla="*/ 2400300 w 2577100"/>
                  <a:gd name="connsiteY230" fmla="*/ 1166908 h 3024283"/>
                  <a:gd name="connsiteX231" fmla="*/ 2428875 w 2577100"/>
                  <a:gd name="connsiteY231" fmla="*/ 1152621 h 3024283"/>
                  <a:gd name="connsiteX232" fmla="*/ 2471737 w 2577100"/>
                  <a:gd name="connsiteY232" fmla="*/ 1128808 h 3024283"/>
                  <a:gd name="connsiteX233" fmla="*/ 2486025 w 2577100"/>
                  <a:gd name="connsiteY233" fmla="*/ 1119283 h 3024283"/>
                  <a:gd name="connsiteX234" fmla="*/ 2519362 w 2577100"/>
                  <a:gd name="connsiteY234" fmla="*/ 1109758 h 3024283"/>
                  <a:gd name="connsiteX235" fmla="*/ 2552700 w 2577100"/>
                  <a:gd name="connsiteY235" fmla="*/ 1095471 h 3024283"/>
                  <a:gd name="connsiteX236" fmla="*/ 2566987 w 2577100"/>
                  <a:gd name="connsiteY236" fmla="*/ 1085946 h 3024283"/>
                  <a:gd name="connsiteX237" fmla="*/ 2562225 w 2577100"/>
                  <a:gd name="connsiteY237" fmla="*/ 1062133 h 3024283"/>
                  <a:gd name="connsiteX238" fmla="*/ 2547937 w 2577100"/>
                  <a:gd name="connsiteY238" fmla="*/ 1057371 h 3024283"/>
                  <a:gd name="connsiteX239" fmla="*/ 2543175 w 2577100"/>
                  <a:gd name="connsiteY239" fmla="*/ 1043083 h 3024283"/>
                  <a:gd name="connsiteX240" fmla="*/ 2547937 w 2577100"/>
                  <a:gd name="connsiteY240" fmla="*/ 1028796 h 3024283"/>
                  <a:gd name="connsiteX241" fmla="*/ 2557462 w 2577100"/>
                  <a:gd name="connsiteY241" fmla="*/ 1009746 h 3024283"/>
                  <a:gd name="connsiteX242" fmla="*/ 2566987 w 2577100"/>
                  <a:gd name="connsiteY242" fmla="*/ 962121 h 3024283"/>
                  <a:gd name="connsiteX243" fmla="*/ 2571750 w 2577100"/>
                  <a:gd name="connsiteY243" fmla="*/ 947833 h 3024283"/>
                  <a:gd name="connsiteX244" fmla="*/ 2571750 w 2577100"/>
                  <a:gd name="connsiteY244" fmla="*/ 866871 h 3024283"/>
                  <a:gd name="connsiteX245" fmla="*/ 2562225 w 2577100"/>
                  <a:gd name="connsiteY245" fmla="*/ 828771 h 3024283"/>
                  <a:gd name="connsiteX246" fmla="*/ 2557462 w 2577100"/>
                  <a:gd name="connsiteY246" fmla="*/ 814483 h 3024283"/>
                  <a:gd name="connsiteX247" fmla="*/ 2543175 w 2577100"/>
                  <a:gd name="connsiteY247" fmla="*/ 800196 h 3024283"/>
                  <a:gd name="connsiteX248" fmla="*/ 2538412 w 2577100"/>
                  <a:gd name="connsiteY248" fmla="*/ 785908 h 3024283"/>
                  <a:gd name="connsiteX249" fmla="*/ 2524125 w 2577100"/>
                  <a:gd name="connsiteY249" fmla="*/ 781146 h 3024283"/>
                  <a:gd name="connsiteX250" fmla="*/ 2509837 w 2577100"/>
                  <a:gd name="connsiteY250" fmla="*/ 766858 h 3024283"/>
                  <a:gd name="connsiteX251" fmla="*/ 2495550 w 2577100"/>
                  <a:gd name="connsiteY251" fmla="*/ 733521 h 3024283"/>
                  <a:gd name="connsiteX252" fmla="*/ 2466975 w 2577100"/>
                  <a:gd name="connsiteY252" fmla="*/ 723996 h 3024283"/>
                  <a:gd name="connsiteX253" fmla="*/ 2433637 w 2577100"/>
                  <a:gd name="connsiteY253" fmla="*/ 704946 h 3024283"/>
                  <a:gd name="connsiteX254" fmla="*/ 2424112 w 2577100"/>
                  <a:gd name="connsiteY254" fmla="*/ 690658 h 3024283"/>
                  <a:gd name="connsiteX255" fmla="*/ 2419350 w 2577100"/>
                  <a:gd name="connsiteY255" fmla="*/ 671608 h 3024283"/>
                  <a:gd name="connsiteX256" fmla="*/ 2414587 w 2577100"/>
                  <a:gd name="connsiteY256" fmla="*/ 657321 h 3024283"/>
                  <a:gd name="connsiteX257" fmla="*/ 2409825 w 2577100"/>
                  <a:gd name="connsiteY257" fmla="*/ 638271 h 3024283"/>
                  <a:gd name="connsiteX258" fmla="*/ 2390775 w 2577100"/>
                  <a:gd name="connsiteY258" fmla="*/ 609696 h 3024283"/>
                  <a:gd name="connsiteX259" fmla="*/ 2347912 w 2577100"/>
                  <a:gd name="connsiteY259" fmla="*/ 604933 h 3024283"/>
                  <a:gd name="connsiteX260" fmla="*/ 2343150 w 2577100"/>
                  <a:gd name="connsiteY260" fmla="*/ 547783 h 3024283"/>
                  <a:gd name="connsiteX261" fmla="*/ 2324100 w 2577100"/>
                  <a:gd name="connsiteY261" fmla="*/ 519208 h 3024283"/>
                  <a:gd name="connsiteX262" fmla="*/ 2319337 w 2577100"/>
                  <a:gd name="connsiteY262" fmla="*/ 504921 h 3024283"/>
                  <a:gd name="connsiteX263" fmla="*/ 2309812 w 2577100"/>
                  <a:gd name="connsiteY263" fmla="*/ 481108 h 3024283"/>
                  <a:gd name="connsiteX264" fmla="*/ 2300287 w 2577100"/>
                  <a:gd name="connsiteY264" fmla="*/ 452533 h 3024283"/>
                  <a:gd name="connsiteX265" fmla="*/ 2271712 w 2577100"/>
                  <a:gd name="connsiteY265" fmla="*/ 423958 h 3024283"/>
                  <a:gd name="connsiteX266" fmla="*/ 2243137 w 2577100"/>
                  <a:gd name="connsiteY266" fmla="*/ 400146 h 3024283"/>
                  <a:gd name="connsiteX267" fmla="*/ 2252662 w 2577100"/>
                  <a:gd name="connsiteY267" fmla="*/ 371571 h 3024283"/>
                  <a:gd name="connsiteX268" fmla="*/ 2247900 w 2577100"/>
                  <a:gd name="connsiteY268" fmla="*/ 333471 h 3024283"/>
                  <a:gd name="connsiteX269" fmla="*/ 2190750 w 2577100"/>
                  <a:gd name="connsiteY269" fmla="*/ 347758 h 3024283"/>
                  <a:gd name="connsiteX270" fmla="*/ 2176462 w 2577100"/>
                  <a:gd name="connsiteY270" fmla="*/ 362046 h 3024283"/>
                  <a:gd name="connsiteX271" fmla="*/ 2138362 w 2577100"/>
                  <a:gd name="connsiteY271" fmla="*/ 371571 h 3024283"/>
                  <a:gd name="connsiteX272" fmla="*/ 2124075 w 2577100"/>
                  <a:gd name="connsiteY272" fmla="*/ 381096 h 3024283"/>
                  <a:gd name="connsiteX273" fmla="*/ 2085975 w 2577100"/>
                  <a:gd name="connsiteY273" fmla="*/ 390621 h 3024283"/>
                  <a:gd name="connsiteX274" fmla="*/ 2014537 w 2577100"/>
                  <a:gd name="connsiteY274" fmla="*/ 385858 h 3024283"/>
                  <a:gd name="connsiteX275" fmla="*/ 2000250 w 2577100"/>
                  <a:gd name="connsiteY275" fmla="*/ 366808 h 3024283"/>
                  <a:gd name="connsiteX276" fmla="*/ 2005012 w 2577100"/>
                  <a:gd name="connsiteY276" fmla="*/ 352521 h 3024283"/>
                  <a:gd name="connsiteX277" fmla="*/ 2014537 w 2577100"/>
                  <a:gd name="connsiteY277" fmla="*/ 309658 h 3024283"/>
                  <a:gd name="connsiteX278" fmla="*/ 2009775 w 2577100"/>
                  <a:gd name="connsiteY278" fmla="*/ 271558 h 3024283"/>
                  <a:gd name="connsiteX279" fmla="*/ 1995487 w 2577100"/>
                  <a:gd name="connsiteY279" fmla="*/ 257271 h 3024283"/>
                  <a:gd name="connsiteX280" fmla="*/ 1981200 w 2577100"/>
                  <a:gd name="connsiteY280" fmla="*/ 209646 h 3024283"/>
                  <a:gd name="connsiteX281" fmla="*/ 1966912 w 2577100"/>
                  <a:gd name="connsiteY281" fmla="*/ 166783 h 3024283"/>
                  <a:gd name="connsiteX282" fmla="*/ 1957387 w 2577100"/>
                  <a:gd name="connsiteY282" fmla="*/ 152496 h 3024283"/>
                  <a:gd name="connsiteX283" fmla="*/ 1943100 w 2577100"/>
                  <a:gd name="connsiteY283" fmla="*/ 133446 h 3024283"/>
                  <a:gd name="connsiteX284" fmla="*/ 1933575 w 2577100"/>
                  <a:gd name="connsiteY284" fmla="*/ 119158 h 3024283"/>
                  <a:gd name="connsiteX285" fmla="*/ 1919287 w 2577100"/>
                  <a:gd name="connsiteY285" fmla="*/ 104871 h 3024283"/>
                  <a:gd name="connsiteX286" fmla="*/ 1895475 w 2577100"/>
                  <a:gd name="connsiteY286" fmla="*/ 62008 h 3024283"/>
                  <a:gd name="connsiteX287" fmla="*/ 1890712 w 2577100"/>
                  <a:gd name="connsiteY287" fmla="*/ 47721 h 3024283"/>
                  <a:gd name="connsiteX288" fmla="*/ 1866900 w 2577100"/>
                  <a:gd name="connsiteY288" fmla="*/ 19146 h 3024283"/>
                  <a:gd name="connsiteX289" fmla="*/ 1866900 w 2577100"/>
                  <a:gd name="connsiteY289" fmla="*/ 96 h 3024283"/>
                  <a:gd name="connsiteX0" fmla="*/ 1866900 w 2577100"/>
                  <a:gd name="connsiteY0" fmla="*/ 96 h 3024283"/>
                  <a:gd name="connsiteX1" fmla="*/ 1833562 w 2577100"/>
                  <a:gd name="connsiteY1" fmla="*/ 28671 h 3024283"/>
                  <a:gd name="connsiteX2" fmla="*/ 1819275 w 2577100"/>
                  <a:gd name="connsiteY2" fmla="*/ 100108 h 3024283"/>
                  <a:gd name="connsiteX3" fmla="*/ 1814512 w 2577100"/>
                  <a:gd name="connsiteY3" fmla="*/ 123921 h 3024283"/>
                  <a:gd name="connsiteX4" fmla="*/ 1804987 w 2577100"/>
                  <a:gd name="connsiteY4" fmla="*/ 138208 h 3024283"/>
                  <a:gd name="connsiteX5" fmla="*/ 1781175 w 2577100"/>
                  <a:gd name="connsiteY5" fmla="*/ 181071 h 3024283"/>
                  <a:gd name="connsiteX6" fmla="*/ 1762125 w 2577100"/>
                  <a:gd name="connsiteY6" fmla="*/ 209646 h 3024283"/>
                  <a:gd name="connsiteX7" fmla="*/ 1752600 w 2577100"/>
                  <a:gd name="connsiteY7" fmla="*/ 223933 h 3024283"/>
                  <a:gd name="connsiteX8" fmla="*/ 1747837 w 2577100"/>
                  <a:gd name="connsiteY8" fmla="*/ 238221 h 3024283"/>
                  <a:gd name="connsiteX9" fmla="*/ 1733550 w 2577100"/>
                  <a:gd name="connsiteY9" fmla="*/ 252508 h 3024283"/>
                  <a:gd name="connsiteX10" fmla="*/ 1724025 w 2577100"/>
                  <a:gd name="connsiteY10" fmla="*/ 266796 h 3024283"/>
                  <a:gd name="connsiteX11" fmla="*/ 1709737 w 2577100"/>
                  <a:gd name="connsiteY11" fmla="*/ 281083 h 3024283"/>
                  <a:gd name="connsiteX12" fmla="*/ 1681162 w 2577100"/>
                  <a:gd name="connsiteY12" fmla="*/ 328708 h 3024283"/>
                  <a:gd name="connsiteX13" fmla="*/ 1666875 w 2577100"/>
                  <a:gd name="connsiteY13" fmla="*/ 366808 h 3024283"/>
                  <a:gd name="connsiteX14" fmla="*/ 1643062 w 2577100"/>
                  <a:gd name="connsiteY14" fmla="*/ 395383 h 3024283"/>
                  <a:gd name="connsiteX15" fmla="*/ 1633537 w 2577100"/>
                  <a:gd name="connsiteY15" fmla="*/ 409671 h 3024283"/>
                  <a:gd name="connsiteX16" fmla="*/ 1619250 w 2577100"/>
                  <a:gd name="connsiteY16" fmla="*/ 423958 h 3024283"/>
                  <a:gd name="connsiteX17" fmla="*/ 1604962 w 2577100"/>
                  <a:gd name="connsiteY17" fmla="*/ 443008 h 3024283"/>
                  <a:gd name="connsiteX18" fmla="*/ 1571625 w 2577100"/>
                  <a:gd name="connsiteY18" fmla="*/ 462058 h 3024283"/>
                  <a:gd name="connsiteX19" fmla="*/ 1495425 w 2577100"/>
                  <a:gd name="connsiteY19" fmla="*/ 466821 h 3024283"/>
                  <a:gd name="connsiteX20" fmla="*/ 1447799 w 2577100"/>
                  <a:gd name="connsiteY20" fmla="*/ 447771 h 3024283"/>
                  <a:gd name="connsiteX21" fmla="*/ 1414462 w 2577100"/>
                  <a:gd name="connsiteY21" fmla="*/ 495396 h 3024283"/>
                  <a:gd name="connsiteX22" fmla="*/ 1409700 w 2577100"/>
                  <a:gd name="connsiteY22" fmla="*/ 509683 h 3024283"/>
                  <a:gd name="connsiteX23" fmla="*/ 1395412 w 2577100"/>
                  <a:gd name="connsiteY23" fmla="*/ 514446 h 3024283"/>
                  <a:gd name="connsiteX24" fmla="*/ 1371600 w 2577100"/>
                  <a:gd name="connsiteY24" fmla="*/ 519208 h 3024283"/>
                  <a:gd name="connsiteX25" fmla="*/ 1357312 w 2577100"/>
                  <a:gd name="connsiteY25" fmla="*/ 528733 h 3024283"/>
                  <a:gd name="connsiteX26" fmla="*/ 1333500 w 2577100"/>
                  <a:gd name="connsiteY26" fmla="*/ 533496 h 3024283"/>
                  <a:gd name="connsiteX27" fmla="*/ 1300162 w 2577100"/>
                  <a:gd name="connsiteY27" fmla="*/ 543021 h 3024283"/>
                  <a:gd name="connsiteX28" fmla="*/ 1271587 w 2577100"/>
                  <a:gd name="connsiteY28" fmla="*/ 566833 h 3024283"/>
                  <a:gd name="connsiteX29" fmla="*/ 1238250 w 2577100"/>
                  <a:gd name="connsiteY29" fmla="*/ 590646 h 3024283"/>
                  <a:gd name="connsiteX30" fmla="*/ 1200150 w 2577100"/>
                  <a:gd name="connsiteY30" fmla="*/ 623983 h 3024283"/>
                  <a:gd name="connsiteX31" fmla="*/ 1171575 w 2577100"/>
                  <a:gd name="connsiteY31" fmla="*/ 633508 h 3024283"/>
                  <a:gd name="connsiteX32" fmla="*/ 957262 w 2577100"/>
                  <a:gd name="connsiteY32" fmla="*/ 619221 h 3024283"/>
                  <a:gd name="connsiteX33" fmla="*/ 904875 w 2577100"/>
                  <a:gd name="connsiteY33" fmla="*/ 652558 h 3024283"/>
                  <a:gd name="connsiteX34" fmla="*/ 885825 w 2577100"/>
                  <a:gd name="connsiteY34" fmla="*/ 666846 h 3024283"/>
                  <a:gd name="connsiteX35" fmla="*/ 852487 w 2577100"/>
                  <a:gd name="connsiteY35" fmla="*/ 681133 h 3024283"/>
                  <a:gd name="connsiteX36" fmla="*/ 838200 w 2577100"/>
                  <a:gd name="connsiteY36" fmla="*/ 690658 h 3024283"/>
                  <a:gd name="connsiteX37" fmla="*/ 800100 w 2577100"/>
                  <a:gd name="connsiteY37" fmla="*/ 700183 h 3024283"/>
                  <a:gd name="connsiteX38" fmla="*/ 785812 w 2577100"/>
                  <a:gd name="connsiteY38" fmla="*/ 704946 h 3024283"/>
                  <a:gd name="connsiteX39" fmla="*/ 762000 w 2577100"/>
                  <a:gd name="connsiteY39" fmla="*/ 709708 h 3024283"/>
                  <a:gd name="connsiteX40" fmla="*/ 742950 w 2577100"/>
                  <a:gd name="connsiteY40" fmla="*/ 714471 h 3024283"/>
                  <a:gd name="connsiteX41" fmla="*/ 709612 w 2577100"/>
                  <a:gd name="connsiteY41" fmla="*/ 704946 h 3024283"/>
                  <a:gd name="connsiteX42" fmla="*/ 676275 w 2577100"/>
                  <a:gd name="connsiteY42" fmla="*/ 695421 h 3024283"/>
                  <a:gd name="connsiteX43" fmla="*/ 657225 w 2577100"/>
                  <a:gd name="connsiteY43" fmla="*/ 685896 h 3024283"/>
                  <a:gd name="connsiteX44" fmla="*/ 595312 w 2577100"/>
                  <a:gd name="connsiteY44" fmla="*/ 695421 h 3024283"/>
                  <a:gd name="connsiteX45" fmla="*/ 571500 w 2577100"/>
                  <a:gd name="connsiteY45" fmla="*/ 700183 h 3024283"/>
                  <a:gd name="connsiteX46" fmla="*/ 542925 w 2577100"/>
                  <a:gd name="connsiteY46" fmla="*/ 709708 h 3024283"/>
                  <a:gd name="connsiteX47" fmla="*/ 519112 w 2577100"/>
                  <a:gd name="connsiteY47" fmla="*/ 738283 h 3024283"/>
                  <a:gd name="connsiteX48" fmla="*/ 490537 w 2577100"/>
                  <a:gd name="connsiteY48" fmla="*/ 747808 h 3024283"/>
                  <a:gd name="connsiteX49" fmla="*/ 476250 w 2577100"/>
                  <a:gd name="connsiteY49" fmla="*/ 752571 h 3024283"/>
                  <a:gd name="connsiteX50" fmla="*/ 333375 w 2577100"/>
                  <a:gd name="connsiteY50" fmla="*/ 747808 h 3024283"/>
                  <a:gd name="connsiteX51" fmla="*/ 290512 w 2577100"/>
                  <a:gd name="connsiteY51" fmla="*/ 733521 h 3024283"/>
                  <a:gd name="connsiteX52" fmla="*/ 252412 w 2577100"/>
                  <a:gd name="connsiteY52" fmla="*/ 723996 h 3024283"/>
                  <a:gd name="connsiteX53" fmla="*/ 214312 w 2577100"/>
                  <a:gd name="connsiteY53" fmla="*/ 709708 h 3024283"/>
                  <a:gd name="connsiteX54" fmla="*/ 166687 w 2577100"/>
                  <a:gd name="connsiteY54" fmla="*/ 700183 h 3024283"/>
                  <a:gd name="connsiteX55" fmla="*/ 42862 w 2577100"/>
                  <a:gd name="connsiteY55" fmla="*/ 709708 h 3024283"/>
                  <a:gd name="connsiteX56" fmla="*/ 28575 w 2577100"/>
                  <a:gd name="connsiteY56" fmla="*/ 714471 h 3024283"/>
                  <a:gd name="connsiteX57" fmla="*/ 14287 w 2577100"/>
                  <a:gd name="connsiteY57" fmla="*/ 723996 h 3024283"/>
                  <a:gd name="connsiteX58" fmla="*/ 4762 w 2577100"/>
                  <a:gd name="connsiteY58" fmla="*/ 752571 h 3024283"/>
                  <a:gd name="connsiteX59" fmla="*/ 0 w 2577100"/>
                  <a:gd name="connsiteY59" fmla="*/ 766858 h 3024283"/>
                  <a:gd name="connsiteX60" fmla="*/ 9525 w 2577100"/>
                  <a:gd name="connsiteY60" fmla="*/ 809721 h 3024283"/>
                  <a:gd name="connsiteX61" fmla="*/ 28575 w 2577100"/>
                  <a:gd name="connsiteY61" fmla="*/ 838296 h 3024283"/>
                  <a:gd name="connsiteX62" fmla="*/ 47625 w 2577100"/>
                  <a:gd name="connsiteY62" fmla="*/ 852583 h 3024283"/>
                  <a:gd name="connsiteX63" fmla="*/ 57150 w 2577100"/>
                  <a:gd name="connsiteY63" fmla="*/ 919258 h 3024283"/>
                  <a:gd name="connsiteX64" fmla="*/ 71437 w 2577100"/>
                  <a:gd name="connsiteY64" fmla="*/ 995458 h 3024283"/>
                  <a:gd name="connsiteX65" fmla="*/ 71437 w 2577100"/>
                  <a:gd name="connsiteY65" fmla="*/ 1095471 h 3024283"/>
                  <a:gd name="connsiteX66" fmla="*/ 57150 w 2577100"/>
                  <a:gd name="connsiteY66" fmla="*/ 1128808 h 3024283"/>
                  <a:gd name="connsiteX67" fmla="*/ 23812 w 2577100"/>
                  <a:gd name="connsiteY67" fmla="*/ 1152621 h 3024283"/>
                  <a:gd name="connsiteX68" fmla="*/ 9525 w 2577100"/>
                  <a:gd name="connsiteY68" fmla="*/ 1185958 h 3024283"/>
                  <a:gd name="connsiteX69" fmla="*/ 23812 w 2577100"/>
                  <a:gd name="connsiteY69" fmla="*/ 1200246 h 3024283"/>
                  <a:gd name="connsiteX70" fmla="*/ 47625 w 2577100"/>
                  <a:gd name="connsiteY70" fmla="*/ 1219296 h 3024283"/>
                  <a:gd name="connsiteX71" fmla="*/ 57150 w 2577100"/>
                  <a:gd name="connsiteY71" fmla="*/ 1247871 h 3024283"/>
                  <a:gd name="connsiteX72" fmla="*/ 42862 w 2577100"/>
                  <a:gd name="connsiteY72" fmla="*/ 1319308 h 3024283"/>
                  <a:gd name="connsiteX73" fmla="*/ 47625 w 2577100"/>
                  <a:gd name="connsiteY73" fmla="*/ 1485996 h 3024283"/>
                  <a:gd name="connsiteX74" fmla="*/ 52387 w 2577100"/>
                  <a:gd name="connsiteY74" fmla="*/ 1500283 h 3024283"/>
                  <a:gd name="connsiteX75" fmla="*/ 66675 w 2577100"/>
                  <a:gd name="connsiteY75" fmla="*/ 1547908 h 3024283"/>
                  <a:gd name="connsiteX76" fmla="*/ 71437 w 2577100"/>
                  <a:gd name="connsiteY76" fmla="*/ 1566958 h 3024283"/>
                  <a:gd name="connsiteX77" fmla="*/ 104775 w 2577100"/>
                  <a:gd name="connsiteY77" fmla="*/ 1605058 h 3024283"/>
                  <a:gd name="connsiteX78" fmla="*/ 119062 w 2577100"/>
                  <a:gd name="connsiteY78" fmla="*/ 1609821 h 3024283"/>
                  <a:gd name="connsiteX79" fmla="*/ 147637 w 2577100"/>
                  <a:gd name="connsiteY79" fmla="*/ 1628871 h 3024283"/>
                  <a:gd name="connsiteX80" fmla="*/ 176212 w 2577100"/>
                  <a:gd name="connsiteY80" fmla="*/ 1686021 h 3024283"/>
                  <a:gd name="connsiteX81" fmla="*/ 190500 w 2577100"/>
                  <a:gd name="connsiteY81" fmla="*/ 1700308 h 3024283"/>
                  <a:gd name="connsiteX82" fmla="*/ 200025 w 2577100"/>
                  <a:gd name="connsiteY82" fmla="*/ 1714596 h 3024283"/>
                  <a:gd name="connsiteX83" fmla="*/ 204787 w 2577100"/>
                  <a:gd name="connsiteY83" fmla="*/ 1733646 h 3024283"/>
                  <a:gd name="connsiteX84" fmla="*/ 214312 w 2577100"/>
                  <a:gd name="connsiteY84" fmla="*/ 1762221 h 3024283"/>
                  <a:gd name="connsiteX85" fmla="*/ 219075 w 2577100"/>
                  <a:gd name="connsiteY85" fmla="*/ 1857471 h 3024283"/>
                  <a:gd name="connsiteX86" fmla="*/ 228600 w 2577100"/>
                  <a:gd name="connsiteY86" fmla="*/ 1876521 h 3024283"/>
                  <a:gd name="connsiteX87" fmla="*/ 233362 w 2577100"/>
                  <a:gd name="connsiteY87" fmla="*/ 1909858 h 3024283"/>
                  <a:gd name="connsiteX88" fmla="*/ 247650 w 2577100"/>
                  <a:gd name="connsiteY88" fmla="*/ 1924146 h 3024283"/>
                  <a:gd name="connsiteX89" fmla="*/ 257175 w 2577100"/>
                  <a:gd name="connsiteY89" fmla="*/ 1943196 h 3024283"/>
                  <a:gd name="connsiteX90" fmla="*/ 290512 w 2577100"/>
                  <a:gd name="connsiteY90" fmla="*/ 1986058 h 3024283"/>
                  <a:gd name="connsiteX91" fmla="*/ 309562 w 2577100"/>
                  <a:gd name="connsiteY91" fmla="*/ 2014633 h 3024283"/>
                  <a:gd name="connsiteX92" fmla="*/ 323850 w 2577100"/>
                  <a:gd name="connsiteY92" fmla="*/ 2043208 h 3024283"/>
                  <a:gd name="connsiteX93" fmla="*/ 338137 w 2577100"/>
                  <a:gd name="connsiteY93" fmla="*/ 2057496 h 3024283"/>
                  <a:gd name="connsiteX94" fmla="*/ 361950 w 2577100"/>
                  <a:gd name="connsiteY94" fmla="*/ 2100358 h 3024283"/>
                  <a:gd name="connsiteX95" fmla="*/ 342900 w 2577100"/>
                  <a:gd name="connsiteY95" fmla="*/ 2124171 h 3024283"/>
                  <a:gd name="connsiteX96" fmla="*/ 314325 w 2577100"/>
                  <a:gd name="connsiteY96" fmla="*/ 2133696 h 3024283"/>
                  <a:gd name="connsiteX97" fmla="*/ 300037 w 2577100"/>
                  <a:gd name="connsiteY97" fmla="*/ 2162271 h 3024283"/>
                  <a:gd name="connsiteX98" fmla="*/ 280987 w 2577100"/>
                  <a:gd name="connsiteY98" fmla="*/ 2233708 h 3024283"/>
                  <a:gd name="connsiteX99" fmla="*/ 257175 w 2577100"/>
                  <a:gd name="connsiteY99" fmla="*/ 2309908 h 3024283"/>
                  <a:gd name="connsiteX100" fmla="*/ 242887 w 2577100"/>
                  <a:gd name="connsiteY100" fmla="*/ 2314671 h 3024283"/>
                  <a:gd name="connsiteX101" fmla="*/ 228600 w 2577100"/>
                  <a:gd name="connsiteY101" fmla="*/ 2324196 h 3024283"/>
                  <a:gd name="connsiteX102" fmla="*/ 219075 w 2577100"/>
                  <a:gd name="connsiteY102" fmla="*/ 2433733 h 3024283"/>
                  <a:gd name="connsiteX103" fmla="*/ 214312 w 2577100"/>
                  <a:gd name="connsiteY103" fmla="*/ 2448021 h 3024283"/>
                  <a:gd name="connsiteX104" fmla="*/ 219075 w 2577100"/>
                  <a:gd name="connsiteY104" fmla="*/ 2486121 h 3024283"/>
                  <a:gd name="connsiteX105" fmla="*/ 223837 w 2577100"/>
                  <a:gd name="connsiteY105" fmla="*/ 2505171 h 3024283"/>
                  <a:gd name="connsiteX106" fmla="*/ 252412 w 2577100"/>
                  <a:gd name="connsiteY106" fmla="*/ 2533746 h 3024283"/>
                  <a:gd name="connsiteX107" fmla="*/ 280987 w 2577100"/>
                  <a:gd name="connsiteY107" fmla="*/ 2576608 h 3024283"/>
                  <a:gd name="connsiteX108" fmla="*/ 295275 w 2577100"/>
                  <a:gd name="connsiteY108" fmla="*/ 2595658 h 3024283"/>
                  <a:gd name="connsiteX109" fmla="*/ 304800 w 2577100"/>
                  <a:gd name="connsiteY109" fmla="*/ 2609946 h 3024283"/>
                  <a:gd name="connsiteX110" fmla="*/ 309562 w 2577100"/>
                  <a:gd name="connsiteY110" fmla="*/ 2624233 h 3024283"/>
                  <a:gd name="connsiteX111" fmla="*/ 338137 w 2577100"/>
                  <a:gd name="connsiteY111" fmla="*/ 2657571 h 3024283"/>
                  <a:gd name="connsiteX112" fmla="*/ 357187 w 2577100"/>
                  <a:gd name="connsiteY112" fmla="*/ 2686146 h 3024283"/>
                  <a:gd name="connsiteX113" fmla="*/ 376237 w 2577100"/>
                  <a:gd name="connsiteY113" fmla="*/ 2714721 h 3024283"/>
                  <a:gd name="connsiteX114" fmla="*/ 385762 w 2577100"/>
                  <a:gd name="connsiteY114" fmla="*/ 2733771 h 3024283"/>
                  <a:gd name="connsiteX115" fmla="*/ 400050 w 2577100"/>
                  <a:gd name="connsiteY115" fmla="*/ 2748058 h 3024283"/>
                  <a:gd name="connsiteX116" fmla="*/ 409575 w 2577100"/>
                  <a:gd name="connsiteY116" fmla="*/ 2781396 h 3024283"/>
                  <a:gd name="connsiteX117" fmla="*/ 414337 w 2577100"/>
                  <a:gd name="connsiteY117" fmla="*/ 2795683 h 3024283"/>
                  <a:gd name="connsiteX118" fmla="*/ 395287 w 2577100"/>
                  <a:gd name="connsiteY118" fmla="*/ 2824258 h 3024283"/>
                  <a:gd name="connsiteX119" fmla="*/ 376237 w 2577100"/>
                  <a:gd name="connsiteY119" fmla="*/ 2852833 h 3024283"/>
                  <a:gd name="connsiteX120" fmla="*/ 366712 w 2577100"/>
                  <a:gd name="connsiteY120" fmla="*/ 2867121 h 3024283"/>
                  <a:gd name="connsiteX121" fmla="*/ 338137 w 2577100"/>
                  <a:gd name="connsiteY121" fmla="*/ 2895696 h 3024283"/>
                  <a:gd name="connsiteX122" fmla="*/ 309562 w 2577100"/>
                  <a:gd name="connsiteY122" fmla="*/ 2909983 h 3024283"/>
                  <a:gd name="connsiteX123" fmla="*/ 290512 w 2577100"/>
                  <a:gd name="connsiteY123" fmla="*/ 2919508 h 3024283"/>
                  <a:gd name="connsiteX124" fmla="*/ 276225 w 2577100"/>
                  <a:gd name="connsiteY124" fmla="*/ 2933796 h 3024283"/>
                  <a:gd name="connsiteX125" fmla="*/ 271462 w 2577100"/>
                  <a:gd name="connsiteY125" fmla="*/ 2948083 h 3024283"/>
                  <a:gd name="connsiteX126" fmla="*/ 257175 w 2577100"/>
                  <a:gd name="connsiteY126" fmla="*/ 2957608 h 3024283"/>
                  <a:gd name="connsiteX127" fmla="*/ 247650 w 2577100"/>
                  <a:gd name="connsiteY127" fmla="*/ 2971896 h 3024283"/>
                  <a:gd name="connsiteX128" fmla="*/ 238125 w 2577100"/>
                  <a:gd name="connsiteY128" fmla="*/ 3009996 h 3024283"/>
                  <a:gd name="connsiteX129" fmla="*/ 252412 w 2577100"/>
                  <a:gd name="connsiteY129" fmla="*/ 3024283 h 3024283"/>
                  <a:gd name="connsiteX130" fmla="*/ 285750 w 2577100"/>
                  <a:gd name="connsiteY130" fmla="*/ 3019521 h 3024283"/>
                  <a:gd name="connsiteX131" fmla="*/ 314325 w 2577100"/>
                  <a:gd name="connsiteY131" fmla="*/ 3009996 h 3024283"/>
                  <a:gd name="connsiteX132" fmla="*/ 328612 w 2577100"/>
                  <a:gd name="connsiteY132" fmla="*/ 3000471 h 3024283"/>
                  <a:gd name="connsiteX133" fmla="*/ 409575 w 2577100"/>
                  <a:gd name="connsiteY133" fmla="*/ 2990946 h 3024283"/>
                  <a:gd name="connsiteX134" fmla="*/ 481012 w 2577100"/>
                  <a:gd name="connsiteY134" fmla="*/ 2976658 h 3024283"/>
                  <a:gd name="connsiteX135" fmla="*/ 523875 w 2577100"/>
                  <a:gd name="connsiteY135" fmla="*/ 2957608 h 3024283"/>
                  <a:gd name="connsiteX136" fmla="*/ 523875 w 2577100"/>
                  <a:gd name="connsiteY136" fmla="*/ 2957608 h 3024283"/>
                  <a:gd name="connsiteX137" fmla="*/ 561975 w 2577100"/>
                  <a:gd name="connsiteY137" fmla="*/ 2933796 h 3024283"/>
                  <a:gd name="connsiteX138" fmla="*/ 576262 w 2577100"/>
                  <a:gd name="connsiteY138" fmla="*/ 2919508 h 3024283"/>
                  <a:gd name="connsiteX139" fmla="*/ 633412 w 2577100"/>
                  <a:gd name="connsiteY139" fmla="*/ 2909983 h 3024283"/>
                  <a:gd name="connsiteX140" fmla="*/ 671512 w 2577100"/>
                  <a:gd name="connsiteY140" fmla="*/ 2876646 h 3024283"/>
                  <a:gd name="connsiteX141" fmla="*/ 676275 w 2577100"/>
                  <a:gd name="connsiteY141" fmla="*/ 2862358 h 3024283"/>
                  <a:gd name="connsiteX142" fmla="*/ 661987 w 2577100"/>
                  <a:gd name="connsiteY142" fmla="*/ 2829021 h 3024283"/>
                  <a:gd name="connsiteX143" fmla="*/ 666750 w 2577100"/>
                  <a:gd name="connsiteY143" fmla="*/ 2809971 h 3024283"/>
                  <a:gd name="connsiteX144" fmla="*/ 676275 w 2577100"/>
                  <a:gd name="connsiteY144" fmla="*/ 2781396 h 3024283"/>
                  <a:gd name="connsiteX145" fmla="*/ 671512 w 2577100"/>
                  <a:gd name="connsiteY145" fmla="*/ 2752821 h 3024283"/>
                  <a:gd name="connsiteX146" fmla="*/ 690562 w 2577100"/>
                  <a:gd name="connsiteY146" fmla="*/ 2748058 h 3024283"/>
                  <a:gd name="connsiteX147" fmla="*/ 733425 w 2577100"/>
                  <a:gd name="connsiteY147" fmla="*/ 2733771 h 3024283"/>
                  <a:gd name="connsiteX148" fmla="*/ 871537 w 2577100"/>
                  <a:gd name="connsiteY148" fmla="*/ 2738533 h 3024283"/>
                  <a:gd name="connsiteX149" fmla="*/ 914400 w 2577100"/>
                  <a:gd name="connsiteY149" fmla="*/ 2743296 h 3024283"/>
                  <a:gd name="connsiteX150" fmla="*/ 957262 w 2577100"/>
                  <a:gd name="connsiteY150" fmla="*/ 2762346 h 3024283"/>
                  <a:gd name="connsiteX151" fmla="*/ 971550 w 2577100"/>
                  <a:gd name="connsiteY151" fmla="*/ 2767108 h 3024283"/>
                  <a:gd name="connsiteX152" fmla="*/ 1085850 w 2577100"/>
                  <a:gd name="connsiteY152" fmla="*/ 2762346 h 3024283"/>
                  <a:gd name="connsiteX153" fmla="*/ 1109662 w 2577100"/>
                  <a:gd name="connsiteY153" fmla="*/ 2757583 h 3024283"/>
                  <a:gd name="connsiteX154" fmla="*/ 1171575 w 2577100"/>
                  <a:gd name="connsiteY154" fmla="*/ 2743296 h 3024283"/>
                  <a:gd name="connsiteX155" fmla="*/ 1204912 w 2577100"/>
                  <a:gd name="connsiteY155" fmla="*/ 2719483 h 3024283"/>
                  <a:gd name="connsiteX156" fmla="*/ 1223962 w 2577100"/>
                  <a:gd name="connsiteY156" fmla="*/ 2705196 h 3024283"/>
                  <a:gd name="connsiteX157" fmla="*/ 1495425 w 2577100"/>
                  <a:gd name="connsiteY157" fmla="*/ 2700433 h 3024283"/>
                  <a:gd name="connsiteX158" fmla="*/ 1509712 w 2577100"/>
                  <a:gd name="connsiteY158" fmla="*/ 2686146 h 3024283"/>
                  <a:gd name="connsiteX159" fmla="*/ 1524000 w 2577100"/>
                  <a:gd name="connsiteY159" fmla="*/ 2676621 h 3024283"/>
                  <a:gd name="connsiteX160" fmla="*/ 1547812 w 2577100"/>
                  <a:gd name="connsiteY160" fmla="*/ 2643283 h 3024283"/>
                  <a:gd name="connsiteX161" fmla="*/ 1571625 w 2577100"/>
                  <a:gd name="connsiteY161" fmla="*/ 2648046 h 3024283"/>
                  <a:gd name="connsiteX162" fmla="*/ 1624012 w 2577100"/>
                  <a:gd name="connsiteY162" fmla="*/ 2638521 h 3024283"/>
                  <a:gd name="connsiteX163" fmla="*/ 1638300 w 2577100"/>
                  <a:gd name="connsiteY163" fmla="*/ 2628996 h 3024283"/>
                  <a:gd name="connsiteX164" fmla="*/ 1666875 w 2577100"/>
                  <a:gd name="connsiteY164" fmla="*/ 2619471 h 3024283"/>
                  <a:gd name="connsiteX165" fmla="*/ 1681162 w 2577100"/>
                  <a:gd name="connsiteY165" fmla="*/ 2614708 h 3024283"/>
                  <a:gd name="connsiteX166" fmla="*/ 1695450 w 2577100"/>
                  <a:gd name="connsiteY166" fmla="*/ 2609946 h 3024283"/>
                  <a:gd name="connsiteX167" fmla="*/ 1709737 w 2577100"/>
                  <a:gd name="connsiteY167" fmla="*/ 2605183 h 3024283"/>
                  <a:gd name="connsiteX168" fmla="*/ 1724025 w 2577100"/>
                  <a:gd name="connsiteY168" fmla="*/ 2590896 h 3024283"/>
                  <a:gd name="connsiteX169" fmla="*/ 1728787 w 2577100"/>
                  <a:gd name="connsiteY169" fmla="*/ 2576608 h 3024283"/>
                  <a:gd name="connsiteX170" fmla="*/ 1757362 w 2577100"/>
                  <a:gd name="connsiteY170" fmla="*/ 2557558 h 3024283"/>
                  <a:gd name="connsiteX171" fmla="*/ 1781175 w 2577100"/>
                  <a:gd name="connsiteY171" fmla="*/ 2538508 h 3024283"/>
                  <a:gd name="connsiteX172" fmla="*/ 1809750 w 2577100"/>
                  <a:gd name="connsiteY172" fmla="*/ 2519458 h 3024283"/>
                  <a:gd name="connsiteX173" fmla="*/ 1819275 w 2577100"/>
                  <a:gd name="connsiteY173" fmla="*/ 2505171 h 3024283"/>
                  <a:gd name="connsiteX174" fmla="*/ 1824037 w 2577100"/>
                  <a:gd name="connsiteY174" fmla="*/ 2490883 h 3024283"/>
                  <a:gd name="connsiteX175" fmla="*/ 1838325 w 2577100"/>
                  <a:gd name="connsiteY175" fmla="*/ 2476596 h 3024283"/>
                  <a:gd name="connsiteX176" fmla="*/ 1843087 w 2577100"/>
                  <a:gd name="connsiteY176" fmla="*/ 2462308 h 3024283"/>
                  <a:gd name="connsiteX177" fmla="*/ 1928812 w 2577100"/>
                  <a:gd name="connsiteY177" fmla="*/ 2448021 h 3024283"/>
                  <a:gd name="connsiteX178" fmla="*/ 1947862 w 2577100"/>
                  <a:gd name="connsiteY178" fmla="*/ 2428971 h 3024283"/>
                  <a:gd name="connsiteX179" fmla="*/ 1962150 w 2577100"/>
                  <a:gd name="connsiteY179" fmla="*/ 2419446 h 3024283"/>
                  <a:gd name="connsiteX180" fmla="*/ 1981200 w 2577100"/>
                  <a:gd name="connsiteY180" fmla="*/ 2367058 h 3024283"/>
                  <a:gd name="connsiteX181" fmla="*/ 1985962 w 2577100"/>
                  <a:gd name="connsiteY181" fmla="*/ 2348008 h 3024283"/>
                  <a:gd name="connsiteX182" fmla="*/ 1990725 w 2577100"/>
                  <a:gd name="connsiteY182" fmla="*/ 2333721 h 3024283"/>
                  <a:gd name="connsiteX183" fmla="*/ 1985962 w 2577100"/>
                  <a:gd name="connsiteY183" fmla="*/ 2228946 h 3024283"/>
                  <a:gd name="connsiteX184" fmla="*/ 1971675 w 2577100"/>
                  <a:gd name="connsiteY184" fmla="*/ 2214658 h 3024283"/>
                  <a:gd name="connsiteX185" fmla="*/ 1943100 w 2577100"/>
                  <a:gd name="connsiteY185" fmla="*/ 2205133 h 3024283"/>
                  <a:gd name="connsiteX186" fmla="*/ 1928812 w 2577100"/>
                  <a:gd name="connsiteY186" fmla="*/ 2195608 h 3024283"/>
                  <a:gd name="connsiteX187" fmla="*/ 1943100 w 2577100"/>
                  <a:gd name="connsiteY187" fmla="*/ 2147983 h 3024283"/>
                  <a:gd name="connsiteX188" fmla="*/ 1952625 w 2577100"/>
                  <a:gd name="connsiteY188" fmla="*/ 2133696 h 3024283"/>
                  <a:gd name="connsiteX189" fmla="*/ 1957387 w 2577100"/>
                  <a:gd name="connsiteY189" fmla="*/ 2119408 h 3024283"/>
                  <a:gd name="connsiteX190" fmla="*/ 1962150 w 2577100"/>
                  <a:gd name="connsiteY190" fmla="*/ 2100358 h 3024283"/>
                  <a:gd name="connsiteX191" fmla="*/ 1981200 w 2577100"/>
                  <a:gd name="connsiteY191" fmla="*/ 2062258 h 3024283"/>
                  <a:gd name="connsiteX192" fmla="*/ 1995487 w 2577100"/>
                  <a:gd name="connsiteY192" fmla="*/ 2009871 h 3024283"/>
                  <a:gd name="connsiteX193" fmla="*/ 2000250 w 2577100"/>
                  <a:gd name="connsiteY193" fmla="*/ 1995583 h 3024283"/>
                  <a:gd name="connsiteX194" fmla="*/ 2019300 w 2577100"/>
                  <a:gd name="connsiteY194" fmla="*/ 1986058 h 3024283"/>
                  <a:gd name="connsiteX195" fmla="*/ 2033587 w 2577100"/>
                  <a:gd name="connsiteY195" fmla="*/ 1990821 h 3024283"/>
                  <a:gd name="connsiteX196" fmla="*/ 2052637 w 2577100"/>
                  <a:gd name="connsiteY196" fmla="*/ 1957483 h 3024283"/>
                  <a:gd name="connsiteX197" fmla="*/ 2047875 w 2577100"/>
                  <a:gd name="connsiteY197" fmla="*/ 1881283 h 3024283"/>
                  <a:gd name="connsiteX198" fmla="*/ 2052637 w 2577100"/>
                  <a:gd name="connsiteY198" fmla="*/ 1833658 h 3024283"/>
                  <a:gd name="connsiteX199" fmla="*/ 2047875 w 2577100"/>
                  <a:gd name="connsiteY199" fmla="*/ 1757458 h 3024283"/>
                  <a:gd name="connsiteX200" fmla="*/ 2028825 w 2577100"/>
                  <a:gd name="connsiteY200" fmla="*/ 1686021 h 3024283"/>
                  <a:gd name="connsiteX201" fmla="*/ 2014537 w 2577100"/>
                  <a:gd name="connsiteY201" fmla="*/ 1681258 h 3024283"/>
                  <a:gd name="connsiteX202" fmla="*/ 2019300 w 2577100"/>
                  <a:gd name="connsiteY202" fmla="*/ 1595533 h 3024283"/>
                  <a:gd name="connsiteX203" fmla="*/ 2028825 w 2577100"/>
                  <a:gd name="connsiteY203" fmla="*/ 1576483 h 3024283"/>
                  <a:gd name="connsiteX204" fmla="*/ 2038350 w 2577100"/>
                  <a:gd name="connsiteY204" fmla="*/ 1547908 h 3024283"/>
                  <a:gd name="connsiteX205" fmla="*/ 2033587 w 2577100"/>
                  <a:gd name="connsiteY205" fmla="*/ 1524096 h 3024283"/>
                  <a:gd name="connsiteX206" fmla="*/ 2019300 w 2577100"/>
                  <a:gd name="connsiteY206" fmla="*/ 1509808 h 3024283"/>
                  <a:gd name="connsiteX207" fmla="*/ 2009775 w 2577100"/>
                  <a:gd name="connsiteY207" fmla="*/ 1495521 h 3024283"/>
                  <a:gd name="connsiteX208" fmla="*/ 2033587 w 2577100"/>
                  <a:gd name="connsiteY208" fmla="*/ 1447896 h 3024283"/>
                  <a:gd name="connsiteX209" fmla="*/ 2043112 w 2577100"/>
                  <a:gd name="connsiteY209" fmla="*/ 1428846 h 3024283"/>
                  <a:gd name="connsiteX210" fmla="*/ 2071687 w 2577100"/>
                  <a:gd name="connsiteY210" fmla="*/ 1409796 h 3024283"/>
                  <a:gd name="connsiteX211" fmla="*/ 2081212 w 2577100"/>
                  <a:gd name="connsiteY211" fmla="*/ 1376458 h 3024283"/>
                  <a:gd name="connsiteX212" fmla="*/ 2085975 w 2577100"/>
                  <a:gd name="connsiteY212" fmla="*/ 1347883 h 3024283"/>
                  <a:gd name="connsiteX213" fmla="*/ 2090737 w 2577100"/>
                  <a:gd name="connsiteY213" fmla="*/ 1328833 h 3024283"/>
                  <a:gd name="connsiteX214" fmla="*/ 2119312 w 2577100"/>
                  <a:gd name="connsiteY214" fmla="*/ 1314546 h 3024283"/>
                  <a:gd name="connsiteX215" fmla="*/ 2133600 w 2577100"/>
                  <a:gd name="connsiteY215" fmla="*/ 1300258 h 3024283"/>
                  <a:gd name="connsiteX216" fmla="*/ 2147887 w 2577100"/>
                  <a:gd name="connsiteY216" fmla="*/ 1290733 h 3024283"/>
                  <a:gd name="connsiteX217" fmla="*/ 2166937 w 2577100"/>
                  <a:gd name="connsiteY217" fmla="*/ 1262158 h 3024283"/>
                  <a:gd name="connsiteX218" fmla="*/ 2176462 w 2577100"/>
                  <a:gd name="connsiteY218" fmla="*/ 1247871 h 3024283"/>
                  <a:gd name="connsiteX219" fmla="*/ 2185987 w 2577100"/>
                  <a:gd name="connsiteY219" fmla="*/ 1233583 h 3024283"/>
                  <a:gd name="connsiteX220" fmla="*/ 2219325 w 2577100"/>
                  <a:gd name="connsiteY220" fmla="*/ 1200246 h 3024283"/>
                  <a:gd name="connsiteX221" fmla="*/ 2224087 w 2577100"/>
                  <a:gd name="connsiteY221" fmla="*/ 1185958 h 3024283"/>
                  <a:gd name="connsiteX222" fmla="*/ 2252662 w 2577100"/>
                  <a:gd name="connsiteY222" fmla="*/ 1176433 h 3024283"/>
                  <a:gd name="connsiteX223" fmla="*/ 2286000 w 2577100"/>
                  <a:gd name="connsiteY223" fmla="*/ 1185958 h 3024283"/>
                  <a:gd name="connsiteX224" fmla="*/ 2300287 w 2577100"/>
                  <a:gd name="connsiteY224" fmla="*/ 1200246 h 3024283"/>
                  <a:gd name="connsiteX225" fmla="*/ 2305050 w 2577100"/>
                  <a:gd name="connsiteY225" fmla="*/ 1214533 h 3024283"/>
                  <a:gd name="connsiteX226" fmla="*/ 2343150 w 2577100"/>
                  <a:gd name="connsiteY226" fmla="*/ 1224058 h 3024283"/>
                  <a:gd name="connsiteX227" fmla="*/ 2357437 w 2577100"/>
                  <a:gd name="connsiteY227" fmla="*/ 1219296 h 3024283"/>
                  <a:gd name="connsiteX228" fmla="*/ 2371725 w 2577100"/>
                  <a:gd name="connsiteY228" fmla="*/ 1190721 h 3024283"/>
                  <a:gd name="connsiteX229" fmla="*/ 2386012 w 2577100"/>
                  <a:gd name="connsiteY229" fmla="*/ 1181196 h 3024283"/>
                  <a:gd name="connsiteX230" fmla="*/ 2400300 w 2577100"/>
                  <a:gd name="connsiteY230" fmla="*/ 1166908 h 3024283"/>
                  <a:gd name="connsiteX231" fmla="*/ 2428875 w 2577100"/>
                  <a:gd name="connsiteY231" fmla="*/ 1152621 h 3024283"/>
                  <a:gd name="connsiteX232" fmla="*/ 2471737 w 2577100"/>
                  <a:gd name="connsiteY232" fmla="*/ 1128808 h 3024283"/>
                  <a:gd name="connsiteX233" fmla="*/ 2486025 w 2577100"/>
                  <a:gd name="connsiteY233" fmla="*/ 1119283 h 3024283"/>
                  <a:gd name="connsiteX234" fmla="*/ 2519362 w 2577100"/>
                  <a:gd name="connsiteY234" fmla="*/ 1109758 h 3024283"/>
                  <a:gd name="connsiteX235" fmla="*/ 2552700 w 2577100"/>
                  <a:gd name="connsiteY235" fmla="*/ 1095471 h 3024283"/>
                  <a:gd name="connsiteX236" fmla="*/ 2566987 w 2577100"/>
                  <a:gd name="connsiteY236" fmla="*/ 1085946 h 3024283"/>
                  <a:gd name="connsiteX237" fmla="*/ 2562225 w 2577100"/>
                  <a:gd name="connsiteY237" fmla="*/ 1062133 h 3024283"/>
                  <a:gd name="connsiteX238" fmla="*/ 2547937 w 2577100"/>
                  <a:gd name="connsiteY238" fmla="*/ 1057371 h 3024283"/>
                  <a:gd name="connsiteX239" fmla="*/ 2543175 w 2577100"/>
                  <a:gd name="connsiteY239" fmla="*/ 1043083 h 3024283"/>
                  <a:gd name="connsiteX240" fmla="*/ 2547937 w 2577100"/>
                  <a:gd name="connsiteY240" fmla="*/ 1028796 h 3024283"/>
                  <a:gd name="connsiteX241" fmla="*/ 2557462 w 2577100"/>
                  <a:gd name="connsiteY241" fmla="*/ 1009746 h 3024283"/>
                  <a:gd name="connsiteX242" fmla="*/ 2566987 w 2577100"/>
                  <a:gd name="connsiteY242" fmla="*/ 962121 h 3024283"/>
                  <a:gd name="connsiteX243" fmla="*/ 2571750 w 2577100"/>
                  <a:gd name="connsiteY243" fmla="*/ 947833 h 3024283"/>
                  <a:gd name="connsiteX244" fmla="*/ 2571750 w 2577100"/>
                  <a:gd name="connsiteY244" fmla="*/ 866871 h 3024283"/>
                  <a:gd name="connsiteX245" fmla="*/ 2562225 w 2577100"/>
                  <a:gd name="connsiteY245" fmla="*/ 828771 h 3024283"/>
                  <a:gd name="connsiteX246" fmla="*/ 2557462 w 2577100"/>
                  <a:gd name="connsiteY246" fmla="*/ 814483 h 3024283"/>
                  <a:gd name="connsiteX247" fmla="*/ 2543175 w 2577100"/>
                  <a:gd name="connsiteY247" fmla="*/ 800196 h 3024283"/>
                  <a:gd name="connsiteX248" fmla="*/ 2538412 w 2577100"/>
                  <a:gd name="connsiteY248" fmla="*/ 785908 h 3024283"/>
                  <a:gd name="connsiteX249" fmla="*/ 2524125 w 2577100"/>
                  <a:gd name="connsiteY249" fmla="*/ 781146 h 3024283"/>
                  <a:gd name="connsiteX250" fmla="*/ 2509837 w 2577100"/>
                  <a:gd name="connsiteY250" fmla="*/ 766858 h 3024283"/>
                  <a:gd name="connsiteX251" fmla="*/ 2495550 w 2577100"/>
                  <a:gd name="connsiteY251" fmla="*/ 733521 h 3024283"/>
                  <a:gd name="connsiteX252" fmla="*/ 2466975 w 2577100"/>
                  <a:gd name="connsiteY252" fmla="*/ 723996 h 3024283"/>
                  <a:gd name="connsiteX253" fmla="*/ 2433637 w 2577100"/>
                  <a:gd name="connsiteY253" fmla="*/ 704946 h 3024283"/>
                  <a:gd name="connsiteX254" fmla="*/ 2424112 w 2577100"/>
                  <a:gd name="connsiteY254" fmla="*/ 690658 h 3024283"/>
                  <a:gd name="connsiteX255" fmla="*/ 2419350 w 2577100"/>
                  <a:gd name="connsiteY255" fmla="*/ 671608 h 3024283"/>
                  <a:gd name="connsiteX256" fmla="*/ 2414587 w 2577100"/>
                  <a:gd name="connsiteY256" fmla="*/ 657321 h 3024283"/>
                  <a:gd name="connsiteX257" fmla="*/ 2409825 w 2577100"/>
                  <a:gd name="connsiteY257" fmla="*/ 638271 h 3024283"/>
                  <a:gd name="connsiteX258" fmla="*/ 2390775 w 2577100"/>
                  <a:gd name="connsiteY258" fmla="*/ 609696 h 3024283"/>
                  <a:gd name="connsiteX259" fmla="*/ 2347912 w 2577100"/>
                  <a:gd name="connsiteY259" fmla="*/ 604933 h 3024283"/>
                  <a:gd name="connsiteX260" fmla="*/ 2343150 w 2577100"/>
                  <a:gd name="connsiteY260" fmla="*/ 547783 h 3024283"/>
                  <a:gd name="connsiteX261" fmla="*/ 2324100 w 2577100"/>
                  <a:gd name="connsiteY261" fmla="*/ 519208 h 3024283"/>
                  <a:gd name="connsiteX262" fmla="*/ 2319337 w 2577100"/>
                  <a:gd name="connsiteY262" fmla="*/ 504921 h 3024283"/>
                  <a:gd name="connsiteX263" fmla="*/ 2309812 w 2577100"/>
                  <a:gd name="connsiteY263" fmla="*/ 481108 h 3024283"/>
                  <a:gd name="connsiteX264" fmla="*/ 2300287 w 2577100"/>
                  <a:gd name="connsiteY264" fmla="*/ 452533 h 3024283"/>
                  <a:gd name="connsiteX265" fmla="*/ 2271712 w 2577100"/>
                  <a:gd name="connsiteY265" fmla="*/ 423958 h 3024283"/>
                  <a:gd name="connsiteX266" fmla="*/ 2243137 w 2577100"/>
                  <a:gd name="connsiteY266" fmla="*/ 400146 h 3024283"/>
                  <a:gd name="connsiteX267" fmla="*/ 2252662 w 2577100"/>
                  <a:gd name="connsiteY267" fmla="*/ 371571 h 3024283"/>
                  <a:gd name="connsiteX268" fmla="*/ 2247900 w 2577100"/>
                  <a:gd name="connsiteY268" fmla="*/ 333471 h 3024283"/>
                  <a:gd name="connsiteX269" fmla="*/ 2190750 w 2577100"/>
                  <a:gd name="connsiteY269" fmla="*/ 347758 h 3024283"/>
                  <a:gd name="connsiteX270" fmla="*/ 2176462 w 2577100"/>
                  <a:gd name="connsiteY270" fmla="*/ 362046 h 3024283"/>
                  <a:gd name="connsiteX271" fmla="*/ 2138362 w 2577100"/>
                  <a:gd name="connsiteY271" fmla="*/ 371571 h 3024283"/>
                  <a:gd name="connsiteX272" fmla="*/ 2124075 w 2577100"/>
                  <a:gd name="connsiteY272" fmla="*/ 381096 h 3024283"/>
                  <a:gd name="connsiteX273" fmla="*/ 2085975 w 2577100"/>
                  <a:gd name="connsiteY273" fmla="*/ 390621 h 3024283"/>
                  <a:gd name="connsiteX274" fmla="*/ 2014537 w 2577100"/>
                  <a:gd name="connsiteY274" fmla="*/ 385858 h 3024283"/>
                  <a:gd name="connsiteX275" fmla="*/ 2000250 w 2577100"/>
                  <a:gd name="connsiteY275" fmla="*/ 366808 h 3024283"/>
                  <a:gd name="connsiteX276" fmla="*/ 2005012 w 2577100"/>
                  <a:gd name="connsiteY276" fmla="*/ 352521 h 3024283"/>
                  <a:gd name="connsiteX277" fmla="*/ 2014537 w 2577100"/>
                  <a:gd name="connsiteY277" fmla="*/ 309658 h 3024283"/>
                  <a:gd name="connsiteX278" fmla="*/ 2009775 w 2577100"/>
                  <a:gd name="connsiteY278" fmla="*/ 271558 h 3024283"/>
                  <a:gd name="connsiteX279" fmla="*/ 1995487 w 2577100"/>
                  <a:gd name="connsiteY279" fmla="*/ 257271 h 3024283"/>
                  <a:gd name="connsiteX280" fmla="*/ 1981200 w 2577100"/>
                  <a:gd name="connsiteY280" fmla="*/ 209646 h 3024283"/>
                  <a:gd name="connsiteX281" fmla="*/ 1966912 w 2577100"/>
                  <a:gd name="connsiteY281" fmla="*/ 166783 h 3024283"/>
                  <a:gd name="connsiteX282" fmla="*/ 1957387 w 2577100"/>
                  <a:gd name="connsiteY282" fmla="*/ 152496 h 3024283"/>
                  <a:gd name="connsiteX283" fmla="*/ 1943100 w 2577100"/>
                  <a:gd name="connsiteY283" fmla="*/ 133446 h 3024283"/>
                  <a:gd name="connsiteX284" fmla="*/ 1933575 w 2577100"/>
                  <a:gd name="connsiteY284" fmla="*/ 119158 h 3024283"/>
                  <a:gd name="connsiteX285" fmla="*/ 1919287 w 2577100"/>
                  <a:gd name="connsiteY285" fmla="*/ 104871 h 3024283"/>
                  <a:gd name="connsiteX286" fmla="*/ 1895475 w 2577100"/>
                  <a:gd name="connsiteY286" fmla="*/ 62008 h 3024283"/>
                  <a:gd name="connsiteX287" fmla="*/ 1890712 w 2577100"/>
                  <a:gd name="connsiteY287" fmla="*/ 47721 h 3024283"/>
                  <a:gd name="connsiteX288" fmla="*/ 1866900 w 2577100"/>
                  <a:gd name="connsiteY288" fmla="*/ 19146 h 3024283"/>
                  <a:gd name="connsiteX289" fmla="*/ 1866900 w 2577100"/>
                  <a:gd name="connsiteY289" fmla="*/ 96 h 3024283"/>
                  <a:gd name="connsiteX0" fmla="*/ 1866900 w 2577100"/>
                  <a:gd name="connsiteY0" fmla="*/ 96 h 3024283"/>
                  <a:gd name="connsiteX1" fmla="*/ 1833562 w 2577100"/>
                  <a:gd name="connsiteY1" fmla="*/ 28671 h 3024283"/>
                  <a:gd name="connsiteX2" fmla="*/ 1819275 w 2577100"/>
                  <a:gd name="connsiteY2" fmla="*/ 100108 h 3024283"/>
                  <a:gd name="connsiteX3" fmla="*/ 1814512 w 2577100"/>
                  <a:gd name="connsiteY3" fmla="*/ 123921 h 3024283"/>
                  <a:gd name="connsiteX4" fmla="*/ 1804987 w 2577100"/>
                  <a:gd name="connsiteY4" fmla="*/ 138208 h 3024283"/>
                  <a:gd name="connsiteX5" fmla="*/ 1781175 w 2577100"/>
                  <a:gd name="connsiteY5" fmla="*/ 181071 h 3024283"/>
                  <a:gd name="connsiteX6" fmla="*/ 1762125 w 2577100"/>
                  <a:gd name="connsiteY6" fmla="*/ 209646 h 3024283"/>
                  <a:gd name="connsiteX7" fmla="*/ 1752600 w 2577100"/>
                  <a:gd name="connsiteY7" fmla="*/ 223933 h 3024283"/>
                  <a:gd name="connsiteX8" fmla="*/ 1747837 w 2577100"/>
                  <a:gd name="connsiteY8" fmla="*/ 238221 h 3024283"/>
                  <a:gd name="connsiteX9" fmla="*/ 1733550 w 2577100"/>
                  <a:gd name="connsiteY9" fmla="*/ 252508 h 3024283"/>
                  <a:gd name="connsiteX10" fmla="*/ 1724025 w 2577100"/>
                  <a:gd name="connsiteY10" fmla="*/ 266796 h 3024283"/>
                  <a:gd name="connsiteX11" fmla="*/ 1709737 w 2577100"/>
                  <a:gd name="connsiteY11" fmla="*/ 281083 h 3024283"/>
                  <a:gd name="connsiteX12" fmla="*/ 1681162 w 2577100"/>
                  <a:gd name="connsiteY12" fmla="*/ 328708 h 3024283"/>
                  <a:gd name="connsiteX13" fmla="*/ 1666875 w 2577100"/>
                  <a:gd name="connsiteY13" fmla="*/ 366808 h 3024283"/>
                  <a:gd name="connsiteX14" fmla="*/ 1643062 w 2577100"/>
                  <a:gd name="connsiteY14" fmla="*/ 395383 h 3024283"/>
                  <a:gd name="connsiteX15" fmla="*/ 1633537 w 2577100"/>
                  <a:gd name="connsiteY15" fmla="*/ 409671 h 3024283"/>
                  <a:gd name="connsiteX16" fmla="*/ 1619250 w 2577100"/>
                  <a:gd name="connsiteY16" fmla="*/ 423958 h 3024283"/>
                  <a:gd name="connsiteX17" fmla="*/ 1604962 w 2577100"/>
                  <a:gd name="connsiteY17" fmla="*/ 443008 h 3024283"/>
                  <a:gd name="connsiteX18" fmla="*/ 1571625 w 2577100"/>
                  <a:gd name="connsiteY18" fmla="*/ 462058 h 3024283"/>
                  <a:gd name="connsiteX19" fmla="*/ 1495425 w 2577100"/>
                  <a:gd name="connsiteY19" fmla="*/ 466821 h 3024283"/>
                  <a:gd name="connsiteX20" fmla="*/ 1447799 w 2577100"/>
                  <a:gd name="connsiteY20" fmla="*/ 447771 h 3024283"/>
                  <a:gd name="connsiteX21" fmla="*/ 1414462 w 2577100"/>
                  <a:gd name="connsiteY21" fmla="*/ 495396 h 3024283"/>
                  <a:gd name="connsiteX22" fmla="*/ 1390650 w 2577100"/>
                  <a:gd name="connsiteY22" fmla="*/ 500158 h 3024283"/>
                  <a:gd name="connsiteX23" fmla="*/ 1395412 w 2577100"/>
                  <a:gd name="connsiteY23" fmla="*/ 514446 h 3024283"/>
                  <a:gd name="connsiteX24" fmla="*/ 1371600 w 2577100"/>
                  <a:gd name="connsiteY24" fmla="*/ 519208 h 3024283"/>
                  <a:gd name="connsiteX25" fmla="*/ 1357312 w 2577100"/>
                  <a:gd name="connsiteY25" fmla="*/ 528733 h 3024283"/>
                  <a:gd name="connsiteX26" fmla="*/ 1333500 w 2577100"/>
                  <a:gd name="connsiteY26" fmla="*/ 533496 h 3024283"/>
                  <a:gd name="connsiteX27" fmla="*/ 1300162 w 2577100"/>
                  <a:gd name="connsiteY27" fmla="*/ 543021 h 3024283"/>
                  <a:gd name="connsiteX28" fmla="*/ 1271587 w 2577100"/>
                  <a:gd name="connsiteY28" fmla="*/ 566833 h 3024283"/>
                  <a:gd name="connsiteX29" fmla="*/ 1238250 w 2577100"/>
                  <a:gd name="connsiteY29" fmla="*/ 590646 h 3024283"/>
                  <a:gd name="connsiteX30" fmla="*/ 1200150 w 2577100"/>
                  <a:gd name="connsiteY30" fmla="*/ 623983 h 3024283"/>
                  <a:gd name="connsiteX31" fmla="*/ 1171575 w 2577100"/>
                  <a:gd name="connsiteY31" fmla="*/ 633508 h 3024283"/>
                  <a:gd name="connsiteX32" fmla="*/ 957262 w 2577100"/>
                  <a:gd name="connsiteY32" fmla="*/ 619221 h 3024283"/>
                  <a:gd name="connsiteX33" fmla="*/ 904875 w 2577100"/>
                  <a:gd name="connsiteY33" fmla="*/ 652558 h 3024283"/>
                  <a:gd name="connsiteX34" fmla="*/ 885825 w 2577100"/>
                  <a:gd name="connsiteY34" fmla="*/ 666846 h 3024283"/>
                  <a:gd name="connsiteX35" fmla="*/ 852487 w 2577100"/>
                  <a:gd name="connsiteY35" fmla="*/ 681133 h 3024283"/>
                  <a:gd name="connsiteX36" fmla="*/ 838200 w 2577100"/>
                  <a:gd name="connsiteY36" fmla="*/ 690658 h 3024283"/>
                  <a:gd name="connsiteX37" fmla="*/ 800100 w 2577100"/>
                  <a:gd name="connsiteY37" fmla="*/ 700183 h 3024283"/>
                  <a:gd name="connsiteX38" fmla="*/ 785812 w 2577100"/>
                  <a:gd name="connsiteY38" fmla="*/ 704946 h 3024283"/>
                  <a:gd name="connsiteX39" fmla="*/ 762000 w 2577100"/>
                  <a:gd name="connsiteY39" fmla="*/ 709708 h 3024283"/>
                  <a:gd name="connsiteX40" fmla="*/ 742950 w 2577100"/>
                  <a:gd name="connsiteY40" fmla="*/ 714471 h 3024283"/>
                  <a:gd name="connsiteX41" fmla="*/ 709612 w 2577100"/>
                  <a:gd name="connsiteY41" fmla="*/ 704946 h 3024283"/>
                  <a:gd name="connsiteX42" fmla="*/ 676275 w 2577100"/>
                  <a:gd name="connsiteY42" fmla="*/ 695421 h 3024283"/>
                  <a:gd name="connsiteX43" fmla="*/ 657225 w 2577100"/>
                  <a:gd name="connsiteY43" fmla="*/ 685896 h 3024283"/>
                  <a:gd name="connsiteX44" fmla="*/ 595312 w 2577100"/>
                  <a:gd name="connsiteY44" fmla="*/ 695421 h 3024283"/>
                  <a:gd name="connsiteX45" fmla="*/ 571500 w 2577100"/>
                  <a:gd name="connsiteY45" fmla="*/ 700183 h 3024283"/>
                  <a:gd name="connsiteX46" fmla="*/ 542925 w 2577100"/>
                  <a:gd name="connsiteY46" fmla="*/ 709708 h 3024283"/>
                  <a:gd name="connsiteX47" fmla="*/ 519112 w 2577100"/>
                  <a:gd name="connsiteY47" fmla="*/ 738283 h 3024283"/>
                  <a:gd name="connsiteX48" fmla="*/ 490537 w 2577100"/>
                  <a:gd name="connsiteY48" fmla="*/ 747808 h 3024283"/>
                  <a:gd name="connsiteX49" fmla="*/ 476250 w 2577100"/>
                  <a:gd name="connsiteY49" fmla="*/ 752571 h 3024283"/>
                  <a:gd name="connsiteX50" fmla="*/ 333375 w 2577100"/>
                  <a:gd name="connsiteY50" fmla="*/ 747808 h 3024283"/>
                  <a:gd name="connsiteX51" fmla="*/ 290512 w 2577100"/>
                  <a:gd name="connsiteY51" fmla="*/ 733521 h 3024283"/>
                  <a:gd name="connsiteX52" fmla="*/ 252412 w 2577100"/>
                  <a:gd name="connsiteY52" fmla="*/ 723996 h 3024283"/>
                  <a:gd name="connsiteX53" fmla="*/ 214312 w 2577100"/>
                  <a:gd name="connsiteY53" fmla="*/ 709708 h 3024283"/>
                  <a:gd name="connsiteX54" fmla="*/ 166687 w 2577100"/>
                  <a:gd name="connsiteY54" fmla="*/ 700183 h 3024283"/>
                  <a:gd name="connsiteX55" fmla="*/ 42862 w 2577100"/>
                  <a:gd name="connsiteY55" fmla="*/ 709708 h 3024283"/>
                  <a:gd name="connsiteX56" fmla="*/ 28575 w 2577100"/>
                  <a:gd name="connsiteY56" fmla="*/ 714471 h 3024283"/>
                  <a:gd name="connsiteX57" fmla="*/ 14287 w 2577100"/>
                  <a:gd name="connsiteY57" fmla="*/ 723996 h 3024283"/>
                  <a:gd name="connsiteX58" fmla="*/ 4762 w 2577100"/>
                  <a:gd name="connsiteY58" fmla="*/ 752571 h 3024283"/>
                  <a:gd name="connsiteX59" fmla="*/ 0 w 2577100"/>
                  <a:gd name="connsiteY59" fmla="*/ 766858 h 3024283"/>
                  <a:gd name="connsiteX60" fmla="*/ 9525 w 2577100"/>
                  <a:gd name="connsiteY60" fmla="*/ 809721 h 3024283"/>
                  <a:gd name="connsiteX61" fmla="*/ 28575 w 2577100"/>
                  <a:gd name="connsiteY61" fmla="*/ 838296 h 3024283"/>
                  <a:gd name="connsiteX62" fmla="*/ 47625 w 2577100"/>
                  <a:gd name="connsiteY62" fmla="*/ 852583 h 3024283"/>
                  <a:gd name="connsiteX63" fmla="*/ 57150 w 2577100"/>
                  <a:gd name="connsiteY63" fmla="*/ 919258 h 3024283"/>
                  <a:gd name="connsiteX64" fmla="*/ 71437 w 2577100"/>
                  <a:gd name="connsiteY64" fmla="*/ 995458 h 3024283"/>
                  <a:gd name="connsiteX65" fmla="*/ 71437 w 2577100"/>
                  <a:gd name="connsiteY65" fmla="*/ 1095471 h 3024283"/>
                  <a:gd name="connsiteX66" fmla="*/ 57150 w 2577100"/>
                  <a:gd name="connsiteY66" fmla="*/ 1128808 h 3024283"/>
                  <a:gd name="connsiteX67" fmla="*/ 23812 w 2577100"/>
                  <a:gd name="connsiteY67" fmla="*/ 1152621 h 3024283"/>
                  <a:gd name="connsiteX68" fmla="*/ 9525 w 2577100"/>
                  <a:gd name="connsiteY68" fmla="*/ 1185958 h 3024283"/>
                  <a:gd name="connsiteX69" fmla="*/ 23812 w 2577100"/>
                  <a:gd name="connsiteY69" fmla="*/ 1200246 h 3024283"/>
                  <a:gd name="connsiteX70" fmla="*/ 47625 w 2577100"/>
                  <a:gd name="connsiteY70" fmla="*/ 1219296 h 3024283"/>
                  <a:gd name="connsiteX71" fmla="*/ 57150 w 2577100"/>
                  <a:gd name="connsiteY71" fmla="*/ 1247871 h 3024283"/>
                  <a:gd name="connsiteX72" fmla="*/ 42862 w 2577100"/>
                  <a:gd name="connsiteY72" fmla="*/ 1319308 h 3024283"/>
                  <a:gd name="connsiteX73" fmla="*/ 47625 w 2577100"/>
                  <a:gd name="connsiteY73" fmla="*/ 1485996 h 3024283"/>
                  <a:gd name="connsiteX74" fmla="*/ 52387 w 2577100"/>
                  <a:gd name="connsiteY74" fmla="*/ 1500283 h 3024283"/>
                  <a:gd name="connsiteX75" fmla="*/ 66675 w 2577100"/>
                  <a:gd name="connsiteY75" fmla="*/ 1547908 h 3024283"/>
                  <a:gd name="connsiteX76" fmla="*/ 71437 w 2577100"/>
                  <a:gd name="connsiteY76" fmla="*/ 1566958 h 3024283"/>
                  <a:gd name="connsiteX77" fmla="*/ 104775 w 2577100"/>
                  <a:gd name="connsiteY77" fmla="*/ 1605058 h 3024283"/>
                  <a:gd name="connsiteX78" fmla="*/ 119062 w 2577100"/>
                  <a:gd name="connsiteY78" fmla="*/ 1609821 h 3024283"/>
                  <a:gd name="connsiteX79" fmla="*/ 147637 w 2577100"/>
                  <a:gd name="connsiteY79" fmla="*/ 1628871 h 3024283"/>
                  <a:gd name="connsiteX80" fmla="*/ 176212 w 2577100"/>
                  <a:gd name="connsiteY80" fmla="*/ 1686021 h 3024283"/>
                  <a:gd name="connsiteX81" fmla="*/ 190500 w 2577100"/>
                  <a:gd name="connsiteY81" fmla="*/ 1700308 h 3024283"/>
                  <a:gd name="connsiteX82" fmla="*/ 200025 w 2577100"/>
                  <a:gd name="connsiteY82" fmla="*/ 1714596 h 3024283"/>
                  <a:gd name="connsiteX83" fmla="*/ 204787 w 2577100"/>
                  <a:gd name="connsiteY83" fmla="*/ 1733646 h 3024283"/>
                  <a:gd name="connsiteX84" fmla="*/ 214312 w 2577100"/>
                  <a:gd name="connsiteY84" fmla="*/ 1762221 h 3024283"/>
                  <a:gd name="connsiteX85" fmla="*/ 219075 w 2577100"/>
                  <a:gd name="connsiteY85" fmla="*/ 1857471 h 3024283"/>
                  <a:gd name="connsiteX86" fmla="*/ 228600 w 2577100"/>
                  <a:gd name="connsiteY86" fmla="*/ 1876521 h 3024283"/>
                  <a:gd name="connsiteX87" fmla="*/ 233362 w 2577100"/>
                  <a:gd name="connsiteY87" fmla="*/ 1909858 h 3024283"/>
                  <a:gd name="connsiteX88" fmla="*/ 247650 w 2577100"/>
                  <a:gd name="connsiteY88" fmla="*/ 1924146 h 3024283"/>
                  <a:gd name="connsiteX89" fmla="*/ 257175 w 2577100"/>
                  <a:gd name="connsiteY89" fmla="*/ 1943196 h 3024283"/>
                  <a:gd name="connsiteX90" fmla="*/ 290512 w 2577100"/>
                  <a:gd name="connsiteY90" fmla="*/ 1986058 h 3024283"/>
                  <a:gd name="connsiteX91" fmla="*/ 309562 w 2577100"/>
                  <a:gd name="connsiteY91" fmla="*/ 2014633 h 3024283"/>
                  <a:gd name="connsiteX92" fmla="*/ 323850 w 2577100"/>
                  <a:gd name="connsiteY92" fmla="*/ 2043208 h 3024283"/>
                  <a:gd name="connsiteX93" fmla="*/ 338137 w 2577100"/>
                  <a:gd name="connsiteY93" fmla="*/ 2057496 h 3024283"/>
                  <a:gd name="connsiteX94" fmla="*/ 361950 w 2577100"/>
                  <a:gd name="connsiteY94" fmla="*/ 2100358 h 3024283"/>
                  <a:gd name="connsiteX95" fmla="*/ 342900 w 2577100"/>
                  <a:gd name="connsiteY95" fmla="*/ 2124171 h 3024283"/>
                  <a:gd name="connsiteX96" fmla="*/ 314325 w 2577100"/>
                  <a:gd name="connsiteY96" fmla="*/ 2133696 h 3024283"/>
                  <a:gd name="connsiteX97" fmla="*/ 300037 w 2577100"/>
                  <a:gd name="connsiteY97" fmla="*/ 2162271 h 3024283"/>
                  <a:gd name="connsiteX98" fmla="*/ 280987 w 2577100"/>
                  <a:gd name="connsiteY98" fmla="*/ 2233708 h 3024283"/>
                  <a:gd name="connsiteX99" fmla="*/ 257175 w 2577100"/>
                  <a:gd name="connsiteY99" fmla="*/ 2309908 h 3024283"/>
                  <a:gd name="connsiteX100" fmla="*/ 242887 w 2577100"/>
                  <a:gd name="connsiteY100" fmla="*/ 2314671 h 3024283"/>
                  <a:gd name="connsiteX101" fmla="*/ 228600 w 2577100"/>
                  <a:gd name="connsiteY101" fmla="*/ 2324196 h 3024283"/>
                  <a:gd name="connsiteX102" fmla="*/ 219075 w 2577100"/>
                  <a:gd name="connsiteY102" fmla="*/ 2433733 h 3024283"/>
                  <a:gd name="connsiteX103" fmla="*/ 214312 w 2577100"/>
                  <a:gd name="connsiteY103" fmla="*/ 2448021 h 3024283"/>
                  <a:gd name="connsiteX104" fmla="*/ 219075 w 2577100"/>
                  <a:gd name="connsiteY104" fmla="*/ 2486121 h 3024283"/>
                  <a:gd name="connsiteX105" fmla="*/ 223837 w 2577100"/>
                  <a:gd name="connsiteY105" fmla="*/ 2505171 h 3024283"/>
                  <a:gd name="connsiteX106" fmla="*/ 252412 w 2577100"/>
                  <a:gd name="connsiteY106" fmla="*/ 2533746 h 3024283"/>
                  <a:gd name="connsiteX107" fmla="*/ 280987 w 2577100"/>
                  <a:gd name="connsiteY107" fmla="*/ 2576608 h 3024283"/>
                  <a:gd name="connsiteX108" fmla="*/ 295275 w 2577100"/>
                  <a:gd name="connsiteY108" fmla="*/ 2595658 h 3024283"/>
                  <a:gd name="connsiteX109" fmla="*/ 304800 w 2577100"/>
                  <a:gd name="connsiteY109" fmla="*/ 2609946 h 3024283"/>
                  <a:gd name="connsiteX110" fmla="*/ 309562 w 2577100"/>
                  <a:gd name="connsiteY110" fmla="*/ 2624233 h 3024283"/>
                  <a:gd name="connsiteX111" fmla="*/ 338137 w 2577100"/>
                  <a:gd name="connsiteY111" fmla="*/ 2657571 h 3024283"/>
                  <a:gd name="connsiteX112" fmla="*/ 357187 w 2577100"/>
                  <a:gd name="connsiteY112" fmla="*/ 2686146 h 3024283"/>
                  <a:gd name="connsiteX113" fmla="*/ 376237 w 2577100"/>
                  <a:gd name="connsiteY113" fmla="*/ 2714721 h 3024283"/>
                  <a:gd name="connsiteX114" fmla="*/ 385762 w 2577100"/>
                  <a:gd name="connsiteY114" fmla="*/ 2733771 h 3024283"/>
                  <a:gd name="connsiteX115" fmla="*/ 400050 w 2577100"/>
                  <a:gd name="connsiteY115" fmla="*/ 2748058 h 3024283"/>
                  <a:gd name="connsiteX116" fmla="*/ 409575 w 2577100"/>
                  <a:gd name="connsiteY116" fmla="*/ 2781396 h 3024283"/>
                  <a:gd name="connsiteX117" fmla="*/ 414337 w 2577100"/>
                  <a:gd name="connsiteY117" fmla="*/ 2795683 h 3024283"/>
                  <a:gd name="connsiteX118" fmla="*/ 395287 w 2577100"/>
                  <a:gd name="connsiteY118" fmla="*/ 2824258 h 3024283"/>
                  <a:gd name="connsiteX119" fmla="*/ 376237 w 2577100"/>
                  <a:gd name="connsiteY119" fmla="*/ 2852833 h 3024283"/>
                  <a:gd name="connsiteX120" fmla="*/ 366712 w 2577100"/>
                  <a:gd name="connsiteY120" fmla="*/ 2867121 h 3024283"/>
                  <a:gd name="connsiteX121" fmla="*/ 338137 w 2577100"/>
                  <a:gd name="connsiteY121" fmla="*/ 2895696 h 3024283"/>
                  <a:gd name="connsiteX122" fmla="*/ 309562 w 2577100"/>
                  <a:gd name="connsiteY122" fmla="*/ 2909983 h 3024283"/>
                  <a:gd name="connsiteX123" fmla="*/ 290512 w 2577100"/>
                  <a:gd name="connsiteY123" fmla="*/ 2919508 h 3024283"/>
                  <a:gd name="connsiteX124" fmla="*/ 276225 w 2577100"/>
                  <a:gd name="connsiteY124" fmla="*/ 2933796 h 3024283"/>
                  <a:gd name="connsiteX125" fmla="*/ 271462 w 2577100"/>
                  <a:gd name="connsiteY125" fmla="*/ 2948083 h 3024283"/>
                  <a:gd name="connsiteX126" fmla="*/ 257175 w 2577100"/>
                  <a:gd name="connsiteY126" fmla="*/ 2957608 h 3024283"/>
                  <a:gd name="connsiteX127" fmla="*/ 247650 w 2577100"/>
                  <a:gd name="connsiteY127" fmla="*/ 2971896 h 3024283"/>
                  <a:gd name="connsiteX128" fmla="*/ 238125 w 2577100"/>
                  <a:gd name="connsiteY128" fmla="*/ 3009996 h 3024283"/>
                  <a:gd name="connsiteX129" fmla="*/ 252412 w 2577100"/>
                  <a:gd name="connsiteY129" fmla="*/ 3024283 h 3024283"/>
                  <a:gd name="connsiteX130" fmla="*/ 285750 w 2577100"/>
                  <a:gd name="connsiteY130" fmla="*/ 3019521 h 3024283"/>
                  <a:gd name="connsiteX131" fmla="*/ 314325 w 2577100"/>
                  <a:gd name="connsiteY131" fmla="*/ 3009996 h 3024283"/>
                  <a:gd name="connsiteX132" fmla="*/ 328612 w 2577100"/>
                  <a:gd name="connsiteY132" fmla="*/ 3000471 h 3024283"/>
                  <a:gd name="connsiteX133" fmla="*/ 409575 w 2577100"/>
                  <a:gd name="connsiteY133" fmla="*/ 2990946 h 3024283"/>
                  <a:gd name="connsiteX134" fmla="*/ 481012 w 2577100"/>
                  <a:gd name="connsiteY134" fmla="*/ 2976658 h 3024283"/>
                  <a:gd name="connsiteX135" fmla="*/ 523875 w 2577100"/>
                  <a:gd name="connsiteY135" fmla="*/ 2957608 h 3024283"/>
                  <a:gd name="connsiteX136" fmla="*/ 523875 w 2577100"/>
                  <a:gd name="connsiteY136" fmla="*/ 2957608 h 3024283"/>
                  <a:gd name="connsiteX137" fmla="*/ 561975 w 2577100"/>
                  <a:gd name="connsiteY137" fmla="*/ 2933796 h 3024283"/>
                  <a:gd name="connsiteX138" fmla="*/ 576262 w 2577100"/>
                  <a:gd name="connsiteY138" fmla="*/ 2919508 h 3024283"/>
                  <a:gd name="connsiteX139" fmla="*/ 633412 w 2577100"/>
                  <a:gd name="connsiteY139" fmla="*/ 2909983 h 3024283"/>
                  <a:gd name="connsiteX140" fmla="*/ 671512 w 2577100"/>
                  <a:gd name="connsiteY140" fmla="*/ 2876646 h 3024283"/>
                  <a:gd name="connsiteX141" fmla="*/ 676275 w 2577100"/>
                  <a:gd name="connsiteY141" fmla="*/ 2862358 h 3024283"/>
                  <a:gd name="connsiteX142" fmla="*/ 661987 w 2577100"/>
                  <a:gd name="connsiteY142" fmla="*/ 2829021 h 3024283"/>
                  <a:gd name="connsiteX143" fmla="*/ 666750 w 2577100"/>
                  <a:gd name="connsiteY143" fmla="*/ 2809971 h 3024283"/>
                  <a:gd name="connsiteX144" fmla="*/ 676275 w 2577100"/>
                  <a:gd name="connsiteY144" fmla="*/ 2781396 h 3024283"/>
                  <a:gd name="connsiteX145" fmla="*/ 671512 w 2577100"/>
                  <a:gd name="connsiteY145" fmla="*/ 2752821 h 3024283"/>
                  <a:gd name="connsiteX146" fmla="*/ 690562 w 2577100"/>
                  <a:gd name="connsiteY146" fmla="*/ 2748058 h 3024283"/>
                  <a:gd name="connsiteX147" fmla="*/ 733425 w 2577100"/>
                  <a:gd name="connsiteY147" fmla="*/ 2733771 h 3024283"/>
                  <a:gd name="connsiteX148" fmla="*/ 871537 w 2577100"/>
                  <a:gd name="connsiteY148" fmla="*/ 2738533 h 3024283"/>
                  <a:gd name="connsiteX149" fmla="*/ 914400 w 2577100"/>
                  <a:gd name="connsiteY149" fmla="*/ 2743296 h 3024283"/>
                  <a:gd name="connsiteX150" fmla="*/ 957262 w 2577100"/>
                  <a:gd name="connsiteY150" fmla="*/ 2762346 h 3024283"/>
                  <a:gd name="connsiteX151" fmla="*/ 971550 w 2577100"/>
                  <a:gd name="connsiteY151" fmla="*/ 2767108 h 3024283"/>
                  <a:gd name="connsiteX152" fmla="*/ 1085850 w 2577100"/>
                  <a:gd name="connsiteY152" fmla="*/ 2762346 h 3024283"/>
                  <a:gd name="connsiteX153" fmla="*/ 1109662 w 2577100"/>
                  <a:gd name="connsiteY153" fmla="*/ 2757583 h 3024283"/>
                  <a:gd name="connsiteX154" fmla="*/ 1171575 w 2577100"/>
                  <a:gd name="connsiteY154" fmla="*/ 2743296 h 3024283"/>
                  <a:gd name="connsiteX155" fmla="*/ 1204912 w 2577100"/>
                  <a:gd name="connsiteY155" fmla="*/ 2719483 h 3024283"/>
                  <a:gd name="connsiteX156" fmla="*/ 1223962 w 2577100"/>
                  <a:gd name="connsiteY156" fmla="*/ 2705196 h 3024283"/>
                  <a:gd name="connsiteX157" fmla="*/ 1495425 w 2577100"/>
                  <a:gd name="connsiteY157" fmla="*/ 2700433 h 3024283"/>
                  <a:gd name="connsiteX158" fmla="*/ 1509712 w 2577100"/>
                  <a:gd name="connsiteY158" fmla="*/ 2686146 h 3024283"/>
                  <a:gd name="connsiteX159" fmla="*/ 1524000 w 2577100"/>
                  <a:gd name="connsiteY159" fmla="*/ 2676621 h 3024283"/>
                  <a:gd name="connsiteX160" fmla="*/ 1547812 w 2577100"/>
                  <a:gd name="connsiteY160" fmla="*/ 2643283 h 3024283"/>
                  <a:gd name="connsiteX161" fmla="*/ 1571625 w 2577100"/>
                  <a:gd name="connsiteY161" fmla="*/ 2648046 h 3024283"/>
                  <a:gd name="connsiteX162" fmla="*/ 1624012 w 2577100"/>
                  <a:gd name="connsiteY162" fmla="*/ 2638521 h 3024283"/>
                  <a:gd name="connsiteX163" fmla="*/ 1638300 w 2577100"/>
                  <a:gd name="connsiteY163" fmla="*/ 2628996 h 3024283"/>
                  <a:gd name="connsiteX164" fmla="*/ 1666875 w 2577100"/>
                  <a:gd name="connsiteY164" fmla="*/ 2619471 h 3024283"/>
                  <a:gd name="connsiteX165" fmla="*/ 1681162 w 2577100"/>
                  <a:gd name="connsiteY165" fmla="*/ 2614708 h 3024283"/>
                  <a:gd name="connsiteX166" fmla="*/ 1695450 w 2577100"/>
                  <a:gd name="connsiteY166" fmla="*/ 2609946 h 3024283"/>
                  <a:gd name="connsiteX167" fmla="*/ 1709737 w 2577100"/>
                  <a:gd name="connsiteY167" fmla="*/ 2605183 h 3024283"/>
                  <a:gd name="connsiteX168" fmla="*/ 1724025 w 2577100"/>
                  <a:gd name="connsiteY168" fmla="*/ 2590896 h 3024283"/>
                  <a:gd name="connsiteX169" fmla="*/ 1728787 w 2577100"/>
                  <a:gd name="connsiteY169" fmla="*/ 2576608 h 3024283"/>
                  <a:gd name="connsiteX170" fmla="*/ 1757362 w 2577100"/>
                  <a:gd name="connsiteY170" fmla="*/ 2557558 h 3024283"/>
                  <a:gd name="connsiteX171" fmla="*/ 1781175 w 2577100"/>
                  <a:gd name="connsiteY171" fmla="*/ 2538508 h 3024283"/>
                  <a:gd name="connsiteX172" fmla="*/ 1809750 w 2577100"/>
                  <a:gd name="connsiteY172" fmla="*/ 2519458 h 3024283"/>
                  <a:gd name="connsiteX173" fmla="*/ 1819275 w 2577100"/>
                  <a:gd name="connsiteY173" fmla="*/ 2505171 h 3024283"/>
                  <a:gd name="connsiteX174" fmla="*/ 1824037 w 2577100"/>
                  <a:gd name="connsiteY174" fmla="*/ 2490883 h 3024283"/>
                  <a:gd name="connsiteX175" fmla="*/ 1838325 w 2577100"/>
                  <a:gd name="connsiteY175" fmla="*/ 2476596 h 3024283"/>
                  <a:gd name="connsiteX176" fmla="*/ 1843087 w 2577100"/>
                  <a:gd name="connsiteY176" fmla="*/ 2462308 h 3024283"/>
                  <a:gd name="connsiteX177" fmla="*/ 1928812 w 2577100"/>
                  <a:gd name="connsiteY177" fmla="*/ 2448021 h 3024283"/>
                  <a:gd name="connsiteX178" fmla="*/ 1947862 w 2577100"/>
                  <a:gd name="connsiteY178" fmla="*/ 2428971 h 3024283"/>
                  <a:gd name="connsiteX179" fmla="*/ 1962150 w 2577100"/>
                  <a:gd name="connsiteY179" fmla="*/ 2419446 h 3024283"/>
                  <a:gd name="connsiteX180" fmla="*/ 1981200 w 2577100"/>
                  <a:gd name="connsiteY180" fmla="*/ 2367058 h 3024283"/>
                  <a:gd name="connsiteX181" fmla="*/ 1985962 w 2577100"/>
                  <a:gd name="connsiteY181" fmla="*/ 2348008 h 3024283"/>
                  <a:gd name="connsiteX182" fmla="*/ 1990725 w 2577100"/>
                  <a:gd name="connsiteY182" fmla="*/ 2333721 h 3024283"/>
                  <a:gd name="connsiteX183" fmla="*/ 1985962 w 2577100"/>
                  <a:gd name="connsiteY183" fmla="*/ 2228946 h 3024283"/>
                  <a:gd name="connsiteX184" fmla="*/ 1971675 w 2577100"/>
                  <a:gd name="connsiteY184" fmla="*/ 2214658 h 3024283"/>
                  <a:gd name="connsiteX185" fmla="*/ 1943100 w 2577100"/>
                  <a:gd name="connsiteY185" fmla="*/ 2205133 h 3024283"/>
                  <a:gd name="connsiteX186" fmla="*/ 1928812 w 2577100"/>
                  <a:gd name="connsiteY186" fmla="*/ 2195608 h 3024283"/>
                  <a:gd name="connsiteX187" fmla="*/ 1943100 w 2577100"/>
                  <a:gd name="connsiteY187" fmla="*/ 2147983 h 3024283"/>
                  <a:gd name="connsiteX188" fmla="*/ 1952625 w 2577100"/>
                  <a:gd name="connsiteY188" fmla="*/ 2133696 h 3024283"/>
                  <a:gd name="connsiteX189" fmla="*/ 1957387 w 2577100"/>
                  <a:gd name="connsiteY189" fmla="*/ 2119408 h 3024283"/>
                  <a:gd name="connsiteX190" fmla="*/ 1962150 w 2577100"/>
                  <a:gd name="connsiteY190" fmla="*/ 2100358 h 3024283"/>
                  <a:gd name="connsiteX191" fmla="*/ 1981200 w 2577100"/>
                  <a:gd name="connsiteY191" fmla="*/ 2062258 h 3024283"/>
                  <a:gd name="connsiteX192" fmla="*/ 1995487 w 2577100"/>
                  <a:gd name="connsiteY192" fmla="*/ 2009871 h 3024283"/>
                  <a:gd name="connsiteX193" fmla="*/ 2000250 w 2577100"/>
                  <a:gd name="connsiteY193" fmla="*/ 1995583 h 3024283"/>
                  <a:gd name="connsiteX194" fmla="*/ 2019300 w 2577100"/>
                  <a:gd name="connsiteY194" fmla="*/ 1986058 h 3024283"/>
                  <a:gd name="connsiteX195" fmla="*/ 2033587 w 2577100"/>
                  <a:gd name="connsiteY195" fmla="*/ 1990821 h 3024283"/>
                  <a:gd name="connsiteX196" fmla="*/ 2052637 w 2577100"/>
                  <a:gd name="connsiteY196" fmla="*/ 1957483 h 3024283"/>
                  <a:gd name="connsiteX197" fmla="*/ 2047875 w 2577100"/>
                  <a:gd name="connsiteY197" fmla="*/ 1881283 h 3024283"/>
                  <a:gd name="connsiteX198" fmla="*/ 2052637 w 2577100"/>
                  <a:gd name="connsiteY198" fmla="*/ 1833658 h 3024283"/>
                  <a:gd name="connsiteX199" fmla="*/ 2047875 w 2577100"/>
                  <a:gd name="connsiteY199" fmla="*/ 1757458 h 3024283"/>
                  <a:gd name="connsiteX200" fmla="*/ 2028825 w 2577100"/>
                  <a:gd name="connsiteY200" fmla="*/ 1686021 h 3024283"/>
                  <a:gd name="connsiteX201" fmla="*/ 2014537 w 2577100"/>
                  <a:gd name="connsiteY201" fmla="*/ 1681258 h 3024283"/>
                  <a:gd name="connsiteX202" fmla="*/ 2019300 w 2577100"/>
                  <a:gd name="connsiteY202" fmla="*/ 1595533 h 3024283"/>
                  <a:gd name="connsiteX203" fmla="*/ 2028825 w 2577100"/>
                  <a:gd name="connsiteY203" fmla="*/ 1576483 h 3024283"/>
                  <a:gd name="connsiteX204" fmla="*/ 2038350 w 2577100"/>
                  <a:gd name="connsiteY204" fmla="*/ 1547908 h 3024283"/>
                  <a:gd name="connsiteX205" fmla="*/ 2033587 w 2577100"/>
                  <a:gd name="connsiteY205" fmla="*/ 1524096 h 3024283"/>
                  <a:gd name="connsiteX206" fmla="*/ 2019300 w 2577100"/>
                  <a:gd name="connsiteY206" fmla="*/ 1509808 h 3024283"/>
                  <a:gd name="connsiteX207" fmla="*/ 2009775 w 2577100"/>
                  <a:gd name="connsiteY207" fmla="*/ 1495521 h 3024283"/>
                  <a:gd name="connsiteX208" fmla="*/ 2033587 w 2577100"/>
                  <a:gd name="connsiteY208" fmla="*/ 1447896 h 3024283"/>
                  <a:gd name="connsiteX209" fmla="*/ 2043112 w 2577100"/>
                  <a:gd name="connsiteY209" fmla="*/ 1428846 h 3024283"/>
                  <a:gd name="connsiteX210" fmla="*/ 2071687 w 2577100"/>
                  <a:gd name="connsiteY210" fmla="*/ 1409796 h 3024283"/>
                  <a:gd name="connsiteX211" fmla="*/ 2081212 w 2577100"/>
                  <a:gd name="connsiteY211" fmla="*/ 1376458 h 3024283"/>
                  <a:gd name="connsiteX212" fmla="*/ 2085975 w 2577100"/>
                  <a:gd name="connsiteY212" fmla="*/ 1347883 h 3024283"/>
                  <a:gd name="connsiteX213" fmla="*/ 2090737 w 2577100"/>
                  <a:gd name="connsiteY213" fmla="*/ 1328833 h 3024283"/>
                  <a:gd name="connsiteX214" fmla="*/ 2119312 w 2577100"/>
                  <a:gd name="connsiteY214" fmla="*/ 1314546 h 3024283"/>
                  <a:gd name="connsiteX215" fmla="*/ 2133600 w 2577100"/>
                  <a:gd name="connsiteY215" fmla="*/ 1300258 h 3024283"/>
                  <a:gd name="connsiteX216" fmla="*/ 2147887 w 2577100"/>
                  <a:gd name="connsiteY216" fmla="*/ 1290733 h 3024283"/>
                  <a:gd name="connsiteX217" fmla="*/ 2166937 w 2577100"/>
                  <a:gd name="connsiteY217" fmla="*/ 1262158 h 3024283"/>
                  <a:gd name="connsiteX218" fmla="*/ 2176462 w 2577100"/>
                  <a:gd name="connsiteY218" fmla="*/ 1247871 h 3024283"/>
                  <a:gd name="connsiteX219" fmla="*/ 2185987 w 2577100"/>
                  <a:gd name="connsiteY219" fmla="*/ 1233583 h 3024283"/>
                  <a:gd name="connsiteX220" fmla="*/ 2219325 w 2577100"/>
                  <a:gd name="connsiteY220" fmla="*/ 1200246 h 3024283"/>
                  <a:gd name="connsiteX221" fmla="*/ 2224087 w 2577100"/>
                  <a:gd name="connsiteY221" fmla="*/ 1185958 h 3024283"/>
                  <a:gd name="connsiteX222" fmla="*/ 2252662 w 2577100"/>
                  <a:gd name="connsiteY222" fmla="*/ 1176433 h 3024283"/>
                  <a:gd name="connsiteX223" fmla="*/ 2286000 w 2577100"/>
                  <a:gd name="connsiteY223" fmla="*/ 1185958 h 3024283"/>
                  <a:gd name="connsiteX224" fmla="*/ 2300287 w 2577100"/>
                  <a:gd name="connsiteY224" fmla="*/ 1200246 h 3024283"/>
                  <a:gd name="connsiteX225" fmla="*/ 2305050 w 2577100"/>
                  <a:gd name="connsiteY225" fmla="*/ 1214533 h 3024283"/>
                  <a:gd name="connsiteX226" fmla="*/ 2343150 w 2577100"/>
                  <a:gd name="connsiteY226" fmla="*/ 1224058 h 3024283"/>
                  <a:gd name="connsiteX227" fmla="*/ 2357437 w 2577100"/>
                  <a:gd name="connsiteY227" fmla="*/ 1219296 h 3024283"/>
                  <a:gd name="connsiteX228" fmla="*/ 2371725 w 2577100"/>
                  <a:gd name="connsiteY228" fmla="*/ 1190721 h 3024283"/>
                  <a:gd name="connsiteX229" fmla="*/ 2386012 w 2577100"/>
                  <a:gd name="connsiteY229" fmla="*/ 1181196 h 3024283"/>
                  <a:gd name="connsiteX230" fmla="*/ 2400300 w 2577100"/>
                  <a:gd name="connsiteY230" fmla="*/ 1166908 h 3024283"/>
                  <a:gd name="connsiteX231" fmla="*/ 2428875 w 2577100"/>
                  <a:gd name="connsiteY231" fmla="*/ 1152621 h 3024283"/>
                  <a:gd name="connsiteX232" fmla="*/ 2471737 w 2577100"/>
                  <a:gd name="connsiteY232" fmla="*/ 1128808 h 3024283"/>
                  <a:gd name="connsiteX233" fmla="*/ 2486025 w 2577100"/>
                  <a:gd name="connsiteY233" fmla="*/ 1119283 h 3024283"/>
                  <a:gd name="connsiteX234" fmla="*/ 2519362 w 2577100"/>
                  <a:gd name="connsiteY234" fmla="*/ 1109758 h 3024283"/>
                  <a:gd name="connsiteX235" fmla="*/ 2552700 w 2577100"/>
                  <a:gd name="connsiteY235" fmla="*/ 1095471 h 3024283"/>
                  <a:gd name="connsiteX236" fmla="*/ 2566987 w 2577100"/>
                  <a:gd name="connsiteY236" fmla="*/ 1085946 h 3024283"/>
                  <a:gd name="connsiteX237" fmla="*/ 2562225 w 2577100"/>
                  <a:gd name="connsiteY237" fmla="*/ 1062133 h 3024283"/>
                  <a:gd name="connsiteX238" fmla="*/ 2547937 w 2577100"/>
                  <a:gd name="connsiteY238" fmla="*/ 1057371 h 3024283"/>
                  <a:gd name="connsiteX239" fmla="*/ 2543175 w 2577100"/>
                  <a:gd name="connsiteY239" fmla="*/ 1043083 h 3024283"/>
                  <a:gd name="connsiteX240" fmla="*/ 2547937 w 2577100"/>
                  <a:gd name="connsiteY240" fmla="*/ 1028796 h 3024283"/>
                  <a:gd name="connsiteX241" fmla="*/ 2557462 w 2577100"/>
                  <a:gd name="connsiteY241" fmla="*/ 1009746 h 3024283"/>
                  <a:gd name="connsiteX242" fmla="*/ 2566987 w 2577100"/>
                  <a:gd name="connsiteY242" fmla="*/ 962121 h 3024283"/>
                  <a:gd name="connsiteX243" fmla="*/ 2571750 w 2577100"/>
                  <a:gd name="connsiteY243" fmla="*/ 947833 h 3024283"/>
                  <a:gd name="connsiteX244" fmla="*/ 2571750 w 2577100"/>
                  <a:gd name="connsiteY244" fmla="*/ 866871 h 3024283"/>
                  <a:gd name="connsiteX245" fmla="*/ 2562225 w 2577100"/>
                  <a:gd name="connsiteY245" fmla="*/ 828771 h 3024283"/>
                  <a:gd name="connsiteX246" fmla="*/ 2557462 w 2577100"/>
                  <a:gd name="connsiteY246" fmla="*/ 814483 h 3024283"/>
                  <a:gd name="connsiteX247" fmla="*/ 2543175 w 2577100"/>
                  <a:gd name="connsiteY247" fmla="*/ 800196 h 3024283"/>
                  <a:gd name="connsiteX248" fmla="*/ 2538412 w 2577100"/>
                  <a:gd name="connsiteY248" fmla="*/ 785908 h 3024283"/>
                  <a:gd name="connsiteX249" fmla="*/ 2524125 w 2577100"/>
                  <a:gd name="connsiteY249" fmla="*/ 781146 h 3024283"/>
                  <a:gd name="connsiteX250" fmla="*/ 2509837 w 2577100"/>
                  <a:gd name="connsiteY250" fmla="*/ 766858 h 3024283"/>
                  <a:gd name="connsiteX251" fmla="*/ 2495550 w 2577100"/>
                  <a:gd name="connsiteY251" fmla="*/ 733521 h 3024283"/>
                  <a:gd name="connsiteX252" fmla="*/ 2466975 w 2577100"/>
                  <a:gd name="connsiteY252" fmla="*/ 723996 h 3024283"/>
                  <a:gd name="connsiteX253" fmla="*/ 2433637 w 2577100"/>
                  <a:gd name="connsiteY253" fmla="*/ 704946 h 3024283"/>
                  <a:gd name="connsiteX254" fmla="*/ 2424112 w 2577100"/>
                  <a:gd name="connsiteY254" fmla="*/ 690658 h 3024283"/>
                  <a:gd name="connsiteX255" fmla="*/ 2419350 w 2577100"/>
                  <a:gd name="connsiteY255" fmla="*/ 671608 h 3024283"/>
                  <a:gd name="connsiteX256" fmla="*/ 2414587 w 2577100"/>
                  <a:gd name="connsiteY256" fmla="*/ 657321 h 3024283"/>
                  <a:gd name="connsiteX257" fmla="*/ 2409825 w 2577100"/>
                  <a:gd name="connsiteY257" fmla="*/ 638271 h 3024283"/>
                  <a:gd name="connsiteX258" fmla="*/ 2390775 w 2577100"/>
                  <a:gd name="connsiteY258" fmla="*/ 609696 h 3024283"/>
                  <a:gd name="connsiteX259" fmla="*/ 2347912 w 2577100"/>
                  <a:gd name="connsiteY259" fmla="*/ 604933 h 3024283"/>
                  <a:gd name="connsiteX260" fmla="*/ 2343150 w 2577100"/>
                  <a:gd name="connsiteY260" fmla="*/ 547783 h 3024283"/>
                  <a:gd name="connsiteX261" fmla="*/ 2324100 w 2577100"/>
                  <a:gd name="connsiteY261" fmla="*/ 519208 h 3024283"/>
                  <a:gd name="connsiteX262" fmla="*/ 2319337 w 2577100"/>
                  <a:gd name="connsiteY262" fmla="*/ 504921 h 3024283"/>
                  <a:gd name="connsiteX263" fmla="*/ 2309812 w 2577100"/>
                  <a:gd name="connsiteY263" fmla="*/ 481108 h 3024283"/>
                  <a:gd name="connsiteX264" fmla="*/ 2300287 w 2577100"/>
                  <a:gd name="connsiteY264" fmla="*/ 452533 h 3024283"/>
                  <a:gd name="connsiteX265" fmla="*/ 2271712 w 2577100"/>
                  <a:gd name="connsiteY265" fmla="*/ 423958 h 3024283"/>
                  <a:gd name="connsiteX266" fmla="*/ 2243137 w 2577100"/>
                  <a:gd name="connsiteY266" fmla="*/ 400146 h 3024283"/>
                  <a:gd name="connsiteX267" fmla="*/ 2252662 w 2577100"/>
                  <a:gd name="connsiteY267" fmla="*/ 371571 h 3024283"/>
                  <a:gd name="connsiteX268" fmla="*/ 2247900 w 2577100"/>
                  <a:gd name="connsiteY268" fmla="*/ 333471 h 3024283"/>
                  <a:gd name="connsiteX269" fmla="*/ 2190750 w 2577100"/>
                  <a:gd name="connsiteY269" fmla="*/ 347758 h 3024283"/>
                  <a:gd name="connsiteX270" fmla="*/ 2176462 w 2577100"/>
                  <a:gd name="connsiteY270" fmla="*/ 362046 h 3024283"/>
                  <a:gd name="connsiteX271" fmla="*/ 2138362 w 2577100"/>
                  <a:gd name="connsiteY271" fmla="*/ 371571 h 3024283"/>
                  <a:gd name="connsiteX272" fmla="*/ 2124075 w 2577100"/>
                  <a:gd name="connsiteY272" fmla="*/ 381096 h 3024283"/>
                  <a:gd name="connsiteX273" fmla="*/ 2085975 w 2577100"/>
                  <a:gd name="connsiteY273" fmla="*/ 390621 h 3024283"/>
                  <a:gd name="connsiteX274" fmla="*/ 2014537 w 2577100"/>
                  <a:gd name="connsiteY274" fmla="*/ 385858 h 3024283"/>
                  <a:gd name="connsiteX275" fmla="*/ 2000250 w 2577100"/>
                  <a:gd name="connsiteY275" fmla="*/ 366808 h 3024283"/>
                  <a:gd name="connsiteX276" fmla="*/ 2005012 w 2577100"/>
                  <a:gd name="connsiteY276" fmla="*/ 352521 h 3024283"/>
                  <a:gd name="connsiteX277" fmla="*/ 2014537 w 2577100"/>
                  <a:gd name="connsiteY277" fmla="*/ 309658 h 3024283"/>
                  <a:gd name="connsiteX278" fmla="*/ 2009775 w 2577100"/>
                  <a:gd name="connsiteY278" fmla="*/ 271558 h 3024283"/>
                  <a:gd name="connsiteX279" fmla="*/ 1995487 w 2577100"/>
                  <a:gd name="connsiteY279" fmla="*/ 257271 h 3024283"/>
                  <a:gd name="connsiteX280" fmla="*/ 1981200 w 2577100"/>
                  <a:gd name="connsiteY280" fmla="*/ 209646 h 3024283"/>
                  <a:gd name="connsiteX281" fmla="*/ 1966912 w 2577100"/>
                  <a:gd name="connsiteY281" fmla="*/ 166783 h 3024283"/>
                  <a:gd name="connsiteX282" fmla="*/ 1957387 w 2577100"/>
                  <a:gd name="connsiteY282" fmla="*/ 152496 h 3024283"/>
                  <a:gd name="connsiteX283" fmla="*/ 1943100 w 2577100"/>
                  <a:gd name="connsiteY283" fmla="*/ 133446 h 3024283"/>
                  <a:gd name="connsiteX284" fmla="*/ 1933575 w 2577100"/>
                  <a:gd name="connsiteY284" fmla="*/ 119158 h 3024283"/>
                  <a:gd name="connsiteX285" fmla="*/ 1919287 w 2577100"/>
                  <a:gd name="connsiteY285" fmla="*/ 104871 h 3024283"/>
                  <a:gd name="connsiteX286" fmla="*/ 1895475 w 2577100"/>
                  <a:gd name="connsiteY286" fmla="*/ 62008 h 3024283"/>
                  <a:gd name="connsiteX287" fmla="*/ 1890712 w 2577100"/>
                  <a:gd name="connsiteY287" fmla="*/ 47721 h 3024283"/>
                  <a:gd name="connsiteX288" fmla="*/ 1866900 w 2577100"/>
                  <a:gd name="connsiteY288" fmla="*/ 19146 h 3024283"/>
                  <a:gd name="connsiteX289" fmla="*/ 1866900 w 2577100"/>
                  <a:gd name="connsiteY289" fmla="*/ 96 h 3024283"/>
                  <a:gd name="connsiteX0" fmla="*/ 1866900 w 2577100"/>
                  <a:gd name="connsiteY0" fmla="*/ 96 h 3024283"/>
                  <a:gd name="connsiteX1" fmla="*/ 1833562 w 2577100"/>
                  <a:gd name="connsiteY1" fmla="*/ 28671 h 3024283"/>
                  <a:gd name="connsiteX2" fmla="*/ 1819275 w 2577100"/>
                  <a:gd name="connsiteY2" fmla="*/ 100108 h 3024283"/>
                  <a:gd name="connsiteX3" fmla="*/ 1814512 w 2577100"/>
                  <a:gd name="connsiteY3" fmla="*/ 123921 h 3024283"/>
                  <a:gd name="connsiteX4" fmla="*/ 1804987 w 2577100"/>
                  <a:gd name="connsiteY4" fmla="*/ 138208 h 3024283"/>
                  <a:gd name="connsiteX5" fmla="*/ 1781175 w 2577100"/>
                  <a:gd name="connsiteY5" fmla="*/ 181071 h 3024283"/>
                  <a:gd name="connsiteX6" fmla="*/ 1762125 w 2577100"/>
                  <a:gd name="connsiteY6" fmla="*/ 209646 h 3024283"/>
                  <a:gd name="connsiteX7" fmla="*/ 1752600 w 2577100"/>
                  <a:gd name="connsiteY7" fmla="*/ 223933 h 3024283"/>
                  <a:gd name="connsiteX8" fmla="*/ 1747837 w 2577100"/>
                  <a:gd name="connsiteY8" fmla="*/ 238221 h 3024283"/>
                  <a:gd name="connsiteX9" fmla="*/ 1733550 w 2577100"/>
                  <a:gd name="connsiteY9" fmla="*/ 252508 h 3024283"/>
                  <a:gd name="connsiteX10" fmla="*/ 1724025 w 2577100"/>
                  <a:gd name="connsiteY10" fmla="*/ 266796 h 3024283"/>
                  <a:gd name="connsiteX11" fmla="*/ 1709737 w 2577100"/>
                  <a:gd name="connsiteY11" fmla="*/ 281083 h 3024283"/>
                  <a:gd name="connsiteX12" fmla="*/ 1681162 w 2577100"/>
                  <a:gd name="connsiteY12" fmla="*/ 328708 h 3024283"/>
                  <a:gd name="connsiteX13" fmla="*/ 1666875 w 2577100"/>
                  <a:gd name="connsiteY13" fmla="*/ 366808 h 3024283"/>
                  <a:gd name="connsiteX14" fmla="*/ 1643062 w 2577100"/>
                  <a:gd name="connsiteY14" fmla="*/ 395383 h 3024283"/>
                  <a:gd name="connsiteX15" fmla="*/ 1633537 w 2577100"/>
                  <a:gd name="connsiteY15" fmla="*/ 409671 h 3024283"/>
                  <a:gd name="connsiteX16" fmla="*/ 1619250 w 2577100"/>
                  <a:gd name="connsiteY16" fmla="*/ 423958 h 3024283"/>
                  <a:gd name="connsiteX17" fmla="*/ 1604962 w 2577100"/>
                  <a:gd name="connsiteY17" fmla="*/ 443008 h 3024283"/>
                  <a:gd name="connsiteX18" fmla="*/ 1571625 w 2577100"/>
                  <a:gd name="connsiteY18" fmla="*/ 462058 h 3024283"/>
                  <a:gd name="connsiteX19" fmla="*/ 1495425 w 2577100"/>
                  <a:gd name="connsiteY19" fmla="*/ 466821 h 3024283"/>
                  <a:gd name="connsiteX20" fmla="*/ 1447799 w 2577100"/>
                  <a:gd name="connsiteY20" fmla="*/ 447771 h 3024283"/>
                  <a:gd name="connsiteX21" fmla="*/ 1414462 w 2577100"/>
                  <a:gd name="connsiteY21" fmla="*/ 495396 h 3024283"/>
                  <a:gd name="connsiteX22" fmla="*/ 1390650 w 2577100"/>
                  <a:gd name="connsiteY22" fmla="*/ 500158 h 3024283"/>
                  <a:gd name="connsiteX23" fmla="*/ 1371600 w 2577100"/>
                  <a:gd name="connsiteY23" fmla="*/ 495396 h 3024283"/>
                  <a:gd name="connsiteX24" fmla="*/ 1371600 w 2577100"/>
                  <a:gd name="connsiteY24" fmla="*/ 519208 h 3024283"/>
                  <a:gd name="connsiteX25" fmla="*/ 1357312 w 2577100"/>
                  <a:gd name="connsiteY25" fmla="*/ 528733 h 3024283"/>
                  <a:gd name="connsiteX26" fmla="*/ 1333500 w 2577100"/>
                  <a:gd name="connsiteY26" fmla="*/ 533496 h 3024283"/>
                  <a:gd name="connsiteX27" fmla="*/ 1300162 w 2577100"/>
                  <a:gd name="connsiteY27" fmla="*/ 543021 h 3024283"/>
                  <a:gd name="connsiteX28" fmla="*/ 1271587 w 2577100"/>
                  <a:gd name="connsiteY28" fmla="*/ 566833 h 3024283"/>
                  <a:gd name="connsiteX29" fmla="*/ 1238250 w 2577100"/>
                  <a:gd name="connsiteY29" fmla="*/ 590646 h 3024283"/>
                  <a:gd name="connsiteX30" fmla="*/ 1200150 w 2577100"/>
                  <a:gd name="connsiteY30" fmla="*/ 623983 h 3024283"/>
                  <a:gd name="connsiteX31" fmla="*/ 1171575 w 2577100"/>
                  <a:gd name="connsiteY31" fmla="*/ 633508 h 3024283"/>
                  <a:gd name="connsiteX32" fmla="*/ 957262 w 2577100"/>
                  <a:gd name="connsiteY32" fmla="*/ 619221 h 3024283"/>
                  <a:gd name="connsiteX33" fmla="*/ 904875 w 2577100"/>
                  <a:gd name="connsiteY33" fmla="*/ 652558 h 3024283"/>
                  <a:gd name="connsiteX34" fmla="*/ 885825 w 2577100"/>
                  <a:gd name="connsiteY34" fmla="*/ 666846 h 3024283"/>
                  <a:gd name="connsiteX35" fmla="*/ 852487 w 2577100"/>
                  <a:gd name="connsiteY35" fmla="*/ 681133 h 3024283"/>
                  <a:gd name="connsiteX36" fmla="*/ 838200 w 2577100"/>
                  <a:gd name="connsiteY36" fmla="*/ 690658 h 3024283"/>
                  <a:gd name="connsiteX37" fmla="*/ 800100 w 2577100"/>
                  <a:gd name="connsiteY37" fmla="*/ 700183 h 3024283"/>
                  <a:gd name="connsiteX38" fmla="*/ 785812 w 2577100"/>
                  <a:gd name="connsiteY38" fmla="*/ 704946 h 3024283"/>
                  <a:gd name="connsiteX39" fmla="*/ 762000 w 2577100"/>
                  <a:gd name="connsiteY39" fmla="*/ 709708 h 3024283"/>
                  <a:gd name="connsiteX40" fmla="*/ 742950 w 2577100"/>
                  <a:gd name="connsiteY40" fmla="*/ 714471 h 3024283"/>
                  <a:gd name="connsiteX41" fmla="*/ 709612 w 2577100"/>
                  <a:gd name="connsiteY41" fmla="*/ 704946 h 3024283"/>
                  <a:gd name="connsiteX42" fmla="*/ 676275 w 2577100"/>
                  <a:gd name="connsiteY42" fmla="*/ 695421 h 3024283"/>
                  <a:gd name="connsiteX43" fmla="*/ 657225 w 2577100"/>
                  <a:gd name="connsiteY43" fmla="*/ 685896 h 3024283"/>
                  <a:gd name="connsiteX44" fmla="*/ 595312 w 2577100"/>
                  <a:gd name="connsiteY44" fmla="*/ 695421 h 3024283"/>
                  <a:gd name="connsiteX45" fmla="*/ 571500 w 2577100"/>
                  <a:gd name="connsiteY45" fmla="*/ 700183 h 3024283"/>
                  <a:gd name="connsiteX46" fmla="*/ 542925 w 2577100"/>
                  <a:gd name="connsiteY46" fmla="*/ 709708 h 3024283"/>
                  <a:gd name="connsiteX47" fmla="*/ 519112 w 2577100"/>
                  <a:gd name="connsiteY47" fmla="*/ 738283 h 3024283"/>
                  <a:gd name="connsiteX48" fmla="*/ 490537 w 2577100"/>
                  <a:gd name="connsiteY48" fmla="*/ 747808 h 3024283"/>
                  <a:gd name="connsiteX49" fmla="*/ 476250 w 2577100"/>
                  <a:gd name="connsiteY49" fmla="*/ 752571 h 3024283"/>
                  <a:gd name="connsiteX50" fmla="*/ 333375 w 2577100"/>
                  <a:gd name="connsiteY50" fmla="*/ 747808 h 3024283"/>
                  <a:gd name="connsiteX51" fmla="*/ 290512 w 2577100"/>
                  <a:gd name="connsiteY51" fmla="*/ 733521 h 3024283"/>
                  <a:gd name="connsiteX52" fmla="*/ 252412 w 2577100"/>
                  <a:gd name="connsiteY52" fmla="*/ 723996 h 3024283"/>
                  <a:gd name="connsiteX53" fmla="*/ 214312 w 2577100"/>
                  <a:gd name="connsiteY53" fmla="*/ 709708 h 3024283"/>
                  <a:gd name="connsiteX54" fmla="*/ 166687 w 2577100"/>
                  <a:gd name="connsiteY54" fmla="*/ 700183 h 3024283"/>
                  <a:gd name="connsiteX55" fmla="*/ 42862 w 2577100"/>
                  <a:gd name="connsiteY55" fmla="*/ 709708 h 3024283"/>
                  <a:gd name="connsiteX56" fmla="*/ 28575 w 2577100"/>
                  <a:gd name="connsiteY56" fmla="*/ 714471 h 3024283"/>
                  <a:gd name="connsiteX57" fmla="*/ 14287 w 2577100"/>
                  <a:gd name="connsiteY57" fmla="*/ 723996 h 3024283"/>
                  <a:gd name="connsiteX58" fmla="*/ 4762 w 2577100"/>
                  <a:gd name="connsiteY58" fmla="*/ 752571 h 3024283"/>
                  <a:gd name="connsiteX59" fmla="*/ 0 w 2577100"/>
                  <a:gd name="connsiteY59" fmla="*/ 766858 h 3024283"/>
                  <a:gd name="connsiteX60" fmla="*/ 9525 w 2577100"/>
                  <a:gd name="connsiteY60" fmla="*/ 809721 h 3024283"/>
                  <a:gd name="connsiteX61" fmla="*/ 28575 w 2577100"/>
                  <a:gd name="connsiteY61" fmla="*/ 838296 h 3024283"/>
                  <a:gd name="connsiteX62" fmla="*/ 47625 w 2577100"/>
                  <a:gd name="connsiteY62" fmla="*/ 852583 h 3024283"/>
                  <a:gd name="connsiteX63" fmla="*/ 57150 w 2577100"/>
                  <a:gd name="connsiteY63" fmla="*/ 919258 h 3024283"/>
                  <a:gd name="connsiteX64" fmla="*/ 71437 w 2577100"/>
                  <a:gd name="connsiteY64" fmla="*/ 995458 h 3024283"/>
                  <a:gd name="connsiteX65" fmla="*/ 71437 w 2577100"/>
                  <a:gd name="connsiteY65" fmla="*/ 1095471 h 3024283"/>
                  <a:gd name="connsiteX66" fmla="*/ 57150 w 2577100"/>
                  <a:gd name="connsiteY66" fmla="*/ 1128808 h 3024283"/>
                  <a:gd name="connsiteX67" fmla="*/ 23812 w 2577100"/>
                  <a:gd name="connsiteY67" fmla="*/ 1152621 h 3024283"/>
                  <a:gd name="connsiteX68" fmla="*/ 9525 w 2577100"/>
                  <a:gd name="connsiteY68" fmla="*/ 1185958 h 3024283"/>
                  <a:gd name="connsiteX69" fmla="*/ 23812 w 2577100"/>
                  <a:gd name="connsiteY69" fmla="*/ 1200246 h 3024283"/>
                  <a:gd name="connsiteX70" fmla="*/ 47625 w 2577100"/>
                  <a:gd name="connsiteY70" fmla="*/ 1219296 h 3024283"/>
                  <a:gd name="connsiteX71" fmla="*/ 57150 w 2577100"/>
                  <a:gd name="connsiteY71" fmla="*/ 1247871 h 3024283"/>
                  <a:gd name="connsiteX72" fmla="*/ 42862 w 2577100"/>
                  <a:gd name="connsiteY72" fmla="*/ 1319308 h 3024283"/>
                  <a:gd name="connsiteX73" fmla="*/ 47625 w 2577100"/>
                  <a:gd name="connsiteY73" fmla="*/ 1485996 h 3024283"/>
                  <a:gd name="connsiteX74" fmla="*/ 52387 w 2577100"/>
                  <a:gd name="connsiteY74" fmla="*/ 1500283 h 3024283"/>
                  <a:gd name="connsiteX75" fmla="*/ 66675 w 2577100"/>
                  <a:gd name="connsiteY75" fmla="*/ 1547908 h 3024283"/>
                  <a:gd name="connsiteX76" fmla="*/ 71437 w 2577100"/>
                  <a:gd name="connsiteY76" fmla="*/ 1566958 h 3024283"/>
                  <a:gd name="connsiteX77" fmla="*/ 104775 w 2577100"/>
                  <a:gd name="connsiteY77" fmla="*/ 1605058 h 3024283"/>
                  <a:gd name="connsiteX78" fmla="*/ 119062 w 2577100"/>
                  <a:gd name="connsiteY78" fmla="*/ 1609821 h 3024283"/>
                  <a:gd name="connsiteX79" fmla="*/ 147637 w 2577100"/>
                  <a:gd name="connsiteY79" fmla="*/ 1628871 h 3024283"/>
                  <a:gd name="connsiteX80" fmla="*/ 176212 w 2577100"/>
                  <a:gd name="connsiteY80" fmla="*/ 1686021 h 3024283"/>
                  <a:gd name="connsiteX81" fmla="*/ 190500 w 2577100"/>
                  <a:gd name="connsiteY81" fmla="*/ 1700308 h 3024283"/>
                  <a:gd name="connsiteX82" fmla="*/ 200025 w 2577100"/>
                  <a:gd name="connsiteY82" fmla="*/ 1714596 h 3024283"/>
                  <a:gd name="connsiteX83" fmla="*/ 204787 w 2577100"/>
                  <a:gd name="connsiteY83" fmla="*/ 1733646 h 3024283"/>
                  <a:gd name="connsiteX84" fmla="*/ 214312 w 2577100"/>
                  <a:gd name="connsiteY84" fmla="*/ 1762221 h 3024283"/>
                  <a:gd name="connsiteX85" fmla="*/ 219075 w 2577100"/>
                  <a:gd name="connsiteY85" fmla="*/ 1857471 h 3024283"/>
                  <a:gd name="connsiteX86" fmla="*/ 228600 w 2577100"/>
                  <a:gd name="connsiteY86" fmla="*/ 1876521 h 3024283"/>
                  <a:gd name="connsiteX87" fmla="*/ 233362 w 2577100"/>
                  <a:gd name="connsiteY87" fmla="*/ 1909858 h 3024283"/>
                  <a:gd name="connsiteX88" fmla="*/ 247650 w 2577100"/>
                  <a:gd name="connsiteY88" fmla="*/ 1924146 h 3024283"/>
                  <a:gd name="connsiteX89" fmla="*/ 257175 w 2577100"/>
                  <a:gd name="connsiteY89" fmla="*/ 1943196 h 3024283"/>
                  <a:gd name="connsiteX90" fmla="*/ 290512 w 2577100"/>
                  <a:gd name="connsiteY90" fmla="*/ 1986058 h 3024283"/>
                  <a:gd name="connsiteX91" fmla="*/ 309562 w 2577100"/>
                  <a:gd name="connsiteY91" fmla="*/ 2014633 h 3024283"/>
                  <a:gd name="connsiteX92" fmla="*/ 323850 w 2577100"/>
                  <a:gd name="connsiteY92" fmla="*/ 2043208 h 3024283"/>
                  <a:gd name="connsiteX93" fmla="*/ 338137 w 2577100"/>
                  <a:gd name="connsiteY93" fmla="*/ 2057496 h 3024283"/>
                  <a:gd name="connsiteX94" fmla="*/ 361950 w 2577100"/>
                  <a:gd name="connsiteY94" fmla="*/ 2100358 h 3024283"/>
                  <a:gd name="connsiteX95" fmla="*/ 342900 w 2577100"/>
                  <a:gd name="connsiteY95" fmla="*/ 2124171 h 3024283"/>
                  <a:gd name="connsiteX96" fmla="*/ 314325 w 2577100"/>
                  <a:gd name="connsiteY96" fmla="*/ 2133696 h 3024283"/>
                  <a:gd name="connsiteX97" fmla="*/ 300037 w 2577100"/>
                  <a:gd name="connsiteY97" fmla="*/ 2162271 h 3024283"/>
                  <a:gd name="connsiteX98" fmla="*/ 280987 w 2577100"/>
                  <a:gd name="connsiteY98" fmla="*/ 2233708 h 3024283"/>
                  <a:gd name="connsiteX99" fmla="*/ 257175 w 2577100"/>
                  <a:gd name="connsiteY99" fmla="*/ 2309908 h 3024283"/>
                  <a:gd name="connsiteX100" fmla="*/ 242887 w 2577100"/>
                  <a:gd name="connsiteY100" fmla="*/ 2314671 h 3024283"/>
                  <a:gd name="connsiteX101" fmla="*/ 228600 w 2577100"/>
                  <a:gd name="connsiteY101" fmla="*/ 2324196 h 3024283"/>
                  <a:gd name="connsiteX102" fmla="*/ 219075 w 2577100"/>
                  <a:gd name="connsiteY102" fmla="*/ 2433733 h 3024283"/>
                  <a:gd name="connsiteX103" fmla="*/ 214312 w 2577100"/>
                  <a:gd name="connsiteY103" fmla="*/ 2448021 h 3024283"/>
                  <a:gd name="connsiteX104" fmla="*/ 219075 w 2577100"/>
                  <a:gd name="connsiteY104" fmla="*/ 2486121 h 3024283"/>
                  <a:gd name="connsiteX105" fmla="*/ 223837 w 2577100"/>
                  <a:gd name="connsiteY105" fmla="*/ 2505171 h 3024283"/>
                  <a:gd name="connsiteX106" fmla="*/ 252412 w 2577100"/>
                  <a:gd name="connsiteY106" fmla="*/ 2533746 h 3024283"/>
                  <a:gd name="connsiteX107" fmla="*/ 280987 w 2577100"/>
                  <a:gd name="connsiteY107" fmla="*/ 2576608 h 3024283"/>
                  <a:gd name="connsiteX108" fmla="*/ 295275 w 2577100"/>
                  <a:gd name="connsiteY108" fmla="*/ 2595658 h 3024283"/>
                  <a:gd name="connsiteX109" fmla="*/ 304800 w 2577100"/>
                  <a:gd name="connsiteY109" fmla="*/ 2609946 h 3024283"/>
                  <a:gd name="connsiteX110" fmla="*/ 309562 w 2577100"/>
                  <a:gd name="connsiteY110" fmla="*/ 2624233 h 3024283"/>
                  <a:gd name="connsiteX111" fmla="*/ 338137 w 2577100"/>
                  <a:gd name="connsiteY111" fmla="*/ 2657571 h 3024283"/>
                  <a:gd name="connsiteX112" fmla="*/ 357187 w 2577100"/>
                  <a:gd name="connsiteY112" fmla="*/ 2686146 h 3024283"/>
                  <a:gd name="connsiteX113" fmla="*/ 376237 w 2577100"/>
                  <a:gd name="connsiteY113" fmla="*/ 2714721 h 3024283"/>
                  <a:gd name="connsiteX114" fmla="*/ 385762 w 2577100"/>
                  <a:gd name="connsiteY114" fmla="*/ 2733771 h 3024283"/>
                  <a:gd name="connsiteX115" fmla="*/ 400050 w 2577100"/>
                  <a:gd name="connsiteY115" fmla="*/ 2748058 h 3024283"/>
                  <a:gd name="connsiteX116" fmla="*/ 409575 w 2577100"/>
                  <a:gd name="connsiteY116" fmla="*/ 2781396 h 3024283"/>
                  <a:gd name="connsiteX117" fmla="*/ 414337 w 2577100"/>
                  <a:gd name="connsiteY117" fmla="*/ 2795683 h 3024283"/>
                  <a:gd name="connsiteX118" fmla="*/ 395287 w 2577100"/>
                  <a:gd name="connsiteY118" fmla="*/ 2824258 h 3024283"/>
                  <a:gd name="connsiteX119" fmla="*/ 376237 w 2577100"/>
                  <a:gd name="connsiteY119" fmla="*/ 2852833 h 3024283"/>
                  <a:gd name="connsiteX120" fmla="*/ 366712 w 2577100"/>
                  <a:gd name="connsiteY120" fmla="*/ 2867121 h 3024283"/>
                  <a:gd name="connsiteX121" fmla="*/ 338137 w 2577100"/>
                  <a:gd name="connsiteY121" fmla="*/ 2895696 h 3024283"/>
                  <a:gd name="connsiteX122" fmla="*/ 309562 w 2577100"/>
                  <a:gd name="connsiteY122" fmla="*/ 2909983 h 3024283"/>
                  <a:gd name="connsiteX123" fmla="*/ 290512 w 2577100"/>
                  <a:gd name="connsiteY123" fmla="*/ 2919508 h 3024283"/>
                  <a:gd name="connsiteX124" fmla="*/ 276225 w 2577100"/>
                  <a:gd name="connsiteY124" fmla="*/ 2933796 h 3024283"/>
                  <a:gd name="connsiteX125" fmla="*/ 271462 w 2577100"/>
                  <a:gd name="connsiteY125" fmla="*/ 2948083 h 3024283"/>
                  <a:gd name="connsiteX126" fmla="*/ 257175 w 2577100"/>
                  <a:gd name="connsiteY126" fmla="*/ 2957608 h 3024283"/>
                  <a:gd name="connsiteX127" fmla="*/ 247650 w 2577100"/>
                  <a:gd name="connsiteY127" fmla="*/ 2971896 h 3024283"/>
                  <a:gd name="connsiteX128" fmla="*/ 238125 w 2577100"/>
                  <a:gd name="connsiteY128" fmla="*/ 3009996 h 3024283"/>
                  <a:gd name="connsiteX129" fmla="*/ 252412 w 2577100"/>
                  <a:gd name="connsiteY129" fmla="*/ 3024283 h 3024283"/>
                  <a:gd name="connsiteX130" fmla="*/ 285750 w 2577100"/>
                  <a:gd name="connsiteY130" fmla="*/ 3019521 h 3024283"/>
                  <a:gd name="connsiteX131" fmla="*/ 314325 w 2577100"/>
                  <a:gd name="connsiteY131" fmla="*/ 3009996 h 3024283"/>
                  <a:gd name="connsiteX132" fmla="*/ 328612 w 2577100"/>
                  <a:gd name="connsiteY132" fmla="*/ 3000471 h 3024283"/>
                  <a:gd name="connsiteX133" fmla="*/ 409575 w 2577100"/>
                  <a:gd name="connsiteY133" fmla="*/ 2990946 h 3024283"/>
                  <a:gd name="connsiteX134" fmla="*/ 481012 w 2577100"/>
                  <a:gd name="connsiteY134" fmla="*/ 2976658 h 3024283"/>
                  <a:gd name="connsiteX135" fmla="*/ 523875 w 2577100"/>
                  <a:gd name="connsiteY135" fmla="*/ 2957608 h 3024283"/>
                  <a:gd name="connsiteX136" fmla="*/ 523875 w 2577100"/>
                  <a:gd name="connsiteY136" fmla="*/ 2957608 h 3024283"/>
                  <a:gd name="connsiteX137" fmla="*/ 561975 w 2577100"/>
                  <a:gd name="connsiteY137" fmla="*/ 2933796 h 3024283"/>
                  <a:gd name="connsiteX138" fmla="*/ 576262 w 2577100"/>
                  <a:gd name="connsiteY138" fmla="*/ 2919508 h 3024283"/>
                  <a:gd name="connsiteX139" fmla="*/ 633412 w 2577100"/>
                  <a:gd name="connsiteY139" fmla="*/ 2909983 h 3024283"/>
                  <a:gd name="connsiteX140" fmla="*/ 671512 w 2577100"/>
                  <a:gd name="connsiteY140" fmla="*/ 2876646 h 3024283"/>
                  <a:gd name="connsiteX141" fmla="*/ 676275 w 2577100"/>
                  <a:gd name="connsiteY141" fmla="*/ 2862358 h 3024283"/>
                  <a:gd name="connsiteX142" fmla="*/ 661987 w 2577100"/>
                  <a:gd name="connsiteY142" fmla="*/ 2829021 h 3024283"/>
                  <a:gd name="connsiteX143" fmla="*/ 666750 w 2577100"/>
                  <a:gd name="connsiteY143" fmla="*/ 2809971 h 3024283"/>
                  <a:gd name="connsiteX144" fmla="*/ 676275 w 2577100"/>
                  <a:gd name="connsiteY144" fmla="*/ 2781396 h 3024283"/>
                  <a:gd name="connsiteX145" fmla="*/ 671512 w 2577100"/>
                  <a:gd name="connsiteY145" fmla="*/ 2752821 h 3024283"/>
                  <a:gd name="connsiteX146" fmla="*/ 690562 w 2577100"/>
                  <a:gd name="connsiteY146" fmla="*/ 2748058 h 3024283"/>
                  <a:gd name="connsiteX147" fmla="*/ 733425 w 2577100"/>
                  <a:gd name="connsiteY147" fmla="*/ 2733771 h 3024283"/>
                  <a:gd name="connsiteX148" fmla="*/ 871537 w 2577100"/>
                  <a:gd name="connsiteY148" fmla="*/ 2738533 h 3024283"/>
                  <a:gd name="connsiteX149" fmla="*/ 914400 w 2577100"/>
                  <a:gd name="connsiteY149" fmla="*/ 2743296 h 3024283"/>
                  <a:gd name="connsiteX150" fmla="*/ 957262 w 2577100"/>
                  <a:gd name="connsiteY150" fmla="*/ 2762346 h 3024283"/>
                  <a:gd name="connsiteX151" fmla="*/ 971550 w 2577100"/>
                  <a:gd name="connsiteY151" fmla="*/ 2767108 h 3024283"/>
                  <a:gd name="connsiteX152" fmla="*/ 1085850 w 2577100"/>
                  <a:gd name="connsiteY152" fmla="*/ 2762346 h 3024283"/>
                  <a:gd name="connsiteX153" fmla="*/ 1109662 w 2577100"/>
                  <a:gd name="connsiteY153" fmla="*/ 2757583 h 3024283"/>
                  <a:gd name="connsiteX154" fmla="*/ 1171575 w 2577100"/>
                  <a:gd name="connsiteY154" fmla="*/ 2743296 h 3024283"/>
                  <a:gd name="connsiteX155" fmla="*/ 1204912 w 2577100"/>
                  <a:gd name="connsiteY155" fmla="*/ 2719483 h 3024283"/>
                  <a:gd name="connsiteX156" fmla="*/ 1223962 w 2577100"/>
                  <a:gd name="connsiteY156" fmla="*/ 2705196 h 3024283"/>
                  <a:gd name="connsiteX157" fmla="*/ 1495425 w 2577100"/>
                  <a:gd name="connsiteY157" fmla="*/ 2700433 h 3024283"/>
                  <a:gd name="connsiteX158" fmla="*/ 1509712 w 2577100"/>
                  <a:gd name="connsiteY158" fmla="*/ 2686146 h 3024283"/>
                  <a:gd name="connsiteX159" fmla="*/ 1524000 w 2577100"/>
                  <a:gd name="connsiteY159" fmla="*/ 2676621 h 3024283"/>
                  <a:gd name="connsiteX160" fmla="*/ 1547812 w 2577100"/>
                  <a:gd name="connsiteY160" fmla="*/ 2643283 h 3024283"/>
                  <a:gd name="connsiteX161" fmla="*/ 1571625 w 2577100"/>
                  <a:gd name="connsiteY161" fmla="*/ 2648046 h 3024283"/>
                  <a:gd name="connsiteX162" fmla="*/ 1624012 w 2577100"/>
                  <a:gd name="connsiteY162" fmla="*/ 2638521 h 3024283"/>
                  <a:gd name="connsiteX163" fmla="*/ 1638300 w 2577100"/>
                  <a:gd name="connsiteY163" fmla="*/ 2628996 h 3024283"/>
                  <a:gd name="connsiteX164" fmla="*/ 1666875 w 2577100"/>
                  <a:gd name="connsiteY164" fmla="*/ 2619471 h 3024283"/>
                  <a:gd name="connsiteX165" fmla="*/ 1681162 w 2577100"/>
                  <a:gd name="connsiteY165" fmla="*/ 2614708 h 3024283"/>
                  <a:gd name="connsiteX166" fmla="*/ 1695450 w 2577100"/>
                  <a:gd name="connsiteY166" fmla="*/ 2609946 h 3024283"/>
                  <a:gd name="connsiteX167" fmla="*/ 1709737 w 2577100"/>
                  <a:gd name="connsiteY167" fmla="*/ 2605183 h 3024283"/>
                  <a:gd name="connsiteX168" fmla="*/ 1724025 w 2577100"/>
                  <a:gd name="connsiteY168" fmla="*/ 2590896 h 3024283"/>
                  <a:gd name="connsiteX169" fmla="*/ 1728787 w 2577100"/>
                  <a:gd name="connsiteY169" fmla="*/ 2576608 h 3024283"/>
                  <a:gd name="connsiteX170" fmla="*/ 1757362 w 2577100"/>
                  <a:gd name="connsiteY170" fmla="*/ 2557558 h 3024283"/>
                  <a:gd name="connsiteX171" fmla="*/ 1781175 w 2577100"/>
                  <a:gd name="connsiteY171" fmla="*/ 2538508 h 3024283"/>
                  <a:gd name="connsiteX172" fmla="*/ 1809750 w 2577100"/>
                  <a:gd name="connsiteY172" fmla="*/ 2519458 h 3024283"/>
                  <a:gd name="connsiteX173" fmla="*/ 1819275 w 2577100"/>
                  <a:gd name="connsiteY173" fmla="*/ 2505171 h 3024283"/>
                  <a:gd name="connsiteX174" fmla="*/ 1824037 w 2577100"/>
                  <a:gd name="connsiteY174" fmla="*/ 2490883 h 3024283"/>
                  <a:gd name="connsiteX175" fmla="*/ 1838325 w 2577100"/>
                  <a:gd name="connsiteY175" fmla="*/ 2476596 h 3024283"/>
                  <a:gd name="connsiteX176" fmla="*/ 1843087 w 2577100"/>
                  <a:gd name="connsiteY176" fmla="*/ 2462308 h 3024283"/>
                  <a:gd name="connsiteX177" fmla="*/ 1928812 w 2577100"/>
                  <a:gd name="connsiteY177" fmla="*/ 2448021 h 3024283"/>
                  <a:gd name="connsiteX178" fmla="*/ 1947862 w 2577100"/>
                  <a:gd name="connsiteY178" fmla="*/ 2428971 h 3024283"/>
                  <a:gd name="connsiteX179" fmla="*/ 1962150 w 2577100"/>
                  <a:gd name="connsiteY179" fmla="*/ 2419446 h 3024283"/>
                  <a:gd name="connsiteX180" fmla="*/ 1981200 w 2577100"/>
                  <a:gd name="connsiteY180" fmla="*/ 2367058 h 3024283"/>
                  <a:gd name="connsiteX181" fmla="*/ 1985962 w 2577100"/>
                  <a:gd name="connsiteY181" fmla="*/ 2348008 h 3024283"/>
                  <a:gd name="connsiteX182" fmla="*/ 1990725 w 2577100"/>
                  <a:gd name="connsiteY182" fmla="*/ 2333721 h 3024283"/>
                  <a:gd name="connsiteX183" fmla="*/ 1985962 w 2577100"/>
                  <a:gd name="connsiteY183" fmla="*/ 2228946 h 3024283"/>
                  <a:gd name="connsiteX184" fmla="*/ 1971675 w 2577100"/>
                  <a:gd name="connsiteY184" fmla="*/ 2214658 h 3024283"/>
                  <a:gd name="connsiteX185" fmla="*/ 1943100 w 2577100"/>
                  <a:gd name="connsiteY185" fmla="*/ 2205133 h 3024283"/>
                  <a:gd name="connsiteX186" fmla="*/ 1928812 w 2577100"/>
                  <a:gd name="connsiteY186" fmla="*/ 2195608 h 3024283"/>
                  <a:gd name="connsiteX187" fmla="*/ 1943100 w 2577100"/>
                  <a:gd name="connsiteY187" fmla="*/ 2147983 h 3024283"/>
                  <a:gd name="connsiteX188" fmla="*/ 1952625 w 2577100"/>
                  <a:gd name="connsiteY188" fmla="*/ 2133696 h 3024283"/>
                  <a:gd name="connsiteX189" fmla="*/ 1957387 w 2577100"/>
                  <a:gd name="connsiteY189" fmla="*/ 2119408 h 3024283"/>
                  <a:gd name="connsiteX190" fmla="*/ 1962150 w 2577100"/>
                  <a:gd name="connsiteY190" fmla="*/ 2100358 h 3024283"/>
                  <a:gd name="connsiteX191" fmla="*/ 1981200 w 2577100"/>
                  <a:gd name="connsiteY191" fmla="*/ 2062258 h 3024283"/>
                  <a:gd name="connsiteX192" fmla="*/ 1995487 w 2577100"/>
                  <a:gd name="connsiteY192" fmla="*/ 2009871 h 3024283"/>
                  <a:gd name="connsiteX193" fmla="*/ 2000250 w 2577100"/>
                  <a:gd name="connsiteY193" fmla="*/ 1995583 h 3024283"/>
                  <a:gd name="connsiteX194" fmla="*/ 2019300 w 2577100"/>
                  <a:gd name="connsiteY194" fmla="*/ 1986058 h 3024283"/>
                  <a:gd name="connsiteX195" fmla="*/ 2033587 w 2577100"/>
                  <a:gd name="connsiteY195" fmla="*/ 1990821 h 3024283"/>
                  <a:gd name="connsiteX196" fmla="*/ 2052637 w 2577100"/>
                  <a:gd name="connsiteY196" fmla="*/ 1957483 h 3024283"/>
                  <a:gd name="connsiteX197" fmla="*/ 2047875 w 2577100"/>
                  <a:gd name="connsiteY197" fmla="*/ 1881283 h 3024283"/>
                  <a:gd name="connsiteX198" fmla="*/ 2052637 w 2577100"/>
                  <a:gd name="connsiteY198" fmla="*/ 1833658 h 3024283"/>
                  <a:gd name="connsiteX199" fmla="*/ 2047875 w 2577100"/>
                  <a:gd name="connsiteY199" fmla="*/ 1757458 h 3024283"/>
                  <a:gd name="connsiteX200" fmla="*/ 2028825 w 2577100"/>
                  <a:gd name="connsiteY200" fmla="*/ 1686021 h 3024283"/>
                  <a:gd name="connsiteX201" fmla="*/ 2014537 w 2577100"/>
                  <a:gd name="connsiteY201" fmla="*/ 1681258 h 3024283"/>
                  <a:gd name="connsiteX202" fmla="*/ 2019300 w 2577100"/>
                  <a:gd name="connsiteY202" fmla="*/ 1595533 h 3024283"/>
                  <a:gd name="connsiteX203" fmla="*/ 2028825 w 2577100"/>
                  <a:gd name="connsiteY203" fmla="*/ 1576483 h 3024283"/>
                  <a:gd name="connsiteX204" fmla="*/ 2038350 w 2577100"/>
                  <a:gd name="connsiteY204" fmla="*/ 1547908 h 3024283"/>
                  <a:gd name="connsiteX205" fmla="*/ 2033587 w 2577100"/>
                  <a:gd name="connsiteY205" fmla="*/ 1524096 h 3024283"/>
                  <a:gd name="connsiteX206" fmla="*/ 2019300 w 2577100"/>
                  <a:gd name="connsiteY206" fmla="*/ 1509808 h 3024283"/>
                  <a:gd name="connsiteX207" fmla="*/ 2009775 w 2577100"/>
                  <a:gd name="connsiteY207" fmla="*/ 1495521 h 3024283"/>
                  <a:gd name="connsiteX208" fmla="*/ 2033587 w 2577100"/>
                  <a:gd name="connsiteY208" fmla="*/ 1447896 h 3024283"/>
                  <a:gd name="connsiteX209" fmla="*/ 2043112 w 2577100"/>
                  <a:gd name="connsiteY209" fmla="*/ 1428846 h 3024283"/>
                  <a:gd name="connsiteX210" fmla="*/ 2071687 w 2577100"/>
                  <a:gd name="connsiteY210" fmla="*/ 1409796 h 3024283"/>
                  <a:gd name="connsiteX211" fmla="*/ 2081212 w 2577100"/>
                  <a:gd name="connsiteY211" fmla="*/ 1376458 h 3024283"/>
                  <a:gd name="connsiteX212" fmla="*/ 2085975 w 2577100"/>
                  <a:gd name="connsiteY212" fmla="*/ 1347883 h 3024283"/>
                  <a:gd name="connsiteX213" fmla="*/ 2090737 w 2577100"/>
                  <a:gd name="connsiteY213" fmla="*/ 1328833 h 3024283"/>
                  <a:gd name="connsiteX214" fmla="*/ 2119312 w 2577100"/>
                  <a:gd name="connsiteY214" fmla="*/ 1314546 h 3024283"/>
                  <a:gd name="connsiteX215" fmla="*/ 2133600 w 2577100"/>
                  <a:gd name="connsiteY215" fmla="*/ 1300258 h 3024283"/>
                  <a:gd name="connsiteX216" fmla="*/ 2147887 w 2577100"/>
                  <a:gd name="connsiteY216" fmla="*/ 1290733 h 3024283"/>
                  <a:gd name="connsiteX217" fmla="*/ 2166937 w 2577100"/>
                  <a:gd name="connsiteY217" fmla="*/ 1262158 h 3024283"/>
                  <a:gd name="connsiteX218" fmla="*/ 2176462 w 2577100"/>
                  <a:gd name="connsiteY218" fmla="*/ 1247871 h 3024283"/>
                  <a:gd name="connsiteX219" fmla="*/ 2185987 w 2577100"/>
                  <a:gd name="connsiteY219" fmla="*/ 1233583 h 3024283"/>
                  <a:gd name="connsiteX220" fmla="*/ 2219325 w 2577100"/>
                  <a:gd name="connsiteY220" fmla="*/ 1200246 h 3024283"/>
                  <a:gd name="connsiteX221" fmla="*/ 2224087 w 2577100"/>
                  <a:gd name="connsiteY221" fmla="*/ 1185958 h 3024283"/>
                  <a:gd name="connsiteX222" fmla="*/ 2252662 w 2577100"/>
                  <a:gd name="connsiteY222" fmla="*/ 1176433 h 3024283"/>
                  <a:gd name="connsiteX223" fmla="*/ 2286000 w 2577100"/>
                  <a:gd name="connsiteY223" fmla="*/ 1185958 h 3024283"/>
                  <a:gd name="connsiteX224" fmla="*/ 2300287 w 2577100"/>
                  <a:gd name="connsiteY224" fmla="*/ 1200246 h 3024283"/>
                  <a:gd name="connsiteX225" fmla="*/ 2305050 w 2577100"/>
                  <a:gd name="connsiteY225" fmla="*/ 1214533 h 3024283"/>
                  <a:gd name="connsiteX226" fmla="*/ 2343150 w 2577100"/>
                  <a:gd name="connsiteY226" fmla="*/ 1224058 h 3024283"/>
                  <a:gd name="connsiteX227" fmla="*/ 2357437 w 2577100"/>
                  <a:gd name="connsiteY227" fmla="*/ 1219296 h 3024283"/>
                  <a:gd name="connsiteX228" fmla="*/ 2371725 w 2577100"/>
                  <a:gd name="connsiteY228" fmla="*/ 1190721 h 3024283"/>
                  <a:gd name="connsiteX229" fmla="*/ 2386012 w 2577100"/>
                  <a:gd name="connsiteY229" fmla="*/ 1181196 h 3024283"/>
                  <a:gd name="connsiteX230" fmla="*/ 2400300 w 2577100"/>
                  <a:gd name="connsiteY230" fmla="*/ 1166908 h 3024283"/>
                  <a:gd name="connsiteX231" fmla="*/ 2428875 w 2577100"/>
                  <a:gd name="connsiteY231" fmla="*/ 1152621 h 3024283"/>
                  <a:gd name="connsiteX232" fmla="*/ 2471737 w 2577100"/>
                  <a:gd name="connsiteY232" fmla="*/ 1128808 h 3024283"/>
                  <a:gd name="connsiteX233" fmla="*/ 2486025 w 2577100"/>
                  <a:gd name="connsiteY233" fmla="*/ 1119283 h 3024283"/>
                  <a:gd name="connsiteX234" fmla="*/ 2519362 w 2577100"/>
                  <a:gd name="connsiteY234" fmla="*/ 1109758 h 3024283"/>
                  <a:gd name="connsiteX235" fmla="*/ 2552700 w 2577100"/>
                  <a:gd name="connsiteY235" fmla="*/ 1095471 h 3024283"/>
                  <a:gd name="connsiteX236" fmla="*/ 2566987 w 2577100"/>
                  <a:gd name="connsiteY236" fmla="*/ 1085946 h 3024283"/>
                  <a:gd name="connsiteX237" fmla="*/ 2562225 w 2577100"/>
                  <a:gd name="connsiteY237" fmla="*/ 1062133 h 3024283"/>
                  <a:gd name="connsiteX238" fmla="*/ 2547937 w 2577100"/>
                  <a:gd name="connsiteY238" fmla="*/ 1057371 h 3024283"/>
                  <a:gd name="connsiteX239" fmla="*/ 2543175 w 2577100"/>
                  <a:gd name="connsiteY239" fmla="*/ 1043083 h 3024283"/>
                  <a:gd name="connsiteX240" fmla="*/ 2547937 w 2577100"/>
                  <a:gd name="connsiteY240" fmla="*/ 1028796 h 3024283"/>
                  <a:gd name="connsiteX241" fmla="*/ 2557462 w 2577100"/>
                  <a:gd name="connsiteY241" fmla="*/ 1009746 h 3024283"/>
                  <a:gd name="connsiteX242" fmla="*/ 2566987 w 2577100"/>
                  <a:gd name="connsiteY242" fmla="*/ 962121 h 3024283"/>
                  <a:gd name="connsiteX243" fmla="*/ 2571750 w 2577100"/>
                  <a:gd name="connsiteY243" fmla="*/ 947833 h 3024283"/>
                  <a:gd name="connsiteX244" fmla="*/ 2571750 w 2577100"/>
                  <a:gd name="connsiteY244" fmla="*/ 866871 h 3024283"/>
                  <a:gd name="connsiteX245" fmla="*/ 2562225 w 2577100"/>
                  <a:gd name="connsiteY245" fmla="*/ 828771 h 3024283"/>
                  <a:gd name="connsiteX246" fmla="*/ 2557462 w 2577100"/>
                  <a:gd name="connsiteY246" fmla="*/ 814483 h 3024283"/>
                  <a:gd name="connsiteX247" fmla="*/ 2543175 w 2577100"/>
                  <a:gd name="connsiteY247" fmla="*/ 800196 h 3024283"/>
                  <a:gd name="connsiteX248" fmla="*/ 2538412 w 2577100"/>
                  <a:gd name="connsiteY248" fmla="*/ 785908 h 3024283"/>
                  <a:gd name="connsiteX249" fmla="*/ 2524125 w 2577100"/>
                  <a:gd name="connsiteY249" fmla="*/ 781146 h 3024283"/>
                  <a:gd name="connsiteX250" fmla="*/ 2509837 w 2577100"/>
                  <a:gd name="connsiteY250" fmla="*/ 766858 h 3024283"/>
                  <a:gd name="connsiteX251" fmla="*/ 2495550 w 2577100"/>
                  <a:gd name="connsiteY251" fmla="*/ 733521 h 3024283"/>
                  <a:gd name="connsiteX252" fmla="*/ 2466975 w 2577100"/>
                  <a:gd name="connsiteY252" fmla="*/ 723996 h 3024283"/>
                  <a:gd name="connsiteX253" fmla="*/ 2433637 w 2577100"/>
                  <a:gd name="connsiteY253" fmla="*/ 704946 h 3024283"/>
                  <a:gd name="connsiteX254" fmla="*/ 2424112 w 2577100"/>
                  <a:gd name="connsiteY254" fmla="*/ 690658 h 3024283"/>
                  <a:gd name="connsiteX255" fmla="*/ 2419350 w 2577100"/>
                  <a:gd name="connsiteY255" fmla="*/ 671608 h 3024283"/>
                  <a:gd name="connsiteX256" fmla="*/ 2414587 w 2577100"/>
                  <a:gd name="connsiteY256" fmla="*/ 657321 h 3024283"/>
                  <a:gd name="connsiteX257" fmla="*/ 2409825 w 2577100"/>
                  <a:gd name="connsiteY257" fmla="*/ 638271 h 3024283"/>
                  <a:gd name="connsiteX258" fmla="*/ 2390775 w 2577100"/>
                  <a:gd name="connsiteY258" fmla="*/ 609696 h 3024283"/>
                  <a:gd name="connsiteX259" fmla="*/ 2347912 w 2577100"/>
                  <a:gd name="connsiteY259" fmla="*/ 604933 h 3024283"/>
                  <a:gd name="connsiteX260" fmla="*/ 2343150 w 2577100"/>
                  <a:gd name="connsiteY260" fmla="*/ 547783 h 3024283"/>
                  <a:gd name="connsiteX261" fmla="*/ 2324100 w 2577100"/>
                  <a:gd name="connsiteY261" fmla="*/ 519208 h 3024283"/>
                  <a:gd name="connsiteX262" fmla="*/ 2319337 w 2577100"/>
                  <a:gd name="connsiteY262" fmla="*/ 504921 h 3024283"/>
                  <a:gd name="connsiteX263" fmla="*/ 2309812 w 2577100"/>
                  <a:gd name="connsiteY263" fmla="*/ 481108 h 3024283"/>
                  <a:gd name="connsiteX264" fmla="*/ 2300287 w 2577100"/>
                  <a:gd name="connsiteY264" fmla="*/ 452533 h 3024283"/>
                  <a:gd name="connsiteX265" fmla="*/ 2271712 w 2577100"/>
                  <a:gd name="connsiteY265" fmla="*/ 423958 h 3024283"/>
                  <a:gd name="connsiteX266" fmla="*/ 2243137 w 2577100"/>
                  <a:gd name="connsiteY266" fmla="*/ 400146 h 3024283"/>
                  <a:gd name="connsiteX267" fmla="*/ 2252662 w 2577100"/>
                  <a:gd name="connsiteY267" fmla="*/ 371571 h 3024283"/>
                  <a:gd name="connsiteX268" fmla="*/ 2247900 w 2577100"/>
                  <a:gd name="connsiteY268" fmla="*/ 333471 h 3024283"/>
                  <a:gd name="connsiteX269" fmla="*/ 2190750 w 2577100"/>
                  <a:gd name="connsiteY269" fmla="*/ 347758 h 3024283"/>
                  <a:gd name="connsiteX270" fmla="*/ 2176462 w 2577100"/>
                  <a:gd name="connsiteY270" fmla="*/ 362046 h 3024283"/>
                  <a:gd name="connsiteX271" fmla="*/ 2138362 w 2577100"/>
                  <a:gd name="connsiteY271" fmla="*/ 371571 h 3024283"/>
                  <a:gd name="connsiteX272" fmla="*/ 2124075 w 2577100"/>
                  <a:gd name="connsiteY272" fmla="*/ 381096 h 3024283"/>
                  <a:gd name="connsiteX273" fmla="*/ 2085975 w 2577100"/>
                  <a:gd name="connsiteY273" fmla="*/ 390621 h 3024283"/>
                  <a:gd name="connsiteX274" fmla="*/ 2014537 w 2577100"/>
                  <a:gd name="connsiteY274" fmla="*/ 385858 h 3024283"/>
                  <a:gd name="connsiteX275" fmla="*/ 2000250 w 2577100"/>
                  <a:gd name="connsiteY275" fmla="*/ 366808 h 3024283"/>
                  <a:gd name="connsiteX276" fmla="*/ 2005012 w 2577100"/>
                  <a:gd name="connsiteY276" fmla="*/ 352521 h 3024283"/>
                  <a:gd name="connsiteX277" fmla="*/ 2014537 w 2577100"/>
                  <a:gd name="connsiteY277" fmla="*/ 309658 h 3024283"/>
                  <a:gd name="connsiteX278" fmla="*/ 2009775 w 2577100"/>
                  <a:gd name="connsiteY278" fmla="*/ 271558 h 3024283"/>
                  <a:gd name="connsiteX279" fmla="*/ 1995487 w 2577100"/>
                  <a:gd name="connsiteY279" fmla="*/ 257271 h 3024283"/>
                  <a:gd name="connsiteX280" fmla="*/ 1981200 w 2577100"/>
                  <a:gd name="connsiteY280" fmla="*/ 209646 h 3024283"/>
                  <a:gd name="connsiteX281" fmla="*/ 1966912 w 2577100"/>
                  <a:gd name="connsiteY281" fmla="*/ 166783 h 3024283"/>
                  <a:gd name="connsiteX282" fmla="*/ 1957387 w 2577100"/>
                  <a:gd name="connsiteY282" fmla="*/ 152496 h 3024283"/>
                  <a:gd name="connsiteX283" fmla="*/ 1943100 w 2577100"/>
                  <a:gd name="connsiteY283" fmla="*/ 133446 h 3024283"/>
                  <a:gd name="connsiteX284" fmla="*/ 1933575 w 2577100"/>
                  <a:gd name="connsiteY284" fmla="*/ 119158 h 3024283"/>
                  <a:gd name="connsiteX285" fmla="*/ 1919287 w 2577100"/>
                  <a:gd name="connsiteY285" fmla="*/ 104871 h 3024283"/>
                  <a:gd name="connsiteX286" fmla="*/ 1895475 w 2577100"/>
                  <a:gd name="connsiteY286" fmla="*/ 62008 h 3024283"/>
                  <a:gd name="connsiteX287" fmla="*/ 1890712 w 2577100"/>
                  <a:gd name="connsiteY287" fmla="*/ 47721 h 3024283"/>
                  <a:gd name="connsiteX288" fmla="*/ 1866900 w 2577100"/>
                  <a:gd name="connsiteY288" fmla="*/ 19146 h 3024283"/>
                  <a:gd name="connsiteX289" fmla="*/ 1866900 w 2577100"/>
                  <a:gd name="connsiteY289" fmla="*/ 96 h 302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</a:cxnLst>
                <a:rect l="l" t="t" r="r" b="b"/>
                <a:pathLst>
                  <a:path w="2577100" h="3024283">
                    <a:moveTo>
                      <a:pt x="1866900" y="96"/>
                    </a:moveTo>
                    <a:cubicBezTo>
                      <a:pt x="1861344" y="1683"/>
                      <a:pt x="1838541" y="12489"/>
                      <a:pt x="1833562" y="28671"/>
                    </a:cubicBezTo>
                    <a:cubicBezTo>
                      <a:pt x="1833558" y="28683"/>
                      <a:pt x="1821658" y="88195"/>
                      <a:pt x="1819275" y="100108"/>
                    </a:cubicBezTo>
                    <a:cubicBezTo>
                      <a:pt x="1817687" y="108046"/>
                      <a:pt x="1819002" y="117186"/>
                      <a:pt x="1814512" y="123921"/>
                    </a:cubicBezTo>
                    <a:lnTo>
                      <a:pt x="1804987" y="138208"/>
                    </a:lnTo>
                    <a:cubicBezTo>
                      <a:pt x="1788019" y="189111"/>
                      <a:pt x="1806125" y="148991"/>
                      <a:pt x="1781175" y="181071"/>
                    </a:cubicBezTo>
                    <a:cubicBezTo>
                      <a:pt x="1774147" y="190107"/>
                      <a:pt x="1768475" y="200121"/>
                      <a:pt x="1762125" y="209646"/>
                    </a:cubicBezTo>
                    <a:cubicBezTo>
                      <a:pt x="1758950" y="214408"/>
                      <a:pt x="1754410" y="218503"/>
                      <a:pt x="1752600" y="223933"/>
                    </a:cubicBezTo>
                    <a:cubicBezTo>
                      <a:pt x="1751012" y="228696"/>
                      <a:pt x="1750622" y="234044"/>
                      <a:pt x="1747837" y="238221"/>
                    </a:cubicBezTo>
                    <a:cubicBezTo>
                      <a:pt x="1744101" y="243825"/>
                      <a:pt x="1737862" y="247334"/>
                      <a:pt x="1733550" y="252508"/>
                    </a:cubicBezTo>
                    <a:cubicBezTo>
                      <a:pt x="1729886" y="256905"/>
                      <a:pt x="1727689" y="262399"/>
                      <a:pt x="1724025" y="266796"/>
                    </a:cubicBezTo>
                    <a:cubicBezTo>
                      <a:pt x="1719713" y="271970"/>
                      <a:pt x="1713872" y="275767"/>
                      <a:pt x="1709737" y="281083"/>
                    </a:cubicBezTo>
                    <a:cubicBezTo>
                      <a:pt x="1698966" y="294931"/>
                      <a:pt x="1688230" y="312216"/>
                      <a:pt x="1681162" y="328708"/>
                    </a:cubicBezTo>
                    <a:cubicBezTo>
                      <a:pt x="1668793" y="357570"/>
                      <a:pt x="1686615" y="327329"/>
                      <a:pt x="1666875" y="366808"/>
                    </a:cubicBezTo>
                    <a:cubicBezTo>
                      <a:pt x="1658005" y="384549"/>
                      <a:pt x="1656231" y="379580"/>
                      <a:pt x="1643062" y="395383"/>
                    </a:cubicBezTo>
                    <a:cubicBezTo>
                      <a:pt x="1639398" y="399780"/>
                      <a:pt x="1637201" y="405274"/>
                      <a:pt x="1633537" y="409671"/>
                    </a:cubicBezTo>
                    <a:cubicBezTo>
                      <a:pt x="1629225" y="414845"/>
                      <a:pt x="1623633" y="418844"/>
                      <a:pt x="1619250" y="423958"/>
                    </a:cubicBezTo>
                    <a:cubicBezTo>
                      <a:pt x="1614084" y="429985"/>
                      <a:pt x="1610575" y="437395"/>
                      <a:pt x="1604962" y="443008"/>
                    </a:cubicBezTo>
                    <a:cubicBezTo>
                      <a:pt x="1600710" y="447260"/>
                      <a:pt x="1576020" y="461399"/>
                      <a:pt x="1571625" y="462058"/>
                    </a:cubicBezTo>
                    <a:cubicBezTo>
                      <a:pt x="1546457" y="465833"/>
                      <a:pt x="1520825" y="465233"/>
                      <a:pt x="1495425" y="466821"/>
                    </a:cubicBezTo>
                    <a:cubicBezTo>
                      <a:pt x="1472756" y="481933"/>
                      <a:pt x="1475758" y="439384"/>
                      <a:pt x="1447799" y="447771"/>
                    </a:cubicBezTo>
                    <a:cubicBezTo>
                      <a:pt x="1389800" y="465170"/>
                      <a:pt x="1458386" y="484414"/>
                      <a:pt x="1414462" y="495396"/>
                    </a:cubicBezTo>
                    <a:cubicBezTo>
                      <a:pt x="1412875" y="500158"/>
                      <a:pt x="1397794" y="500158"/>
                      <a:pt x="1390650" y="500158"/>
                    </a:cubicBezTo>
                    <a:cubicBezTo>
                      <a:pt x="1383506" y="500158"/>
                      <a:pt x="1374775" y="492221"/>
                      <a:pt x="1371600" y="495396"/>
                    </a:cubicBezTo>
                    <a:cubicBezTo>
                      <a:pt x="1368425" y="498571"/>
                      <a:pt x="1379537" y="517621"/>
                      <a:pt x="1371600" y="519208"/>
                    </a:cubicBezTo>
                    <a:cubicBezTo>
                      <a:pt x="1366837" y="522383"/>
                      <a:pt x="1362671" y="526723"/>
                      <a:pt x="1357312" y="528733"/>
                    </a:cubicBezTo>
                    <a:cubicBezTo>
                      <a:pt x="1349733" y="531575"/>
                      <a:pt x="1341402" y="531740"/>
                      <a:pt x="1333500" y="533496"/>
                    </a:cubicBezTo>
                    <a:cubicBezTo>
                      <a:pt x="1328002" y="534718"/>
                      <a:pt x="1306529" y="539837"/>
                      <a:pt x="1300162" y="543021"/>
                    </a:cubicBezTo>
                    <a:cubicBezTo>
                      <a:pt x="1283324" y="551440"/>
                      <a:pt x="1286330" y="554196"/>
                      <a:pt x="1271587" y="566833"/>
                    </a:cubicBezTo>
                    <a:cubicBezTo>
                      <a:pt x="1261247" y="575696"/>
                      <a:pt x="1249559" y="583106"/>
                      <a:pt x="1238250" y="590646"/>
                    </a:cubicBezTo>
                    <a:cubicBezTo>
                      <a:pt x="1222375" y="614458"/>
                      <a:pt x="1233487" y="601758"/>
                      <a:pt x="1200150" y="623983"/>
                    </a:cubicBezTo>
                    <a:cubicBezTo>
                      <a:pt x="1191796" y="629552"/>
                      <a:pt x="1212056" y="634302"/>
                      <a:pt x="1171575" y="633508"/>
                    </a:cubicBezTo>
                    <a:cubicBezTo>
                      <a:pt x="1131094" y="632714"/>
                      <a:pt x="1197882" y="610141"/>
                      <a:pt x="957262" y="619221"/>
                    </a:cubicBezTo>
                    <a:cubicBezTo>
                      <a:pt x="949173" y="619526"/>
                      <a:pt x="912812" y="650971"/>
                      <a:pt x="904875" y="652558"/>
                    </a:cubicBezTo>
                    <a:cubicBezTo>
                      <a:pt x="898525" y="657321"/>
                      <a:pt x="892556" y="662639"/>
                      <a:pt x="885825" y="666846"/>
                    </a:cubicBezTo>
                    <a:cubicBezTo>
                      <a:pt x="872372" y="675254"/>
                      <a:pt x="866377" y="676504"/>
                      <a:pt x="852487" y="681133"/>
                    </a:cubicBezTo>
                    <a:cubicBezTo>
                      <a:pt x="847725" y="684308"/>
                      <a:pt x="843319" y="688098"/>
                      <a:pt x="838200" y="690658"/>
                    </a:cubicBezTo>
                    <a:cubicBezTo>
                      <a:pt x="827311" y="696103"/>
                      <a:pt x="810974" y="697465"/>
                      <a:pt x="800100" y="700183"/>
                    </a:cubicBezTo>
                    <a:cubicBezTo>
                      <a:pt x="795230" y="701401"/>
                      <a:pt x="790682" y="703728"/>
                      <a:pt x="785812" y="704946"/>
                    </a:cubicBezTo>
                    <a:cubicBezTo>
                      <a:pt x="777959" y="706909"/>
                      <a:pt x="769902" y="707952"/>
                      <a:pt x="762000" y="709708"/>
                    </a:cubicBezTo>
                    <a:cubicBezTo>
                      <a:pt x="755610" y="711128"/>
                      <a:pt x="749300" y="712883"/>
                      <a:pt x="742950" y="714471"/>
                    </a:cubicBezTo>
                    <a:cubicBezTo>
                      <a:pt x="683397" y="699581"/>
                      <a:pt x="757439" y="718611"/>
                      <a:pt x="709612" y="704946"/>
                    </a:cubicBezTo>
                    <a:cubicBezTo>
                      <a:pt x="697537" y="701496"/>
                      <a:pt x="687687" y="700312"/>
                      <a:pt x="676275" y="695421"/>
                    </a:cubicBezTo>
                    <a:cubicBezTo>
                      <a:pt x="669749" y="692624"/>
                      <a:pt x="663575" y="689071"/>
                      <a:pt x="657225" y="685896"/>
                    </a:cubicBezTo>
                    <a:cubicBezTo>
                      <a:pt x="589727" y="693395"/>
                      <a:pt x="636563" y="686254"/>
                      <a:pt x="595312" y="695421"/>
                    </a:cubicBezTo>
                    <a:cubicBezTo>
                      <a:pt x="587410" y="697177"/>
                      <a:pt x="579309" y="698053"/>
                      <a:pt x="571500" y="700183"/>
                    </a:cubicBezTo>
                    <a:cubicBezTo>
                      <a:pt x="561814" y="702825"/>
                      <a:pt x="542925" y="709708"/>
                      <a:pt x="542925" y="709708"/>
                    </a:cubicBezTo>
                    <a:cubicBezTo>
                      <a:pt x="536996" y="718602"/>
                      <a:pt x="528821" y="732889"/>
                      <a:pt x="519112" y="738283"/>
                    </a:cubicBezTo>
                    <a:cubicBezTo>
                      <a:pt x="510335" y="743159"/>
                      <a:pt x="500062" y="744633"/>
                      <a:pt x="490537" y="747808"/>
                    </a:cubicBezTo>
                    <a:lnTo>
                      <a:pt x="476250" y="752571"/>
                    </a:lnTo>
                    <a:cubicBezTo>
                      <a:pt x="428625" y="750983"/>
                      <a:pt x="380862" y="751765"/>
                      <a:pt x="333375" y="747808"/>
                    </a:cubicBezTo>
                    <a:cubicBezTo>
                      <a:pt x="326244" y="747214"/>
                      <a:pt x="301221" y="736198"/>
                      <a:pt x="290512" y="733521"/>
                    </a:cubicBezTo>
                    <a:cubicBezTo>
                      <a:pt x="277812" y="730346"/>
                      <a:pt x="264567" y="728858"/>
                      <a:pt x="252412" y="723996"/>
                    </a:cubicBezTo>
                    <a:cubicBezTo>
                      <a:pt x="239838" y="718966"/>
                      <a:pt x="227373" y="713440"/>
                      <a:pt x="214312" y="709708"/>
                    </a:cubicBezTo>
                    <a:cubicBezTo>
                      <a:pt x="194426" y="704026"/>
                      <a:pt x="189131" y="703924"/>
                      <a:pt x="166687" y="700183"/>
                    </a:cubicBezTo>
                    <a:cubicBezTo>
                      <a:pt x="125463" y="702244"/>
                      <a:pt x="83454" y="700687"/>
                      <a:pt x="42862" y="709708"/>
                    </a:cubicBezTo>
                    <a:cubicBezTo>
                      <a:pt x="37962" y="710797"/>
                      <a:pt x="33065" y="712226"/>
                      <a:pt x="28575" y="714471"/>
                    </a:cubicBezTo>
                    <a:cubicBezTo>
                      <a:pt x="23455" y="717031"/>
                      <a:pt x="19050" y="720821"/>
                      <a:pt x="14287" y="723996"/>
                    </a:cubicBezTo>
                    <a:lnTo>
                      <a:pt x="4762" y="752571"/>
                    </a:lnTo>
                    <a:lnTo>
                      <a:pt x="0" y="766858"/>
                    </a:lnTo>
                    <a:cubicBezTo>
                      <a:pt x="1293" y="774616"/>
                      <a:pt x="3941" y="799670"/>
                      <a:pt x="9525" y="809721"/>
                    </a:cubicBezTo>
                    <a:cubicBezTo>
                      <a:pt x="15084" y="819728"/>
                      <a:pt x="19417" y="831428"/>
                      <a:pt x="28575" y="838296"/>
                    </a:cubicBezTo>
                    <a:lnTo>
                      <a:pt x="47625" y="852583"/>
                    </a:lnTo>
                    <a:cubicBezTo>
                      <a:pt x="54336" y="886144"/>
                      <a:pt x="53037" y="876072"/>
                      <a:pt x="57150" y="919258"/>
                    </a:cubicBezTo>
                    <a:cubicBezTo>
                      <a:pt x="63447" y="985373"/>
                      <a:pt x="53012" y="958608"/>
                      <a:pt x="71437" y="995458"/>
                    </a:cubicBezTo>
                    <a:cubicBezTo>
                      <a:pt x="75934" y="1053916"/>
                      <a:pt x="79539" y="1046859"/>
                      <a:pt x="71437" y="1095471"/>
                    </a:cubicBezTo>
                    <a:cubicBezTo>
                      <a:pt x="69251" y="1108589"/>
                      <a:pt x="66840" y="1119118"/>
                      <a:pt x="57150" y="1128808"/>
                    </a:cubicBezTo>
                    <a:cubicBezTo>
                      <a:pt x="51240" y="1134718"/>
                      <a:pt x="31927" y="1147211"/>
                      <a:pt x="23812" y="1152621"/>
                    </a:cubicBezTo>
                    <a:cubicBezTo>
                      <a:pt x="18724" y="1160253"/>
                      <a:pt x="6449" y="1175193"/>
                      <a:pt x="9525" y="1185958"/>
                    </a:cubicBezTo>
                    <a:cubicBezTo>
                      <a:pt x="11375" y="1192434"/>
                      <a:pt x="19500" y="1195072"/>
                      <a:pt x="23812" y="1200246"/>
                    </a:cubicBezTo>
                    <a:cubicBezTo>
                      <a:pt x="40382" y="1220130"/>
                      <a:pt x="24171" y="1211477"/>
                      <a:pt x="47625" y="1219296"/>
                    </a:cubicBezTo>
                    <a:cubicBezTo>
                      <a:pt x="50800" y="1228821"/>
                      <a:pt x="58801" y="1237967"/>
                      <a:pt x="57150" y="1247871"/>
                    </a:cubicBezTo>
                    <a:cubicBezTo>
                      <a:pt x="46800" y="1309973"/>
                      <a:pt x="53733" y="1286700"/>
                      <a:pt x="42862" y="1319308"/>
                    </a:cubicBezTo>
                    <a:cubicBezTo>
                      <a:pt x="44450" y="1374871"/>
                      <a:pt x="44703" y="1430487"/>
                      <a:pt x="47625" y="1485996"/>
                    </a:cubicBezTo>
                    <a:cubicBezTo>
                      <a:pt x="47889" y="1491009"/>
                      <a:pt x="51298" y="1495383"/>
                      <a:pt x="52387" y="1500283"/>
                    </a:cubicBezTo>
                    <a:cubicBezTo>
                      <a:pt x="61874" y="1542975"/>
                      <a:pt x="50216" y="1514991"/>
                      <a:pt x="66675" y="1547908"/>
                    </a:cubicBezTo>
                    <a:cubicBezTo>
                      <a:pt x="68262" y="1554258"/>
                      <a:pt x="68510" y="1561104"/>
                      <a:pt x="71437" y="1566958"/>
                    </a:cubicBezTo>
                    <a:cubicBezTo>
                      <a:pt x="80963" y="1586010"/>
                      <a:pt x="87312" y="1596326"/>
                      <a:pt x="104775" y="1605058"/>
                    </a:cubicBezTo>
                    <a:cubicBezTo>
                      <a:pt x="109265" y="1607303"/>
                      <a:pt x="114674" y="1607383"/>
                      <a:pt x="119062" y="1609821"/>
                    </a:cubicBezTo>
                    <a:cubicBezTo>
                      <a:pt x="129069" y="1615381"/>
                      <a:pt x="147637" y="1628871"/>
                      <a:pt x="147637" y="1628871"/>
                    </a:cubicBezTo>
                    <a:cubicBezTo>
                      <a:pt x="172256" y="1665800"/>
                      <a:pt x="163067" y="1646586"/>
                      <a:pt x="176212" y="1686021"/>
                    </a:cubicBezTo>
                    <a:cubicBezTo>
                      <a:pt x="178342" y="1692411"/>
                      <a:pt x="186188" y="1695134"/>
                      <a:pt x="190500" y="1700308"/>
                    </a:cubicBezTo>
                    <a:cubicBezTo>
                      <a:pt x="194164" y="1704705"/>
                      <a:pt x="196850" y="1709833"/>
                      <a:pt x="200025" y="1714596"/>
                    </a:cubicBezTo>
                    <a:cubicBezTo>
                      <a:pt x="201612" y="1720946"/>
                      <a:pt x="202906" y="1727377"/>
                      <a:pt x="204787" y="1733646"/>
                    </a:cubicBezTo>
                    <a:cubicBezTo>
                      <a:pt x="207672" y="1743263"/>
                      <a:pt x="214312" y="1762221"/>
                      <a:pt x="214312" y="1762221"/>
                    </a:cubicBezTo>
                    <a:cubicBezTo>
                      <a:pt x="215900" y="1793971"/>
                      <a:pt x="215132" y="1825927"/>
                      <a:pt x="219075" y="1857471"/>
                    </a:cubicBezTo>
                    <a:cubicBezTo>
                      <a:pt x="219956" y="1864516"/>
                      <a:pt x="226732" y="1869672"/>
                      <a:pt x="228600" y="1876521"/>
                    </a:cubicBezTo>
                    <a:cubicBezTo>
                      <a:pt x="231553" y="1887351"/>
                      <a:pt x="229193" y="1899436"/>
                      <a:pt x="233362" y="1909858"/>
                    </a:cubicBezTo>
                    <a:cubicBezTo>
                      <a:pt x="235863" y="1916112"/>
                      <a:pt x="243735" y="1918665"/>
                      <a:pt x="247650" y="1924146"/>
                    </a:cubicBezTo>
                    <a:cubicBezTo>
                      <a:pt x="251777" y="1929923"/>
                      <a:pt x="253522" y="1937108"/>
                      <a:pt x="257175" y="1943196"/>
                    </a:cubicBezTo>
                    <a:cubicBezTo>
                      <a:pt x="274264" y="1971678"/>
                      <a:pt x="271482" y="1967028"/>
                      <a:pt x="290512" y="1986058"/>
                    </a:cubicBezTo>
                    <a:cubicBezTo>
                      <a:pt x="298883" y="2011168"/>
                      <a:pt x="289743" y="1990849"/>
                      <a:pt x="309562" y="2014633"/>
                    </a:cubicBezTo>
                    <a:cubicBezTo>
                      <a:pt x="347028" y="2059593"/>
                      <a:pt x="295214" y="2000254"/>
                      <a:pt x="323850" y="2043208"/>
                    </a:cubicBezTo>
                    <a:cubicBezTo>
                      <a:pt x="327586" y="2048812"/>
                      <a:pt x="334002" y="2052180"/>
                      <a:pt x="338137" y="2057496"/>
                    </a:cubicBezTo>
                    <a:cubicBezTo>
                      <a:pt x="357242" y="2082060"/>
                      <a:pt x="354763" y="2078801"/>
                      <a:pt x="361950" y="2100358"/>
                    </a:cubicBezTo>
                    <a:cubicBezTo>
                      <a:pt x="356785" y="2115851"/>
                      <a:pt x="359758" y="2116678"/>
                      <a:pt x="342900" y="2124171"/>
                    </a:cubicBezTo>
                    <a:cubicBezTo>
                      <a:pt x="333725" y="2128249"/>
                      <a:pt x="314325" y="2133696"/>
                      <a:pt x="314325" y="2133696"/>
                    </a:cubicBezTo>
                    <a:cubicBezTo>
                      <a:pt x="307780" y="2143513"/>
                      <a:pt x="301554" y="2150137"/>
                      <a:pt x="300037" y="2162271"/>
                    </a:cubicBezTo>
                    <a:cubicBezTo>
                      <a:pt x="291289" y="2232255"/>
                      <a:pt x="313478" y="2212048"/>
                      <a:pt x="280987" y="2233708"/>
                    </a:cubicBezTo>
                    <a:cubicBezTo>
                      <a:pt x="228526" y="2312399"/>
                      <a:pt x="297306" y="2199548"/>
                      <a:pt x="257175" y="2309908"/>
                    </a:cubicBezTo>
                    <a:cubicBezTo>
                      <a:pt x="255459" y="2314626"/>
                      <a:pt x="247377" y="2312426"/>
                      <a:pt x="242887" y="2314671"/>
                    </a:cubicBezTo>
                    <a:cubicBezTo>
                      <a:pt x="237768" y="2317231"/>
                      <a:pt x="233362" y="2321021"/>
                      <a:pt x="228600" y="2324196"/>
                    </a:cubicBezTo>
                    <a:cubicBezTo>
                      <a:pt x="226009" y="2370823"/>
                      <a:pt x="228708" y="2395202"/>
                      <a:pt x="219075" y="2433733"/>
                    </a:cubicBezTo>
                    <a:cubicBezTo>
                      <a:pt x="217857" y="2438603"/>
                      <a:pt x="215900" y="2443258"/>
                      <a:pt x="214312" y="2448021"/>
                    </a:cubicBezTo>
                    <a:cubicBezTo>
                      <a:pt x="215900" y="2460721"/>
                      <a:pt x="216971" y="2473496"/>
                      <a:pt x="219075" y="2486121"/>
                    </a:cubicBezTo>
                    <a:cubicBezTo>
                      <a:pt x="220151" y="2492577"/>
                      <a:pt x="220084" y="2499809"/>
                      <a:pt x="223837" y="2505171"/>
                    </a:cubicBezTo>
                    <a:cubicBezTo>
                      <a:pt x="231562" y="2516206"/>
                      <a:pt x="244940" y="2522538"/>
                      <a:pt x="252412" y="2533746"/>
                    </a:cubicBezTo>
                    <a:lnTo>
                      <a:pt x="280987" y="2576608"/>
                    </a:lnTo>
                    <a:cubicBezTo>
                      <a:pt x="285390" y="2583212"/>
                      <a:pt x="290661" y="2589199"/>
                      <a:pt x="295275" y="2595658"/>
                    </a:cubicBezTo>
                    <a:cubicBezTo>
                      <a:pt x="298602" y="2600316"/>
                      <a:pt x="301625" y="2605183"/>
                      <a:pt x="304800" y="2609946"/>
                    </a:cubicBezTo>
                    <a:cubicBezTo>
                      <a:pt x="306387" y="2614708"/>
                      <a:pt x="307071" y="2619875"/>
                      <a:pt x="309562" y="2624233"/>
                    </a:cubicBezTo>
                    <a:cubicBezTo>
                      <a:pt x="317707" y="2638486"/>
                      <a:pt x="326879" y="2646313"/>
                      <a:pt x="338137" y="2657571"/>
                    </a:cubicBezTo>
                    <a:cubicBezTo>
                      <a:pt x="347246" y="2684895"/>
                      <a:pt x="336377" y="2659390"/>
                      <a:pt x="357187" y="2686146"/>
                    </a:cubicBezTo>
                    <a:cubicBezTo>
                      <a:pt x="364215" y="2695182"/>
                      <a:pt x="371117" y="2704482"/>
                      <a:pt x="376237" y="2714721"/>
                    </a:cubicBezTo>
                    <a:cubicBezTo>
                      <a:pt x="379412" y="2721071"/>
                      <a:pt x="381635" y="2727994"/>
                      <a:pt x="385762" y="2733771"/>
                    </a:cubicBezTo>
                    <a:cubicBezTo>
                      <a:pt x="389677" y="2739252"/>
                      <a:pt x="395287" y="2743296"/>
                      <a:pt x="400050" y="2748058"/>
                    </a:cubicBezTo>
                    <a:cubicBezTo>
                      <a:pt x="411470" y="2782322"/>
                      <a:pt x="397612" y="2739527"/>
                      <a:pt x="409575" y="2781396"/>
                    </a:cubicBezTo>
                    <a:cubicBezTo>
                      <a:pt x="410954" y="2786223"/>
                      <a:pt x="412750" y="2790921"/>
                      <a:pt x="414337" y="2795683"/>
                    </a:cubicBezTo>
                    <a:cubicBezTo>
                      <a:pt x="405230" y="2823009"/>
                      <a:pt x="416098" y="2797502"/>
                      <a:pt x="395287" y="2824258"/>
                    </a:cubicBezTo>
                    <a:cubicBezTo>
                      <a:pt x="388259" y="2833294"/>
                      <a:pt x="382587" y="2843308"/>
                      <a:pt x="376237" y="2852833"/>
                    </a:cubicBezTo>
                    <a:cubicBezTo>
                      <a:pt x="373062" y="2857596"/>
                      <a:pt x="370759" y="2863074"/>
                      <a:pt x="366712" y="2867121"/>
                    </a:cubicBezTo>
                    <a:lnTo>
                      <a:pt x="338137" y="2895696"/>
                    </a:lnTo>
                    <a:cubicBezTo>
                      <a:pt x="326695" y="2907138"/>
                      <a:pt x="323121" y="2904172"/>
                      <a:pt x="309562" y="2909983"/>
                    </a:cubicBezTo>
                    <a:cubicBezTo>
                      <a:pt x="303036" y="2912780"/>
                      <a:pt x="296862" y="2916333"/>
                      <a:pt x="290512" y="2919508"/>
                    </a:cubicBezTo>
                    <a:cubicBezTo>
                      <a:pt x="285750" y="2924271"/>
                      <a:pt x="279961" y="2928192"/>
                      <a:pt x="276225" y="2933796"/>
                    </a:cubicBezTo>
                    <a:cubicBezTo>
                      <a:pt x="273440" y="2937973"/>
                      <a:pt x="274598" y="2944163"/>
                      <a:pt x="271462" y="2948083"/>
                    </a:cubicBezTo>
                    <a:cubicBezTo>
                      <a:pt x="267886" y="2952552"/>
                      <a:pt x="261937" y="2954433"/>
                      <a:pt x="257175" y="2957608"/>
                    </a:cubicBezTo>
                    <a:cubicBezTo>
                      <a:pt x="254000" y="2962371"/>
                      <a:pt x="251314" y="2967499"/>
                      <a:pt x="247650" y="2971896"/>
                    </a:cubicBezTo>
                    <a:cubicBezTo>
                      <a:pt x="233634" y="2988715"/>
                      <a:pt x="224834" y="2983415"/>
                      <a:pt x="238125" y="3009996"/>
                    </a:cubicBezTo>
                    <a:cubicBezTo>
                      <a:pt x="241137" y="3016020"/>
                      <a:pt x="247650" y="3019521"/>
                      <a:pt x="252412" y="3024283"/>
                    </a:cubicBezTo>
                    <a:cubicBezTo>
                      <a:pt x="263525" y="3022696"/>
                      <a:pt x="274812" y="3022045"/>
                      <a:pt x="285750" y="3019521"/>
                    </a:cubicBezTo>
                    <a:cubicBezTo>
                      <a:pt x="295533" y="3017263"/>
                      <a:pt x="314325" y="3009996"/>
                      <a:pt x="314325" y="3009996"/>
                    </a:cubicBezTo>
                    <a:cubicBezTo>
                      <a:pt x="319087" y="3006821"/>
                      <a:pt x="323351" y="3002726"/>
                      <a:pt x="328612" y="3000471"/>
                    </a:cubicBezTo>
                    <a:cubicBezTo>
                      <a:pt x="347998" y="2992162"/>
                      <a:pt x="403572" y="2991546"/>
                      <a:pt x="409575" y="2990946"/>
                    </a:cubicBezTo>
                    <a:cubicBezTo>
                      <a:pt x="442638" y="2987640"/>
                      <a:pt x="447454" y="2985047"/>
                      <a:pt x="481012" y="2976658"/>
                    </a:cubicBezTo>
                    <a:cubicBezTo>
                      <a:pt x="503654" y="2961564"/>
                      <a:pt x="489870" y="2968943"/>
                      <a:pt x="523875" y="2957608"/>
                    </a:cubicBezTo>
                    <a:lnTo>
                      <a:pt x="523875" y="2957608"/>
                    </a:lnTo>
                    <a:cubicBezTo>
                      <a:pt x="527191" y="2955618"/>
                      <a:pt x="555694" y="2939030"/>
                      <a:pt x="561975" y="2933796"/>
                    </a:cubicBezTo>
                    <a:cubicBezTo>
                      <a:pt x="567149" y="2929484"/>
                      <a:pt x="570238" y="2922520"/>
                      <a:pt x="576262" y="2919508"/>
                    </a:cubicBezTo>
                    <a:cubicBezTo>
                      <a:pt x="581829" y="2916724"/>
                      <a:pt x="632627" y="2910095"/>
                      <a:pt x="633412" y="2909983"/>
                    </a:cubicBezTo>
                    <a:cubicBezTo>
                      <a:pt x="654843" y="2895696"/>
                      <a:pt x="661590" y="2896489"/>
                      <a:pt x="671512" y="2876646"/>
                    </a:cubicBezTo>
                    <a:cubicBezTo>
                      <a:pt x="673757" y="2872156"/>
                      <a:pt x="674687" y="2867121"/>
                      <a:pt x="676275" y="2862358"/>
                    </a:cubicBezTo>
                    <a:cubicBezTo>
                      <a:pt x="674416" y="2858641"/>
                      <a:pt x="661987" y="2836026"/>
                      <a:pt x="661987" y="2829021"/>
                    </a:cubicBezTo>
                    <a:cubicBezTo>
                      <a:pt x="661987" y="2822476"/>
                      <a:pt x="664869" y="2816240"/>
                      <a:pt x="666750" y="2809971"/>
                    </a:cubicBezTo>
                    <a:cubicBezTo>
                      <a:pt x="669635" y="2800354"/>
                      <a:pt x="676275" y="2781396"/>
                      <a:pt x="676275" y="2781396"/>
                    </a:cubicBezTo>
                    <a:cubicBezTo>
                      <a:pt x="674687" y="2771871"/>
                      <a:pt x="667708" y="2761697"/>
                      <a:pt x="671512" y="2752821"/>
                    </a:cubicBezTo>
                    <a:cubicBezTo>
                      <a:pt x="674090" y="2746805"/>
                      <a:pt x="684306" y="2749983"/>
                      <a:pt x="690562" y="2748058"/>
                    </a:cubicBezTo>
                    <a:cubicBezTo>
                      <a:pt x="704956" y="2743629"/>
                      <a:pt x="733425" y="2733771"/>
                      <a:pt x="733425" y="2733771"/>
                    </a:cubicBezTo>
                    <a:lnTo>
                      <a:pt x="871537" y="2738533"/>
                    </a:lnTo>
                    <a:cubicBezTo>
                      <a:pt x="885893" y="2739289"/>
                      <a:pt x="900304" y="2740477"/>
                      <a:pt x="914400" y="2743296"/>
                    </a:cubicBezTo>
                    <a:cubicBezTo>
                      <a:pt x="955362" y="2751489"/>
                      <a:pt x="930655" y="2749043"/>
                      <a:pt x="957262" y="2762346"/>
                    </a:cubicBezTo>
                    <a:cubicBezTo>
                      <a:pt x="961752" y="2764591"/>
                      <a:pt x="966787" y="2765521"/>
                      <a:pt x="971550" y="2767108"/>
                    </a:cubicBezTo>
                    <a:cubicBezTo>
                      <a:pt x="1009650" y="2765521"/>
                      <a:pt x="1047807" y="2764970"/>
                      <a:pt x="1085850" y="2762346"/>
                    </a:cubicBezTo>
                    <a:cubicBezTo>
                      <a:pt x="1093925" y="2761789"/>
                      <a:pt x="1101775" y="2759403"/>
                      <a:pt x="1109662" y="2757583"/>
                    </a:cubicBezTo>
                    <a:cubicBezTo>
                      <a:pt x="1184288" y="2740361"/>
                      <a:pt x="1117195" y="2754171"/>
                      <a:pt x="1171575" y="2743296"/>
                    </a:cubicBezTo>
                    <a:cubicBezTo>
                      <a:pt x="1233778" y="2696642"/>
                      <a:pt x="1156205" y="2754273"/>
                      <a:pt x="1204912" y="2719483"/>
                    </a:cubicBezTo>
                    <a:cubicBezTo>
                      <a:pt x="1211371" y="2714869"/>
                      <a:pt x="1216042" y="2705715"/>
                      <a:pt x="1223962" y="2705196"/>
                    </a:cubicBezTo>
                    <a:cubicBezTo>
                      <a:pt x="1314270" y="2699274"/>
                      <a:pt x="1404937" y="2702021"/>
                      <a:pt x="1495425" y="2700433"/>
                    </a:cubicBezTo>
                    <a:cubicBezTo>
                      <a:pt x="1500187" y="2695671"/>
                      <a:pt x="1504538" y="2690458"/>
                      <a:pt x="1509712" y="2686146"/>
                    </a:cubicBezTo>
                    <a:cubicBezTo>
                      <a:pt x="1514109" y="2682482"/>
                      <a:pt x="1520966" y="2681475"/>
                      <a:pt x="1524000" y="2676621"/>
                    </a:cubicBezTo>
                    <a:cubicBezTo>
                      <a:pt x="1547396" y="2639189"/>
                      <a:pt x="1517859" y="2653269"/>
                      <a:pt x="1547812" y="2643283"/>
                    </a:cubicBezTo>
                    <a:cubicBezTo>
                      <a:pt x="1555750" y="2644871"/>
                      <a:pt x="1563530" y="2648046"/>
                      <a:pt x="1571625" y="2648046"/>
                    </a:cubicBezTo>
                    <a:cubicBezTo>
                      <a:pt x="1598548" y="2648046"/>
                      <a:pt x="1603920" y="2645218"/>
                      <a:pt x="1624012" y="2638521"/>
                    </a:cubicBezTo>
                    <a:cubicBezTo>
                      <a:pt x="1628775" y="2635346"/>
                      <a:pt x="1633069" y="2631321"/>
                      <a:pt x="1638300" y="2628996"/>
                    </a:cubicBezTo>
                    <a:cubicBezTo>
                      <a:pt x="1647475" y="2624918"/>
                      <a:pt x="1657350" y="2622646"/>
                      <a:pt x="1666875" y="2619471"/>
                    </a:cubicBezTo>
                    <a:lnTo>
                      <a:pt x="1681162" y="2614708"/>
                    </a:lnTo>
                    <a:lnTo>
                      <a:pt x="1695450" y="2609946"/>
                    </a:lnTo>
                    <a:lnTo>
                      <a:pt x="1709737" y="2605183"/>
                    </a:lnTo>
                    <a:cubicBezTo>
                      <a:pt x="1714500" y="2600421"/>
                      <a:pt x="1720289" y="2596500"/>
                      <a:pt x="1724025" y="2590896"/>
                    </a:cubicBezTo>
                    <a:cubicBezTo>
                      <a:pt x="1726810" y="2586719"/>
                      <a:pt x="1725237" y="2580158"/>
                      <a:pt x="1728787" y="2576608"/>
                    </a:cubicBezTo>
                    <a:cubicBezTo>
                      <a:pt x="1736882" y="2568513"/>
                      <a:pt x="1757362" y="2557558"/>
                      <a:pt x="1757362" y="2557558"/>
                    </a:cubicBezTo>
                    <a:cubicBezTo>
                      <a:pt x="1774961" y="2531160"/>
                      <a:pt x="1756818" y="2552040"/>
                      <a:pt x="1781175" y="2538508"/>
                    </a:cubicBezTo>
                    <a:cubicBezTo>
                      <a:pt x="1791182" y="2532949"/>
                      <a:pt x="1809750" y="2519458"/>
                      <a:pt x="1809750" y="2519458"/>
                    </a:cubicBezTo>
                    <a:cubicBezTo>
                      <a:pt x="1812925" y="2514696"/>
                      <a:pt x="1816715" y="2510290"/>
                      <a:pt x="1819275" y="2505171"/>
                    </a:cubicBezTo>
                    <a:cubicBezTo>
                      <a:pt x="1821520" y="2500681"/>
                      <a:pt x="1821252" y="2495060"/>
                      <a:pt x="1824037" y="2490883"/>
                    </a:cubicBezTo>
                    <a:cubicBezTo>
                      <a:pt x="1827773" y="2485279"/>
                      <a:pt x="1833562" y="2481358"/>
                      <a:pt x="1838325" y="2476596"/>
                    </a:cubicBezTo>
                    <a:cubicBezTo>
                      <a:pt x="1839912" y="2471833"/>
                      <a:pt x="1839951" y="2466228"/>
                      <a:pt x="1843087" y="2462308"/>
                    </a:cubicBezTo>
                    <a:cubicBezTo>
                      <a:pt x="1860399" y="2440667"/>
                      <a:pt x="1921847" y="2448485"/>
                      <a:pt x="1928812" y="2448021"/>
                    </a:cubicBezTo>
                    <a:cubicBezTo>
                      <a:pt x="1935162" y="2441671"/>
                      <a:pt x="1941044" y="2434815"/>
                      <a:pt x="1947862" y="2428971"/>
                    </a:cubicBezTo>
                    <a:cubicBezTo>
                      <a:pt x="1952208" y="2425246"/>
                      <a:pt x="1960024" y="2424761"/>
                      <a:pt x="1962150" y="2419446"/>
                    </a:cubicBezTo>
                    <a:cubicBezTo>
                      <a:pt x="1988274" y="2354136"/>
                      <a:pt x="1947060" y="2401198"/>
                      <a:pt x="1981200" y="2367058"/>
                    </a:cubicBezTo>
                    <a:cubicBezTo>
                      <a:pt x="1982787" y="2360708"/>
                      <a:pt x="1984164" y="2354302"/>
                      <a:pt x="1985962" y="2348008"/>
                    </a:cubicBezTo>
                    <a:cubicBezTo>
                      <a:pt x="1987341" y="2343181"/>
                      <a:pt x="1990725" y="2338741"/>
                      <a:pt x="1990725" y="2333721"/>
                    </a:cubicBezTo>
                    <a:cubicBezTo>
                      <a:pt x="1990725" y="2298760"/>
                      <a:pt x="1991485" y="2263468"/>
                      <a:pt x="1985962" y="2228946"/>
                    </a:cubicBezTo>
                    <a:cubicBezTo>
                      <a:pt x="1984898" y="2222295"/>
                      <a:pt x="1977563" y="2217929"/>
                      <a:pt x="1971675" y="2214658"/>
                    </a:cubicBezTo>
                    <a:cubicBezTo>
                      <a:pt x="1962898" y="2209782"/>
                      <a:pt x="1951454" y="2210702"/>
                      <a:pt x="1943100" y="2205133"/>
                    </a:cubicBezTo>
                    <a:lnTo>
                      <a:pt x="1928812" y="2195608"/>
                    </a:lnTo>
                    <a:cubicBezTo>
                      <a:pt x="1931474" y="2184961"/>
                      <a:pt x="1938463" y="2154938"/>
                      <a:pt x="1943100" y="2147983"/>
                    </a:cubicBezTo>
                    <a:lnTo>
                      <a:pt x="1952625" y="2133696"/>
                    </a:lnTo>
                    <a:cubicBezTo>
                      <a:pt x="1954212" y="2128933"/>
                      <a:pt x="1956008" y="2124235"/>
                      <a:pt x="1957387" y="2119408"/>
                    </a:cubicBezTo>
                    <a:cubicBezTo>
                      <a:pt x="1959185" y="2113114"/>
                      <a:pt x="1959632" y="2106400"/>
                      <a:pt x="1962150" y="2100358"/>
                    </a:cubicBezTo>
                    <a:cubicBezTo>
                      <a:pt x="1967611" y="2087251"/>
                      <a:pt x="1981200" y="2062258"/>
                      <a:pt x="1981200" y="2062258"/>
                    </a:cubicBezTo>
                    <a:cubicBezTo>
                      <a:pt x="1988608" y="2010396"/>
                      <a:pt x="1979903" y="2046232"/>
                      <a:pt x="1995487" y="2009871"/>
                    </a:cubicBezTo>
                    <a:cubicBezTo>
                      <a:pt x="1997465" y="2005257"/>
                      <a:pt x="1996700" y="1999133"/>
                      <a:pt x="2000250" y="1995583"/>
                    </a:cubicBezTo>
                    <a:cubicBezTo>
                      <a:pt x="2005270" y="1990563"/>
                      <a:pt x="2012950" y="1989233"/>
                      <a:pt x="2019300" y="1986058"/>
                    </a:cubicBezTo>
                    <a:cubicBezTo>
                      <a:pt x="2024062" y="1987646"/>
                      <a:pt x="2028926" y="1992685"/>
                      <a:pt x="2033587" y="1990821"/>
                    </a:cubicBezTo>
                    <a:cubicBezTo>
                      <a:pt x="2037794" y="1989138"/>
                      <a:pt x="2052033" y="1958691"/>
                      <a:pt x="2052637" y="1957483"/>
                    </a:cubicBezTo>
                    <a:cubicBezTo>
                      <a:pt x="2051050" y="1932083"/>
                      <a:pt x="2047875" y="1906733"/>
                      <a:pt x="2047875" y="1881283"/>
                    </a:cubicBezTo>
                    <a:cubicBezTo>
                      <a:pt x="2047875" y="1865329"/>
                      <a:pt x="2052637" y="1849612"/>
                      <a:pt x="2052637" y="1833658"/>
                    </a:cubicBezTo>
                    <a:cubicBezTo>
                      <a:pt x="2052637" y="1808208"/>
                      <a:pt x="2049626" y="1782847"/>
                      <a:pt x="2047875" y="1757458"/>
                    </a:cubicBezTo>
                    <a:cubicBezTo>
                      <a:pt x="2044587" y="1709788"/>
                      <a:pt x="2059804" y="1701511"/>
                      <a:pt x="2028825" y="1686021"/>
                    </a:cubicBezTo>
                    <a:cubicBezTo>
                      <a:pt x="2024335" y="1683776"/>
                      <a:pt x="2019300" y="1682846"/>
                      <a:pt x="2014537" y="1681258"/>
                    </a:cubicBezTo>
                    <a:cubicBezTo>
                      <a:pt x="2016125" y="1652683"/>
                      <a:pt x="2015433" y="1623890"/>
                      <a:pt x="2019300" y="1595533"/>
                    </a:cubicBezTo>
                    <a:cubicBezTo>
                      <a:pt x="2020259" y="1588499"/>
                      <a:pt x="2026188" y="1583075"/>
                      <a:pt x="2028825" y="1576483"/>
                    </a:cubicBezTo>
                    <a:cubicBezTo>
                      <a:pt x="2032554" y="1567161"/>
                      <a:pt x="2038350" y="1547908"/>
                      <a:pt x="2038350" y="1547908"/>
                    </a:cubicBezTo>
                    <a:cubicBezTo>
                      <a:pt x="2036762" y="1539971"/>
                      <a:pt x="2037207" y="1531336"/>
                      <a:pt x="2033587" y="1524096"/>
                    </a:cubicBezTo>
                    <a:cubicBezTo>
                      <a:pt x="2030575" y="1518072"/>
                      <a:pt x="2023612" y="1514982"/>
                      <a:pt x="2019300" y="1509808"/>
                    </a:cubicBezTo>
                    <a:cubicBezTo>
                      <a:pt x="2015636" y="1505411"/>
                      <a:pt x="2012950" y="1500283"/>
                      <a:pt x="2009775" y="1495521"/>
                    </a:cubicBezTo>
                    <a:cubicBezTo>
                      <a:pt x="2020555" y="1452398"/>
                      <a:pt x="2005237" y="1504595"/>
                      <a:pt x="2033587" y="1447896"/>
                    </a:cubicBezTo>
                    <a:cubicBezTo>
                      <a:pt x="2036762" y="1441546"/>
                      <a:pt x="2038092" y="1433866"/>
                      <a:pt x="2043112" y="1428846"/>
                    </a:cubicBezTo>
                    <a:cubicBezTo>
                      <a:pt x="2051207" y="1420751"/>
                      <a:pt x="2071687" y="1409796"/>
                      <a:pt x="2071687" y="1409796"/>
                    </a:cubicBezTo>
                    <a:cubicBezTo>
                      <a:pt x="2076228" y="1396174"/>
                      <a:pt x="2078221" y="1391415"/>
                      <a:pt x="2081212" y="1376458"/>
                    </a:cubicBezTo>
                    <a:cubicBezTo>
                      <a:pt x="2083106" y="1366989"/>
                      <a:pt x="2084081" y="1357352"/>
                      <a:pt x="2085975" y="1347883"/>
                    </a:cubicBezTo>
                    <a:cubicBezTo>
                      <a:pt x="2087259" y="1341465"/>
                      <a:pt x="2087106" y="1334279"/>
                      <a:pt x="2090737" y="1328833"/>
                    </a:cubicBezTo>
                    <a:cubicBezTo>
                      <a:pt x="2096013" y="1320920"/>
                      <a:pt x="2111162" y="1317263"/>
                      <a:pt x="2119312" y="1314546"/>
                    </a:cubicBezTo>
                    <a:cubicBezTo>
                      <a:pt x="2124075" y="1309783"/>
                      <a:pt x="2128426" y="1304570"/>
                      <a:pt x="2133600" y="1300258"/>
                    </a:cubicBezTo>
                    <a:cubicBezTo>
                      <a:pt x="2137997" y="1296594"/>
                      <a:pt x="2144118" y="1295041"/>
                      <a:pt x="2147887" y="1290733"/>
                    </a:cubicBezTo>
                    <a:cubicBezTo>
                      <a:pt x="2155425" y="1282118"/>
                      <a:pt x="2160587" y="1271683"/>
                      <a:pt x="2166937" y="1262158"/>
                    </a:cubicBezTo>
                    <a:lnTo>
                      <a:pt x="2176462" y="1247871"/>
                    </a:lnTo>
                    <a:cubicBezTo>
                      <a:pt x="2179637" y="1243108"/>
                      <a:pt x="2181939" y="1237630"/>
                      <a:pt x="2185987" y="1233583"/>
                    </a:cubicBezTo>
                    <a:lnTo>
                      <a:pt x="2219325" y="1200246"/>
                    </a:lnTo>
                    <a:cubicBezTo>
                      <a:pt x="2220912" y="1195483"/>
                      <a:pt x="2220002" y="1188876"/>
                      <a:pt x="2224087" y="1185958"/>
                    </a:cubicBezTo>
                    <a:cubicBezTo>
                      <a:pt x="2232257" y="1180122"/>
                      <a:pt x="2252662" y="1176433"/>
                      <a:pt x="2252662" y="1176433"/>
                    </a:cubicBezTo>
                    <a:cubicBezTo>
                      <a:pt x="2255198" y="1177067"/>
                      <a:pt x="2281904" y="1183227"/>
                      <a:pt x="2286000" y="1185958"/>
                    </a:cubicBezTo>
                    <a:cubicBezTo>
                      <a:pt x="2291604" y="1189694"/>
                      <a:pt x="2295525" y="1195483"/>
                      <a:pt x="2300287" y="1200246"/>
                    </a:cubicBezTo>
                    <a:cubicBezTo>
                      <a:pt x="2301875" y="1205008"/>
                      <a:pt x="2305050" y="1209513"/>
                      <a:pt x="2305050" y="1214533"/>
                    </a:cubicBezTo>
                    <a:cubicBezTo>
                      <a:pt x="2305050" y="1241424"/>
                      <a:pt x="2268641" y="1232338"/>
                      <a:pt x="2343150" y="1224058"/>
                    </a:cubicBezTo>
                    <a:cubicBezTo>
                      <a:pt x="2347912" y="1222471"/>
                      <a:pt x="2353517" y="1222432"/>
                      <a:pt x="2357437" y="1219296"/>
                    </a:cubicBezTo>
                    <a:cubicBezTo>
                      <a:pt x="2379739" y="1201454"/>
                      <a:pt x="2356388" y="1209892"/>
                      <a:pt x="2371725" y="1190721"/>
                    </a:cubicBezTo>
                    <a:cubicBezTo>
                      <a:pt x="2375301" y="1186252"/>
                      <a:pt x="2381615" y="1184860"/>
                      <a:pt x="2386012" y="1181196"/>
                    </a:cubicBezTo>
                    <a:cubicBezTo>
                      <a:pt x="2391186" y="1176884"/>
                      <a:pt x="2395126" y="1171220"/>
                      <a:pt x="2400300" y="1166908"/>
                    </a:cubicBezTo>
                    <a:cubicBezTo>
                      <a:pt x="2412610" y="1156649"/>
                      <a:pt x="2414554" y="1157394"/>
                      <a:pt x="2428875" y="1152621"/>
                    </a:cubicBezTo>
                    <a:cubicBezTo>
                      <a:pt x="2450261" y="1131233"/>
                      <a:pt x="2436772" y="1140463"/>
                      <a:pt x="2471737" y="1128808"/>
                    </a:cubicBezTo>
                    <a:cubicBezTo>
                      <a:pt x="2477167" y="1126998"/>
                      <a:pt x="2480905" y="1121843"/>
                      <a:pt x="2486025" y="1119283"/>
                    </a:cubicBezTo>
                    <a:cubicBezTo>
                      <a:pt x="2493633" y="1115479"/>
                      <a:pt x="2512247" y="1111791"/>
                      <a:pt x="2519362" y="1109758"/>
                    </a:cubicBezTo>
                    <a:cubicBezTo>
                      <a:pt x="2532723" y="1105941"/>
                      <a:pt x="2539996" y="1102731"/>
                      <a:pt x="2552700" y="1095471"/>
                    </a:cubicBezTo>
                    <a:cubicBezTo>
                      <a:pt x="2557670" y="1092631"/>
                      <a:pt x="2562225" y="1089121"/>
                      <a:pt x="2566987" y="1085946"/>
                    </a:cubicBezTo>
                    <a:cubicBezTo>
                      <a:pt x="2565400" y="1078008"/>
                      <a:pt x="2566715" y="1068868"/>
                      <a:pt x="2562225" y="1062133"/>
                    </a:cubicBezTo>
                    <a:cubicBezTo>
                      <a:pt x="2559440" y="1057956"/>
                      <a:pt x="2551487" y="1060921"/>
                      <a:pt x="2547937" y="1057371"/>
                    </a:cubicBezTo>
                    <a:cubicBezTo>
                      <a:pt x="2544387" y="1053821"/>
                      <a:pt x="2544762" y="1047846"/>
                      <a:pt x="2543175" y="1043083"/>
                    </a:cubicBezTo>
                    <a:cubicBezTo>
                      <a:pt x="2544762" y="1038321"/>
                      <a:pt x="2545960" y="1033410"/>
                      <a:pt x="2547937" y="1028796"/>
                    </a:cubicBezTo>
                    <a:cubicBezTo>
                      <a:pt x="2550734" y="1022270"/>
                      <a:pt x="2555512" y="1016572"/>
                      <a:pt x="2557462" y="1009746"/>
                    </a:cubicBezTo>
                    <a:cubicBezTo>
                      <a:pt x="2561910" y="994180"/>
                      <a:pt x="2561867" y="977479"/>
                      <a:pt x="2566987" y="962121"/>
                    </a:cubicBezTo>
                    <a:lnTo>
                      <a:pt x="2571750" y="947833"/>
                    </a:lnTo>
                    <a:cubicBezTo>
                      <a:pt x="2578220" y="909010"/>
                      <a:pt x="2579519" y="916076"/>
                      <a:pt x="2571750" y="866871"/>
                    </a:cubicBezTo>
                    <a:cubicBezTo>
                      <a:pt x="2569708" y="853940"/>
                      <a:pt x="2565400" y="841471"/>
                      <a:pt x="2562225" y="828771"/>
                    </a:cubicBezTo>
                    <a:cubicBezTo>
                      <a:pt x="2561007" y="823901"/>
                      <a:pt x="2560247" y="818660"/>
                      <a:pt x="2557462" y="814483"/>
                    </a:cubicBezTo>
                    <a:cubicBezTo>
                      <a:pt x="2553726" y="808879"/>
                      <a:pt x="2547937" y="804958"/>
                      <a:pt x="2543175" y="800196"/>
                    </a:cubicBezTo>
                    <a:cubicBezTo>
                      <a:pt x="2541587" y="795433"/>
                      <a:pt x="2541962" y="789458"/>
                      <a:pt x="2538412" y="785908"/>
                    </a:cubicBezTo>
                    <a:cubicBezTo>
                      <a:pt x="2534862" y="782358"/>
                      <a:pt x="2528302" y="783931"/>
                      <a:pt x="2524125" y="781146"/>
                    </a:cubicBezTo>
                    <a:cubicBezTo>
                      <a:pt x="2518521" y="777410"/>
                      <a:pt x="2514600" y="771621"/>
                      <a:pt x="2509837" y="766858"/>
                    </a:cubicBezTo>
                    <a:cubicBezTo>
                      <a:pt x="2507587" y="757856"/>
                      <a:pt x="2505296" y="739612"/>
                      <a:pt x="2495550" y="733521"/>
                    </a:cubicBezTo>
                    <a:cubicBezTo>
                      <a:pt x="2487036" y="728200"/>
                      <a:pt x="2476500" y="727171"/>
                      <a:pt x="2466975" y="723996"/>
                    </a:cubicBezTo>
                    <a:cubicBezTo>
                      <a:pt x="2454891" y="719968"/>
                      <a:pt x="2444088" y="711913"/>
                      <a:pt x="2433637" y="704946"/>
                    </a:cubicBezTo>
                    <a:cubicBezTo>
                      <a:pt x="2430462" y="700183"/>
                      <a:pt x="2426367" y="695919"/>
                      <a:pt x="2424112" y="690658"/>
                    </a:cubicBezTo>
                    <a:cubicBezTo>
                      <a:pt x="2421534" y="684642"/>
                      <a:pt x="2421148" y="677902"/>
                      <a:pt x="2419350" y="671608"/>
                    </a:cubicBezTo>
                    <a:cubicBezTo>
                      <a:pt x="2417971" y="666781"/>
                      <a:pt x="2415966" y="662148"/>
                      <a:pt x="2414587" y="657321"/>
                    </a:cubicBezTo>
                    <a:cubicBezTo>
                      <a:pt x="2412789" y="651027"/>
                      <a:pt x="2412752" y="644125"/>
                      <a:pt x="2409825" y="638271"/>
                    </a:cubicBezTo>
                    <a:cubicBezTo>
                      <a:pt x="2404706" y="628032"/>
                      <a:pt x="2397125" y="619221"/>
                      <a:pt x="2390775" y="609696"/>
                    </a:cubicBezTo>
                    <a:cubicBezTo>
                      <a:pt x="2382801" y="597735"/>
                      <a:pt x="2362200" y="606521"/>
                      <a:pt x="2347912" y="604933"/>
                    </a:cubicBezTo>
                    <a:cubicBezTo>
                      <a:pt x="2346325" y="585883"/>
                      <a:pt x="2348266" y="566202"/>
                      <a:pt x="2343150" y="547783"/>
                    </a:cubicBezTo>
                    <a:cubicBezTo>
                      <a:pt x="2340086" y="536753"/>
                      <a:pt x="2330450" y="528733"/>
                      <a:pt x="2324100" y="519208"/>
                    </a:cubicBezTo>
                    <a:cubicBezTo>
                      <a:pt x="2321315" y="515031"/>
                      <a:pt x="2321100" y="509621"/>
                      <a:pt x="2319337" y="504921"/>
                    </a:cubicBezTo>
                    <a:cubicBezTo>
                      <a:pt x="2316335" y="496916"/>
                      <a:pt x="2312734" y="489142"/>
                      <a:pt x="2309812" y="481108"/>
                    </a:cubicBezTo>
                    <a:cubicBezTo>
                      <a:pt x="2306381" y="471672"/>
                      <a:pt x="2307387" y="459633"/>
                      <a:pt x="2300287" y="452533"/>
                    </a:cubicBezTo>
                    <a:lnTo>
                      <a:pt x="2271712" y="423958"/>
                    </a:lnTo>
                    <a:cubicBezTo>
                      <a:pt x="2242657" y="394903"/>
                      <a:pt x="2284381" y="410456"/>
                      <a:pt x="2243137" y="400146"/>
                    </a:cubicBezTo>
                    <a:cubicBezTo>
                      <a:pt x="2229207" y="358350"/>
                      <a:pt x="2244268" y="417739"/>
                      <a:pt x="2252662" y="371571"/>
                    </a:cubicBezTo>
                    <a:cubicBezTo>
                      <a:pt x="2254952" y="358979"/>
                      <a:pt x="2249487" y="346171"/>
                      <a:pt x="2247900" y="333471"/>
                    </a:cubicBezTo>
                    <a:cubicBezTo>
                      <a:pt x="2227077" y="336445"/>
                      <a:pt x="2209009" y="336346"/>
                      <a:pt x="2190750" y="347758"/>
                    </a:cubicBezTo>
                    <a:cubicBezTo>
                      <a:pt x="2185038" y="351328"/>
                      <a:pt x="2182066" y="358310"/>
                      <a:pt x="2176462" y="362046"/>
                    </a:cubicBezTo>
                    <a:cubicBezTo>
                      <a:pt x="2170188" y="366229"/>
                      <a:pt x="2141793" y="370885"/>
                      <a:pt x="2138362" y="371571"/>
                    </a:cubicBezTo>
                    <a:cubicBezTo>
                      <a:pt x="2133600" y="374746"/>
                      <a:pt x="2129194" y="378536"/>
                      <a:pt x="2124075" y="381096"/>
                    </a:cubicBezTo>
                    <a:cubicBezTo>
                      <a:pt x="2114316" y="385976"/>
                      <a:pt x="2095026" y="388811"/>
                      <a:pt x="2085975" y="390621"/>
                    </a:cubicBezTo>
                    <a:cubicBezTo>
                      <a:pt x="2062162" y="389033"/>
                      <a:pt x="2037532" y="392246"/>
                      <a:pt x="2014537" y="385858"/>
                    </a:cubicBezTo>
                    <a:cubicBezTo>
                      <a:pt x="2006889" y="383734"/>
                      <a:pt x="2002431" y="374440"/>
                      <a:pt x="2000250" y="366808"/>
                    </a:cubicBezTo>
                    <a:cubicBezTo>
                      <a:pt x="1998871" y="361981"/>
                      <a:pt x="2003633" y="357348"/>
                      <a:pt x="2005012" y="352521"/>
                    </a:cubicBezTo>
                    <a:cubicBezTo>
                      <a:pt x="2009499" y="336817"/>
                      <a:pt x="2011261" y="326040"/>
                      <a:pt x="2014537" y="309658"/>
                    </a:cubicBezTo>
                    <a:cubicBezTo>
                      <a:pt x="2012950" y="296958"/>
                      <a:pt x="2014149" y="283586"/>
                      <a:pt x="2009775" y="271558"/>
                    </a:cubicBezTo>
                    <a:cubicBezTo>
                      <a:pt x="2007473" y="265228"/>
                      <a:pt x="1998758" y="263159"/>
                      <a:pt x="1995487" y="257271"/>
                    </a:cubicBezTo>
                    <a:cubicBezTo>
                      <a:pt x="1988164" y="244091"/>
                      <a:pt x="1985612" y="224352"/>
                      <a:pt x="1981200" y="209646"/>
                    </a:cubicBezTo>
                    <a:cubicBezTo>
                      <a:pt x="1981193" y="209623"/>
                      <a:pt x="1969297" y="173938"/>
                      <a:pt x="1966912" y="166783"/>
                    </a:cubicBezTo>
                    <a:cubicBezTo>
                      <a:pt x="1965102" y="161353"/>
                      <a:pt x="1960714" y="157154"/>
                      <a:pt x="1957387" y="152496"/>
                    </a:cubicBezTo>
                    <a:cubicBezTo>
                      <a:pt x="1952773" y="146037"/>
                      <a:pt x="1947713" y="139905"/>
                      <a:pt x="1943100" y="133446"/>
                    </a:cubicBezTo>
                    <a:cubicBezTo>
                      <a:pt x="1939773" y="128788"/>
                      <a:pt x="1937239" y="123555"/>
                      <a:pt x="1933575" y="119158"/>
                    </a:cubicBezTo>
                    <a:cubicBezTo>
                      <a:pt x="1929263" y="113984"/>
                      <a:pt x="1924050" y="109633"/>
                      <a:pt x="1919287" y="104871"/>
                    </a:cubicBezTo>
                    <a:cubicBezTo>
                      <a:pt x="1910905" y="79723"/>
                      <a:pt x="1917310" y="94760"/>
                      <a:pt x="1895475" y="62008"/>
                    </a:cubicBezTo>
                    <a:cubicBezTo>
                      <a:pt x="1892690" y="57831"/>
                      <a:pt x="1892957" y="52211"/>
                      <a:pt x="1890712" y="47721"/>
                    </a:cubicBezTo>
                    <a:cubicBezTo>
                      <a:pt x="1885573" y="37443"/>
                      <a:pt x="1875679" y="26169"/>
                      <a:pt x="1866900" y="19146"/>
                    </a:cubicBezTo>
                    <a:cubicBezTo>
                      <a:pt x="1864128" y="16928"/>
                      <a:pt x="1872456" y="-1491"/>
                      <a:pt x="1866900" y="96"/>
                    </a:cubicBezTo>
                    <a:close/>
                  </a:path>
                </a:pathLst>
              </a:custGeom>
              <a:solidFill>
                <a:srgbClr val="EDDD32"/>
              </a:solidFill>
              <a:ln w="9525" cap="flat" cmpd="sng" algn="ctr">
                <a:solidFill>
                  <a:srgbClr val="4866A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8383">
                  <a:buClr>
                    <a:srgbClr val="000000"/>
                  </a:buClr>
                  <a:buSzPct val="100000"/>
                </a:pPr>
                <a:endParaRPr lang="pt-BR" sz="1020" dirty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pic>
            <p:nvPicPr>
              <p:cNvPr id="202" name="Picture 358"/>
              <p:cNvPicPr>
                <a:picLocks/>
              </p:cNvPicPr>
              <p:nvPr/>
            </p:nvPicPr>
            <p:blipFill>
              <a:blip r:embed="rId1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2698781" y="3268950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04" name="Picture 359"/>
              <p:cNvPicPr>
                <a:picLocks/>
              </p:cNvPicPr>
              <p:nvPr/>
            </p:nvPicPr>
            <p:blipFill>
              <a:blip r:embed="rId9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2625793" y="3458282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05" name="Picture 360"/>
              <p:cNvPicPr>
                <a:picLocks/>
              </p:cNvPicPr>
              <p:nvPr/>
            </p:nvPicPr>
            <p:blipFill>
              <a:blip r:embed="rId20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2567200" y="3656029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07" name="Picture 361"/>
              <p:cNvPicPr>
                <a:picLocks/>
              </p:cNvPicPr>
              <p:nvPr/>
            </p:nvPicPr>
            <p:blipFill>
              <a:blip r:embed="rId16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2361790" y="3625863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08" name="Picture 362"/>
              <p:cNvPicPr>
                <a:picLocks/>
              </p:cNvPicPr>
              <p:nvPr/>
            </p:nvPicPr>
            <p:blipFill>
              <a:blip r:embed="rId12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2262711" y="3226977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09" name="Picture 363"/>
              <p:cNvPicPr>
                <a:picLocks/>
              </p:cNvPicPr>
              <p:nvPr/>
            </p:nvPicPr>
            <p:blipFill>
              <a:blip r:embed="rId10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2494214" y="3131098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14" name="Picture 364"/>
              <p:cNvPicPr>
                <a:picLocks/>
              </p:cNvPicPr>
              <p:nvPr/>
            </p:nvPicPr>
            <p:blipFill>
              <a:blip r:embed="rId17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2437036" y="3371019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17" name="Picture 365"/>
              <p:cNvPicPr>
                <a:picLocks/>
              </p:cNvPicPr>
              <p:nvPr/>
            </p:nvPicPr>
            <p:blipFill>
              <a:blip r:embed="rId18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2241945" y="3435546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18" name="Picture 366"/>
              <p:cNvPicPr>
                <a:picLocks/>
              </p:cNvPicPr>
              <p:nvPr/>
            </p:nvPicPr>
            <p:blipFill>
              <a:blip r:embed="rId13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2696816" y="3070762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219" name="Picture 380"/>
            <p:cNvPicPr>
              <a:picLocks/>
            </p:cNvPicPr>
            <p:nvPr/>
          </p:nvPicPr>
          <p:blipFill>
            <a:blip r:embed="rId15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121440" y="3528542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20" name="Picture 381"/>
            <p:cNvPicPr>
              <a:picLocks/>
            </p:cNvPicPr>
            <p:nvPr/>
          </p:nvPicPr>
          <p:blipFill>
            <a:blip r:embed="rId9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109338" y="3324325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21" name="Picture 382"/>
            <p:cNvPicPr>
              <a:picLocks/>
            </p:cNvPicPr>
            <p:nvPr/>
          </p:nvPicPr>
          <p:blipFill>
            <a:blip r:embed="rId12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048430" y="3997730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22" name="Picture 383"/>
            <p:cNvPicPr>
              <a:picLocks/>
            </p:cNvPicPr>
            <p:nvPr/>
          </p:nvPicPr>
          <p:blipFill>
            <a:blip r:embed="rId10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116119" y="3774529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29" name="Picture 384"/>
            <p:cNvPicPr>
              <a:picLocks/>
            </p:cNvPicPr>
            <p:nvPr/>
          </p:nvPicPr>
          <p:blipFill>
            <a:blip r:embed="rId17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901844" y="3784841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30" name="Picture 385"/>
            <p:cNvPicPr>
              <a:picLocks/>
            </p:cNvPicPr>
            <p:nvPr/>
          </p:nvPicPr>
          <p:blipFill>
            <a:blip r:embed="rId18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306436" y="3612127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31" name="Picture 386"/>
            <p:cNvPicPr>
              <a:picLocks/>
            </p:cNvPicPr>
            <p:nvPr/>
          </p:nvPicPr>
          <p:blipFill>
            <a:blip r:embed="rId13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299317" y="3978860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32" name="Picture 387"/>
            <p:cNvPicPr>
              <a:picLocks/>
            </p:cNvPicPr>
            <p:nvPr/>
          </p:nvPicPr>
          <p:blipFill>
            <a:blip r:embed="rId14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840065" y="4021906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33" name="Picture 388"/>
            <p:cNvPicPr>
              <a:picLocks/>
            </p:cNvPicPr>
            <p:nvPr/>
          </p:nvPicPr>
          <p:blipFill>
            <a:blip r:embed="rId11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927508" y="3569613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234" name="Group 42"/>
            <p:cNvGrpSpPr/>
            <p:nvPr/>
          </p:nvGrpSpPr>
          <p:grpSpPr>
            <a:xfrm>
              <a:off x="11970418" y="4452422"/>
              <a:ext cx="1004888" cy="578710"/>
              <a:chOff x="3283520" y="4315255"/>
              <a:chExt cx="1004888" cy="578710"/>
            </a:xfrm>
          </p:grpSpPr>
          <p:pic>
            <p:nvPicPr>
              <p:cNvPr id="309" name="Picture 406"/>
              <p:cNvPicPr>
                <a:picLocks/>
              </p:cNvPicPr>
              <p:nvPr/>
            </p:nvPicPr>
            <p:blipFill>
              <a:blip r:embed="rId1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283520" y="4510599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10" name="Picture 407"/>
              <p:cNvPicPr>
                <a:picLocks/>
              </p:cNvPicPr>
              <p:nvPr/>
            </p:nvPicPr>
            <p:blipFill>
              <a:blip r:embed="rId9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499296" y="4431858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11" name="Picture 408"/>
              <p:cNvPicPr>
                <a:picLocks/>
              </p:cNvPicPr>
              <p:nvPr/>
            </p:nvPicPr>
            <p:blipFill>
              <a:blip r:embed="rId12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834306" y="4350636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12" name="Picture 409"/>
              <p:cNvPicPr>
                <a:picLocks/>
              </p:cNvPicPr>
              <p:nvPr/>
            </p:nvPicPr>
            <p:blipFill>
              <a:blip r:embed="rId10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676871" y="4534621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13" name="Picture 410"/>
              <p:cNvPicPr>
                <a:picLocks/>
              </p:cNvPicPr>
              <p:nvPr/>
            </p:nvPicPr>
            <p:blipFill>
              <a:blip r:embed="rId17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4086808" y="4315255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14" name="Picture 411"/>
              <p:cNvPicPr>
                <a:picLocks/>
              </p:cNvPicPr>
              <p:nvPr/>
            </p:nvPicPr>
            <p:blipFill>
              <a:blip r:embed="rId13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998458" y="4554438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15" name="Picture 412"/>
              <p:cNvPicPr>
                <a:picLocks/>
              </p:cNvPicPr>
              <p:nvPr/>
            </p:nvPicPr>
            <p:blipFill>
              <a:blip r:embed="rId11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833618" y="4692365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240" name="Group 35"/>
            <p:cNvGrpSpPr/>
            <p:nvPr/>
          </p:nvGrpSpPr>
          <p:grpSpPr>
            <a:xfrm>
              <a:off x="12027443" y="3909402"/>
              <a:ext cx="646777" cy="548972"/>
              <a:chOff x="3340545" y="3772235"/>
              <a:chExt cx="646777" cy="548972"/>
            </a:xfrm>
          </p:grpSpPr>
          <p:pic>
            <p:nvPicPr>
              <p:cNvPr id="303" name="Picture 413"/>
              <p:cNvPicPr>
                <a:picLocks/>
              </p:cNvPicPr>
              <p:nvPr/>
            </p:nvPicPr>
            <p:blipFill>
              <a:blip r:embed="rId9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785722" y="3772235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04" name="Picture 414"/>
              <p:cNvPicPr>
                <a:picLocks/>
              </p:cNvPicPr>
              <p:nvPr/>
            </p:nvPicPr>
            <p:blipFill>
              <a:blip r:embed="rId1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340545" y="3916179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05" name="Picture 415"/>
              <p:cNvPicPr>
                <a:picLocks/>
              </p:cNvPicPr>
              <p:nvPr/>
            </p:nvPicPr>
            <p:blipFill>
              <a:blip r:embed="rId11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733597" y="4114221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06" name="Picture 416"/>
              <p:cNvPicPr>
                <a:picLocks/>
              </p:cNvPicPr>
              <p:nvPr/>
            </p:nvPicPr>
            <p:blipFill>
              <a:blip r:embed="rId13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491763" y="4119607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07" name="Picture 417"/>
              <p:cNvPicPr>
                <a:picLocks/>
              </p:cNvPicPr>
              <p:nvPr/>
            </p:nvPicPr>
            <p:blipFill>
              <a:blip r:embed="rId17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622204" y="3962658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08" name="Picture 418"/>
              <p:cNvPicPr>
                <a:picLocks/>
              </p:cNvPicPr>
              <p:nvPr/>
            </p:nvPicPr>
            <p:blipFill>
              <a:blip r:embed="rId12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549214" y="3791328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241" name="Group 41"/>
            <p:cNvGrpSpPr/>
            <p:nvPr/>
          </p:nvGrpSpPr>
          <p:grpSpPr>
            <a:xfrm>
              <a:off x="10747201" y="3794546"/>
              <a:ext cx="687173" cy="832917"/>
              <a:chOff x="2060303" y="3657379"/>
              <a:chExt cx="687173" cy="832917"/>
            </a:xfrm>
          </p:grpSpPr>
          <p:pic>
            <p:nvPicPr>
              <p:cNvPr id="295" name="Picture 430"/>
              <p:cNvPicPr>
                <a:picLocks/>
              </p:cNvPicPr>
              <p:nvPr/>
            </p:nvPicPr>
            <p:blipFill>
              <a:blip r:embed="rId1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060303" y="4000756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96" name="Picture 431"/>
              <p:cNvPicPr>
                <a:picLocks/>
              </p:cNvPicPr>
              <p:nvPr/>
            </p:nvPicPr>
            <p:blipFill>
              <a:blip r:embed="rId9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536647" y="3911935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97" name="Picture 432"/>
              <p:cNvPicPr>
                <a:picLocks/>
              </p:cNvPicPr>
              <p:nvPr/>
            </p:nvPicPr>
            <p:blipFill>
              <a:blip r:embed="rId12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545876" y="3657379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98" name="Picture 433"/>
              <p:cNvPicPr>
                <a:picLocks/>
              </p:cNvPicPr>
              <p:nvPr/>
            </p:nvPicPr>
            <p:blipFill>
              <a:blip r:embed="rId17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390154" y="4268086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99" name="Picture 434"/>
              <p:cNvPicPr>
                <a:picLocks/>
              </p:cNvPicPr>
              <p:nvPr/>
            </p:nvPicPr>
            <p:blipFill>
              <a:blip r:embed="rId13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300045" y="4013480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00" name="Picture 435"/>
              <p:cNvPicPr>
                <a:picLocks/>
              </p:cNvPicPr>
              <p:nvPr/>
            </p:nvPicPr>
            <p:blipFill>
              <a:blip r:embed="rId11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306322" y="3719984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01" name="Picture 436"/>
              <p:cNvPicPr>
                <a:picLocks/>
              </p:cNvPicPr>
              <p:nvPr/>
            </p:nvPicPr>
            <p:blipFill>
              <a:blip r:embed="rId14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095643" y="3767786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02" name="Picture 437"/>
              <p:cNvPicPr>
                <a:picLocks/>
              </p:cNvPicPr>
              <p:nvPr/>
            </p:nvPicPr>
            <p:blipFill>
              <a:blip r:embed="rId20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074636" y="4288696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242" name="Picture 439"/>
            <p:cNvPicPr>
              <a:picLocks/>
            </p:cNvPicPr>
            <p:nvPr/>
          </p:nvPicPr>
          <p:blipFill>
            <a:blip r:embed="rId16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294189" y="2723605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3" name="Picture 440"/>
            <p:cNvPicPr>
              <a:picLocks/>
            </p:cNvPicPr>
            <p:nvPr/>
          </p:nvPicPr>
          <p:blipFill>
            <a:blip r:embed="rId9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510413" y="2697956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4" name="Picture 441"/>
            <p:cNvPicPr>
              <a:picLocks/>
            </p:cNvPicPr>
            <p:nvPr/>
          </p:nvPicPr>
          <p:blipFill>
            <a:blip r:embed="rId12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710628" y="2851072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5" name="Picture 442"/>
            <p:cNvPicPr>
              <a:picLocks/>
            </p:cNvPicPr>
            <p:nvPr/>
          </p:nvPicPr>
          <p:blipFill>
            <a:blip r:embed="rId20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499101" y="2921490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6" name="Picture 443"/>
            <p:cNvPicPr>
              <a:picLocks/>
            </p:cNvPicPr>
            <p:nvPr/>
          </p:nvPicPr>
          <p:blipFill>
            <a:blip r:embed="rId18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258010" y="2949332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7" name="Picture 444"/>
            <p:cNvPicPr>
              <a:picLocks/>
            </p:cNvPicPr>
            <p:nvPr/>
          </p:nvPicPr>
          <p:blipFill>
            <a:blip r:embed="rId13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607839" y="3102725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8" name="Picture 445"/>
            <p:cNvPicPr>
              <a:picLocks/>
            </p:cNvPicPr>
            <p:nvPr/>
          </p:nvPicPr>
          <p:blipFill>
            <a:blip r:embed="rId15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388594" y="3122195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52" name="Picture 447"/>
            <p:cNvPicPr>
              <a:picLocks/>
            </p:cNvPicPr>
            <p:nvPr/>
          </p:nvPicPr>
          <p:blipFill>
            <a:blip r:embed="rId12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081749" y="2742868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54" name="Picture 448"/>
            <p:cNvPicPr>
              <a:picLocks/>
            </p:cNvPicPr>
            <p:nvPr/>
          </p:nvPicPr>
          <p:blipFill>
            <a:blip r:embed="rId9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881248" y="2720690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55" name="Picture 449"/>
            <p:cNvPicPr>
              <a:picLocks/>
            </p:cNvPicPr>
            <p:nvPr/>
          </p:nvPicPr>
          <p:blipFill>
            <a:blip r:embed="rId15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952775" y="3089650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56" name="Picture 450"/>
            <p:cNvPicPr>
              <a:picLocks/>
            </p:cNvPicPr>
            <p:nvPr/>
          </p:nvPicPr>
          <p:blipFill>
            <a:blip r:embed="rId16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974468" y="2907307"/>
              <a:ext cx="201600" cy="201600"/>
            </a:xfrm>
            <a:prstGeom prst="rect">
              <a:avLst/>
            </a:prstGeom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257" name="Group 458"/>
            <p:cNvGrpSpPr/>
            <p:nvPr/>
          </p:nvGrpSpPr>
          <p:grpSpPr>
            <a:xfrm>
              <a:off x="11446102" y="4876582"/>
              <a:ext cx="760457" cy="903449"/>
              <a:chOff x="2759204" y="4739415"/>
              <a:chExt cx="760457" cy="903449"/>
            </a:xfrm>
          </p:grpSpPr>
          <p:pic>
            <p:nvPicPr>
              <p:cNvPr id="288" name="Picture 459"/>
              <p:cNvPicPr>
                <a:picLocks/>
              </p:cNvPicPr>
              <p:nvPr/>
            </p:nvPicPr>
            <p:blipFill>
              <a:blip r:embed="rId10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759204" y="5238093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89" name="Picture 460"/>
              <p:cNvPicPr>
                <a:picLocks/>
              </p:cNvPicPr>
              <p:nvPr/>
            </p:nvPicPr>
            <p:blipFill>
              <a:blip r:embed="rId1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289971" y="5441264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90" name="Picture 461"/>
              <p:cNvPicPr>
                <a:picLocks/>
              </p:cNvPicPr>
              <p:nvPr/>
            </p:nvPicPr>
            <p:blipFill>
              <a:blip r:embed="rId13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030650" y="5322569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91" name="Picture 462"/>
              <p:cNvPicPr>
                <a:picLocks/>
              </p:cNvPicPr>
              <p:nvPr/>
            </p:nvPicPr>
            <p:blipFill>
              <a:blip r:embed="rId17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865974" y="4739415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92" name="Picture 463"/>
              <p:cNvPicPr>
                <a:picLocks/>
              </p:cNvPicPr>
              <p:nvPr/>
            </p:nvPicPr>
            <p:blipFill>
              <a:blip r:embed="rId9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767798" y="4955239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93" name="Picture 464"/>
              <p:cNvPicPr>
                <a:picLocks/>
              </p:cNvPicPr>
              <p:nvPr/>
            </p:nvPicPr>
            <p:blipFill>
              <a:blip r:embed="rId20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026216" y="5033874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94" name="Picture 465"/>
              <p:cNvPicPr>
                <a:picLocks/>
              </p:cNvPicPr>
              <p:nvPr/>
            </p:nvPicPr>
            <p:blipFill>
              <a:blip r:embed="rId12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318061" y="5126927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258" name="Group 471"/>
            <p:cNvGrpSpPr/>
            <p:nvPr/>
          </p:nvGrpSpPr>
          <p:grpSpPr>
            <a:xfrm>
              <a:off x="9739107" y="4034459"/>
              <a:ext cx="512508" cy="985287"/>
              <a:chOff x="1052209" y="3897292"/>
              <a:chExt cx="512508" cy="985287"/>
            </a:xfrm>
          </p:grpSpPr>
          <p:pic>
            <p:nvPicPr>
              <p:cNvPr id="282" name="Picture 472"/>
              <p:cNvPicPr>
                <a:picLocks/>
              </p:cNvPicPr>
              <p:nvPr/>
            </p:nvPicPr>
            <p:blipFill>
              <a:blip r:embed="rId20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086181" y="4238365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84" name="Picture 473"/>
              <p:cNvPicPr>
                <a:picLocks/>
              </p:cNvPicPr>
              <p:nvPr/>
            </p:nvPicPr>
            <p:blipFill>
              <a:blip r:embed="rId12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363117" y="4073445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85" name="Picture 474"/>
              <p:cNvPicPr>
                <a:picLocks/>
              </p:cNvPicPr>
              <p:nvPr/>
            </p:nvPicPr>
            <p:blipFill>
              <a:blip r:embed="rId9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052209" y="4680979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86" name="Picture 475"/>
              <p:cNvPicPr>
                <a:picLocks/>
              </p:cNvPicPr>
              <p:nvPr/>
            </p:nvPicPr>
            <p:blipFill>
              <a:blip r:embed="rId13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292995" y="4439965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87" name="Picture 476"/>
              <p:cNvPicPr>
                <a:picLocks/>
              </p:cNvPicPr>
              <p:nvPr/>
            </p:nvPicPr>
            <p:blipFill>
              <a:blip r:embed="rId1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171302" y="3897292"/>
                <a:ext cx="201600" cy="201600"/>
              </a:xfrm>
              <a:prstGeom prst="rect">
                <a:avLst/>
              </a:prstGeom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259" name="Picture 26"/>
            <p:cNvPicPr>
              <a:picLocks noChangeAspect="1"/>
            </p:cNvPicPr>
            <p:nvPr/>
          </p:nvPicPr>
          <p:blipFill>
            <a:blip r:embed="rId21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1910421" y="4986125"/>
              <a:ext cx="201385" cy="2016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60" name="Picture 26"/>
            <p:cNvPicPr>
              <a:picLocks noChangeAspect="1"/>
            </p:cNvPicPr>
            <p:nvPr/>
          </p:nvPicPr>
          <p:blipFill>
            <a:blip r:embed="rId21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0036883" y="4890806"/>
              <a:ext cx="201385" cy="2016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61" name="Picture 26"/>
            <p:cNvPicPr>
              <a:picLocks noChangeAspect="1"/>
            </p:cNvPicPr>
            <p:nvPr/>
          </p:nvPicPr>
          <p:blipFill>
            <a:blip r:embed="rId21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1503617" y="3939842"/>
              <a:ext cx="201385" cy="2016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62" name="Picture 26"/>
            <p:cNvPicPr>
              <a:picLocks noChangeAspect="1"/>
            </p:cNvPicPr>
            <p:nvPr/>
          </p:nvPicPr>
          <p:blipFill>
            <a:blip r:embed="rId21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3388809" y="3330214"/>
              <a:ext cx="201385" cy="2016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63" name="Picture 26"/>
            <p:cNvPicPr>
              <a:picLocks noChangeAspect="1"/>
            </p:cNvPicPr>
            <p:nvPr/>
          </p:nvPicPr>
          <p:blipFill>
            <a:blip r:embed="rId21" cstate="print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152010" y="4759495"/>
              <a:ext cx="201385" cy="2016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64" name="Picture 47119"/>
            <p:cNvPicPr>
              <a:picLocks/>
            </p:cNvPicPr>
            <p:nvPr/>
          </p:nvPicPr>
          <p:blipFill>
            <a:blip r:embed="rId22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1779659" y="3218557"/>
              <a:ext cx="201600" cy="2016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265" name="Grupo 264"/>
            <p:cNvGrpSpPr/>
            <p:nvPr/>
          </p:nvGrpSpPr>
          <p:grpSpPr>
            <a:xfrm>
              <a:off x="9140337" y="1613373"/>
              <a:ext cx="2549414" cy="2345629"/>
              <a:chOff x="453439" y="1476206"/>
              <a:chExt cx="2549414" cy="2345629"/>
            </a:xfrm>
          </p:grpSpPr>
          <p:sp>
            <p:nvSpPr>
              <p:cNvPr id="269" name="Freeform 22"/>
              <p:cNvSpPr/>
              <p:nvPr/>
            </p:nvSpPr>
            <p:spPr bwMode="auto">
              <a:xfrm>
                <a:off x="453439" y="1476206"/>
                <a:ext cx="2549414" cy="2345629"/>
              </a:xfrm>
              <a:custGeom>
                <a:avLst/>
                <a:gdLst>
                  <a:gd name="connsiteX0" fmla="*/ 2590800 w 8608319"/>
                  <a:gd name="connsiteY0" fmla="*/ 6934200 h 7791450"/>
                  <a:gd name="connsiteX1" fmla="*/ 2647950 w 8608319"/>
                  <a:gd name="connsiteY1" fmla="*/ 6886575 h 7791450"/>
                  <a:gd name="connsiteX2" fmla="*/ 2667000 w 8608319"/>
                  <a:gd name="connsiteY2" fmla="*/ 6848475 h 7791450"/>
                  <a:gd name="connsiteX3" fmla="*/ 2743200 w 8608319"/>
                  <a:gd name="connsiteY3" fmla="*/ 6715125 h 7791450"/>
                  <a:gd name="connsiteX4" fmla="*/ 2752725 w 8608319"/>
                  <a:gd name="connsiteY4" fmla="*/ 6581775 h 7791450"/>
                  <a:gd name="connsiteX5" fmla="*/ 2771775 w 8608319"/>
                  <a:gd name="connsiteY5" fmla="*/ 6477000 h 7791450"/>
                  <a:gd name="connsiteX6" fmla="*/ 2781300 w 8608319"/>
                  <a:gd name="connsiteY6" fmla="*/ 6419850 h 7791450"/>
                  <a:gd name="connsiteX7" fmla="*/ 2800350 w 8608319"/>
                  <a:gd name="connsiteY7" fmla="*/ 6381750 h 7791450"/>
                  <a:gd name="connsiteX8" fmla="*/ 2809875 w 8608319"/>
                  <a:gd name="connsiteY8" fmla="*/ 6343650 h 7791450"/>
                  <a:gd name="connsiteX9" fmla="*/ 2847975 w 8608319"/>
                  <a:gd name="connsiteY9" fmla="*/ 6286500 h 7791450"/>
                  <a:gd name="connsiteX10" fmla="*/ 2857500 w 8608319"/>
                  <a:gd name="connsiteY10" fmla="*/ 6257925 h 7791450"/>
                  <a:gd name="connsiteX11" fmla="*/ 2886075 w 8608319"/>
                  <a:gd name="connsiteY11" fmla="*/ 6219825 h 7791450"/>
                  <a:gd name="connsiteX12" fmla="*/ 2905125 w 8608319"/>
                  <a:gd name="connsiteY12" fmla="*/ 6181725 h 7791450"/>
                  <a:gd name="connsiteX13" fmla="*/ 2914650 w 8608319"/>
                  <a:gd name="connsiteY13" fmla="*/ 6153150 h 7791450"/>
                  <a:gd name="connsiteX14" fmla="*/ 2943225 w 8608319"/>
                  <a:gd name="connsiteY14" fmla="*/ 6124575 h 7791450"/>
                  <a:gd name="connsiteX15" fmla="*/ 2990850 w 8608319"/>
                  <a:gd name="connsiteY15" fmla="*/ 6038850 h 7791450"/>
                  <a:gd name="connsiteX16" fmla="*/ 2981325 w 8608319"/>
                  <a:gd name="connsiteY16" fmla="*/ 5981700 h 7791450"/>
                  <a:gd name="connsiteX17" fmla="*/ 2952750 w 8608319"/>
                  <a:gd name="connsiteY17" fmla="*/ 5962650 h 7791450"/>
                  <a:gd name="connsiteX18" fmla="*/ 2981325 w 8608319"/>
                  <a:gd name="connsiteY18" fmla="*/ 5857875 h 7791450"/>
                  <a:gd name="connsiteX19" fmla="*/ 3019425 w 8608319"/>
                  <a:gd name="connsiteY19" fmla="*/ 5848350 h 7791450"/>
                  <a:gd name="connsiteX20" fmla="*/ 3048000 w 8608319"/>
                  <a:gd name="connsiteY20" fmla="*/ 5838825 h 7791450"/>
                  <a:gd name="connsiteX21" fmla="*/ 3076575 w 8608319"/>
                  <a:gd name="connsiteY21" fmla="*/ 5819775 h 7791450"/>
                  <a:gd name="connsiteX22" fmla="*/ 3114675 w 8608319"/>
                  <a:gd name="connsiteY22" fmla="*/ 5800725 h 7791450"/>
                  <a:gd name="connsiteX23" fmla="*/ 3133725 w 8608319"/>
                  <a:gd name="connsiteY23" fmla="*/ 5772150 h 7791450"/>
                  <a:gd name="connsiteX24" fmla="*/ 3219450 w 8608319"/>
                  <a:gd name="connsiteY24" fmla="*/ 5705475 h 7791450"/>
                  <a:gd name="connsiteX25" fmla="*/ 3257550 w 8608319"/>
                  <a:gd name="connsiteY25" fmla="*/ 5695950 h 7791450"/>
                  <a:gd name="connsiteX26" fmla="*/ 3286125 w 8608319"/>
                  <a:gd name="connsiteY26" fmla="*/ 5676900 h 7791450"/>
                  <a:gd name="connsiteX27" fmla="*/ 3333750 w 8608319"/>
                  <a:gd name="connsiteY27" fmla="*/ 5619750 h 7791450"/>
                  <a:gd name="connsiteX28" fmla="*/ 3343275 w 8608319"/>
                  <a:gd name="connsiteY28" fmla="*/ 5591175 h 7791450"/>
                  <a:gd name="connsiteX29" fmla="*/ 3362325 w 8608319"/>
                  <a:gd name="connsiteY29" fmla="*/ 5562600 h 7791450"/>
                  <a:gd name="connsiteX30" fmla="*/ 3371850 w 8608319"/>
                  <a:gd name="connsiteY30" fmla="*/ 5534025 h 7791450"/>
                  <a:gd name="connsiteX31" fmla="*/ 3390900 w 8608319"/>
                  <a:gd name="connsiteY31" fmla="*/ 5505450 h 7791450"/>
                  <a:gd name="connsiteX32" fmla="*/ 3314700 w 8608319"/>
                  <a:gd name="connsiteY32" fmla="*/ 5514975 h 7791450"/>
                  <a:gd name="connsiteX33" fmla="*/ 3228975 w 8608319"/>
                  <a:gd name="connsiteY33" fmla="*/ 5562600 h 7791450"/>
                  <a:gd name="connsiteX34" fmla="*/ 3143250 w 8608319"/>
                  <a:gd name="connsiteY34" fmla="*/ 5619750 h 7791450"/>
                  <a:gd name="connsiteX35" fmla="*/ 3114675 w 8608319"/>
                  <a:gd name="connsiteY35" fmla="*/ 5648325 h 7791450"/>
                  <a:gd name="connsiteX36" fmla="*/ 3086100 w 8608319"/>
                  <a:gd name="connsiteY36" fmla="*/ 5657850 h 7791450"/>
                  <a:gd name="connsiteX37" fmla="*/ 3028950 w 8608319"/>
                  <a:gd name="connsiteY37" fmla="*/ 5667375 h 7791450"/>
                  <a:gd name="connsiteX38" fmla="*/ 2990850 w 8608319"/>
                  <a:gd name="connsiteY38" fmla="*/ 5676900 h 7791450"/>
                  <a:gd name="connsiteX39" fmla="*/ 2886075 w 8608319"/>
                  <a:gd name="connsiteY39" fmla="*/ 5667375 h 7791450"/>
                  <a:gd name="connsiteX40" fmla="*/ 2847975 w 8608319"/>
                  <a:gd name="connsiteY40" fmla="*/ 5657850 h 7791450"/>
                  <a:gd name="connsiteX41" fmla="*/ 2809875 w 8608319"/>
                  <a:gd name="connsiteY41" fmla="*/ 5667375 h 7791450"/>
                  <a:gd name="connsiteX42" fmla="*/ 2752725 w 8608319"/>
                  <a:gd name="connsiteY42" fmla="*/ 5705475 h 7791450"/>
                  <a:gd name="connsiteX43" fmla="*/ 2695575 w 8608319"/>
                  <a:gd name="connsiteY43" fmla="*/ 5734050 h 7791450"/>
                  <a:gd name="connsiteX44" fmla="*/ 2667000 w 8608319"/>
                  <a:gd name="connsiteY44" fmla="*/ 5715000 h 7791450"/>
                  <a:gd name="connsiteX45" fmla="*/ 2600325 w 8608319"/>
                  <a:gd name="connsiteY45" fmla="*/ 5695950 h 7791450"/>
                  <a:gd name="connsiteX46" fmla="*/ 2571750 w 8608319"/>
                  <a:gd name="connsiteY46" fmla="*/ 5686425 h 7791450"/>
                  <a:gd name="connsiteX47" fmla="*/ 2543175 w 8608319"/>
                  <a:gd name="connsiteY47" fmla="*/ 5667375 h 7791450"/>
                  <a:gd name="connsiteX48" fmla="*/ 2590800 w 8608319"/>
                  <a:gd name="connsiteY48" fmla="*/ 5629275 h 7791450"/>
                  <a:gd name="connsiteX49" fmla="*/ 2619375 w 8608319"/>
                  <a:gd name="connsiteY49" fmla="*/ 5600700 h 7791450"/>
                  <a:gd name="connsiteX50" fmla="*/ 2619375 w 8608319"/>
                  <a:gd name="connsiteY50" fmla="*/ 5476875 h 7791450"/>
                  <a:gd name="connsiteX51" fmla="*/ 2552700 w 8608319"/>
                  <a:gd name="connsiteY51" fmla="*/ 5495925 h 7791450"/>
                  <a:gd name="connsiteX52" fmla="*/ 2514600 w 8608319"/>
                  <a:gd name="connsiteY52" fmla="*/ 5505450 h 7791450"/>
                  <a:gd name="connsiteX53" fmla="*/ 2447925 w 8608319"/>
                  <a:gd name="connsiteY53" fmla="*/ 5486400 h 7791450"/>
                  <a:gd name="connsiteX54" fmla="*/ 2419350 w 8608319"/>
                  <a:gd name="connsiteY54" fmla="*/ 5476875 h 7791450"/>
                  <a:gd name="connsiteX55" fmla="*/ 2333625 w 8608319"/>
                  <a:gd name="connsiteY55" fmla="*/ 5400675 h 7791450"/>
                  <a:gd name="connsiteX56" fmla="*/ 2286000 w 8608319"/>
                  <a:gd name="connsiteY56" fmla="*/ 5343525 h 7791450"/>
                  <a:gd name="connsiteX57" fmla="*/ 2257425 w 8608319"/>
                  <a:gd name="connsiteY57" fmla="*/ 5314950 h 7791450"/>
                  <a:gd name="connsiteX58" fmla="*/ 2247900 w 8608319"/>
                  <a:gd name="connsiteY58" fmla="*/ 5286375 h 7791450"/>
                  <a:gd name="connsiteX59" fmla="*/ 2238375 w 8608319"/>
                  <a:gd name="connsiteY59" fmla="*/ 5248275 h 7791450"/>
                  <a:gd name="connsiteX60" fmla="*/ 2209800 w 8608319"/>
                  <a:gd name="connsiteY60" fmla="*/ 5219700 h 7791450"/>
                  <a:gd name="connsiteX61" fmla="*/ 2190750 w 8608319"/>
                  <a:gd name="connsiteY61" fmla="*/ 5191125 h 7791450"/>
                  <a:gd name="connsiteX62" fmla="*/ 2124075 w 8608319"/>
                  <a:gd name="connsiteY62" fmla="*/ 5172075 h 7791450"/>
                  <a:gd name="connsiteX63" fmla="*/ 2057400 w 8608319"/>
                  <a:gd name="connsiteY63" fmla="*/ 5153025 h 7791450"/>
                  <a:gd name="connsiteX64" fmla="*/ 1981200 w 8608319"/>
                  <a:gd name="connsiteY64" fmla="*/ 5133975 h 7791450"/>
                  <a:gd name="connsiteX65" fmla="*/ 1819275 w 8608319"/>
                  <a:gd name="connsiteY65" fmla="*/ 5124450 h 7791450"/>
                  <a:gd name="connsiteX66" fmla="*/ 1752600 w 8608319"/>
                  <a:gd name="connsiteY66" fmla="*/ 5095875 h 7791450"/>
                  <a:gd name="connsiteX67" fmla="*/ 1704975 w 8608319"/>
                  <a:gd name="connsiteY67" fmla="*/ 5076825 h 7791450"/>
                  <a:gd name="connsiteX68" fmla="*/ 1685925 w 8608319"/>
                  <a:gd name="connsiteY68" fmla="*/ 5048250 h 7791450"/>
                  <a:gd name="connsiteX69" fmla="*/ 1657350 w 8608319"/>
                  <a:gd name="connsiteY69" fmla="*/ 5038725 h 7791450"/>
                  <a:gd name="connsiteX70" fmla="*/ 1628775 w 8608319"/>
                  <a:gd name="connsiteY70" fmla="*/ 5019675 h 7791450"/>
                  <a:gd name="connsiteX71" fmla="*/ 1562100 w 8608319"/>
                  <a:gd name="connsiteY71" fmla="*/ 4962525 h 7791450"/>
                  <a:gd name="connsiteX72" fmla="*/ 1409700 w 8608319"/>
                  <a:gd name="connsiteY72" fmla="*/ 4953000 h 7791450"/>
                  <a:gd name="connsiteX73" fmla="*/ 1400175 w 8608319"/>
                  <a:gd name="connsiteY73" fmla="*/ 4924425 h 7791450"/>
                  <a:gd name="connsiteX74" fmla="*/ 1390650 w 8608319"/>
                  <a:gd name="connsiteY74" fmla="*/ 4867275 h 7791450"/>
                  <a:gd name="connsiteX75" fmla="*/ 1362075 w 8608319"/>
                  <a:gd name="connsiteY75" fmla="*/ 4857750 h 7791450"/>
                  <a:gd name="connsiteX76" fmla="*/ 1295400 w 8608319"/>
                  <a:gd name="connsiteY76" fmla="*/ 4791075 h 7791450"/>
                  <a:gd name="connsiteX77" fmla="*/ 1238250 w 8608319"/>
                  <a:gd name="connsiteY77" fmla="*/ 4743450 h 7791450"/>
                  <a:gd name="connsiteX78" fmla="*/ 1190625 w 8608319"/>
                  <a:gd name="connsiteY78" fmla="*/ 4733925 h 7791450"/>
                  <a:gd name="connsiteX79" fmla="*/ 1076325 w 8608319"/>
                  <a:gd name="connsiteY79" fmla="*/ 4667250 h 7791450"/>
                  <a:gd name="connsiteX80" fmla="*/ 1085850 w 8608319"/>
                  <a:gd name="connsiteY80" fmla="*/ 4629150 h 7791450"/>
                  <a:gd name="connsiteX81" fmla="*/ 1104900 w 8608319"/>
                  <a:gd name="connsiteY81" fmla="*/ 4591050 h 7791450"/>
                  <a:gd name="connsiteX82" fmla="*/ 1076325 w 8608319"/>
                  <a:gd name="connsiteY82" fmla="*/ 4476750 h 7791450"/>
                  <a:gd name="connsiteX83" fmla="*/ 1066800 w 8608319"/>
                  <a:gd name="connsiteY83" fmla="*/ 4448175 h 7791450"/>
                  <a:gd name="connsiteX84" fmla="*/ 1038225 w 8608319"/>
                  <a:gd name="connsiteY84" fmla="*/ 4438650 h 7791450"/>
                  <a:gd name="connsiteX85" fmla="*/ 971550 w 8608319"/>
                  <a:gd name="connsiteY85" fmla="*/ 4448175 h 7791450"/>
                  <a:gd name="connsiteX86" fmla="*/ 942975 w 8608319"/>
                  <a:gd name="connsiteY86" fmla="*/ 4457700 h 7791450"/>
                  <a:gd name="connsiteX87" fmla="*/ 923925 w 8608319"/>
                  <a:gd name="connsiteY87" fmla="*/ 4486275 h 7791450"/>
                  <a:gd name="connsiteX88" fmla="*/ 914400 w 8608319"/>
                  <a:gd name="connsiteY88" fmla="*/ 4524375 h 7791450"/>
                  <a:gd name="connsiteX89" fmla="*/ 866775 w 8608319"/>
                  <a:gd name="connsiteY89" fmla="*/ 4514850 h 7791450"/>
                  <a:gd name="connsiteX90" fmla="*/ 857250 w 8608319"/>
                  <a:gd name="connsiteY90" fmla="*/ 4486275 h 7791450"/>
                  <a:gd name="connsiteX91" fmla="*/ 828675 w 8608319"/>
                  <a:gd name="connsiteY91" fmla="*/ 4457700 h 7791450"/>
                  <a:gd name="connsiteX92" fmla="*/ 809625 w 8608319"/>
                  <a:gd name="connsiteY92" fmla="*/ 4429125 h 7791450"/>
                  <a:gd name="connsiteX93" fmla="*/ 828675 w 8608319"/>
                  <a:gd name="connsiteY93" fmla="*/ 4495800 h 7791450"/>
                  <a:gd name="connsiteX94" fmla="*/ 914400 w 8608319"/>
                  <a:gd name="connsiteY94" fmla="*/ 4562475 h 7791450"/>
                  <a:gd name="connsiteX95" fmla="*/ 981075 w 8608319"/>
                  <a:gd name="connsiteY95" fmla="*/ 4638675 h 7791450"/>
                  <a:gd name="connsiteX96" fmla="*/ 942975 w 8608319"/>
                  <a:gd name="connsiteY96" fmla="*/ 4657725 h 7791450"/>
                  <a:gd name="connsiteX97" fmla="*/ 838200 w 8608319"/>
                  <a:gd name="connsiteY97" fmla="*/ 4638675 h 7791450"/>
                  <a:gd name="connsiteX98" fmla="*/ 809625 w 8608319"/>
                  <a:gd name="connsiteY98" fmla="*/ 4610100 h 7791450"/>
                  <a:gd name="connsiteX99" fmla="*/ 800100 w 8608319"/>
                  <a:gd name="connsiteY99" fmla="*/ 4572000 h 7791450"/>
                  <a:gd name="connsiteX100" fmla="*/ 790575 w 8608319"/>
                  <a:gd name="connsiteY100" fmla="*/ 4543425 h 7791450"/>
                  <a:gd name="connsiteX101" fmla="*/ 800100 w 8608319"/>
                  <a:gd name="connsiteY101" fmla="*/ 4457700 h 7791450"/>
                  <a:gd name="connsiteX102" fmla="*/ 733425 w 8608319"/>
                  <a:gd name="connsiteY102" fmla="*/ 4438650 h 7791450"/>
                  <a:gd name="connsiteX103" fmla="*/ 676275 w 8608319"/>
                  <a:gd name="connsiteY103" fmla="*/ 4419600 h 7791450"/>
                  <a:gd name="connsiteX104" fmla="*/ 647700 w 8608319"/>
                  <a:gd name="connsiteY104" fmla="*/ 4410075 h 7791450"/>
                  <a:gd name="connsiteX105" fmla="*/ 590550 w 8608319"/>
                  <a:gd name="connsiteY105" fmla="*/ 4333875 h 7791450"/>
                  <a:gd name="connsiteX106" fmla="*/ 542925 w 8608319"/>
                  <a:gd name="connsiteY106" fmla="*/ 4248150 h 7791450"/>
                  <a:gd name="connsiteX107" fmla="*/ 552450 w 8608319"/>
                  <a:gd name="connsiteY107" fmla="*/ 4171950 h 7791450"/>
                  <a:gd name="connsiteX108" fmla="*/ 542925 w 8608319"/>
                  <a:gd name="connsiteY108" fmla="*/ 4143375 h 7791450"/>
                  <a:gd name="connsiteX109" fmla="*/ 495300 w 8608319"/>
                  <a:gd name="connsiteY109" fmla="*/ 4086225 h 7791450"/>
                  <a:gd name="connsiteX110" fmla="*/ 457200 w 8608319"/>
                  <a:gd name="connsiteY110" fmla="*/ 4076700 h 7791450"/>
                  <a:gd name="connsiteX111" fmla="*/ 400050 w 8608319"/>
                  <a:gd name="connsiteY111" fmla="*/ 4029075 h 7791450"/>
                  <a:gd name="connsiteX112" fmla="*/ 371475 w 8608319"/>
                  <a:gd name="connsiteY112" fmla="*/ 4000500 h 7791450"/>
                  <a:gd name="connsiteX113" fmla="*/ 304800 w 8608319"/>
                  <a:gd name="connsiteY113" fmla="*/ 3952875 h 7791450"/>
                  <a:gd name="connsiteX114" fmla="*/ 276225 w 8608319"/>
                  <a:gd name="connsiteY114" fmla="*/ 3943350 h 7791450"/>
                  <a:gd name="connsiteX115" fmla="*/ 247650 w 8608319"/>
                  <a:gd name="connsiteY115" fmla="*/ 3762375 h 7791450"/>
                  <a:gd name="connsiteX116" fmla="*/ 228600 w 8608319"/>
                  <a:gd name="connsiteY116" fmla="*/ 3629025 h 7791450"/>
                  <a:gd name="connsiteX117" fmla="*/ 190500 w 8608319"/>
                  <a:gd name="connsiteY117" fmla="*/ 3571875 h 7791450"/>
                  <a:gd name="connsiteX118" fmla="*/ 133350 w 8608319"/>
                  <a:gd name="connsiteY118" fmla="*/ 3552825 h 7791450"/>
                  <a:gd name="connsiteX119" fmla="*/ 104775 w 8608319"/>
                  <a:gd name="connsiteY119" fmla="*/ 3543300 h 7791450"/>
                  <a:gd name="connsiteX120" fmla="*/ 95250 w 8608319"/>
                  <a:gd name="connsiteY120" fmla="*/ 3505200 h 7791450"/>
                  <a:gd name="connsiteX121" fmla="*/ 76200 w 8608319"/>
                  <a:gd name="connsiteY121" fmla="*/ 3362325 h 7791450"/>
                  <a:gd name="connsiteX122" fmla="*/ 66675 w 8608319"/>
                  <a:gd name="connsiteY122" fmla="*/ 3305175 h 7791450"/>
                  <a:gd name="connsiteX123" fmla="*/ 57150 w 8608319"/>
                  <a:gd name="connsiteY123" fmla="*/ 3276600 h 7791450"/>
                  <a:gd name="connsiteX124" fmla="*/ 47625 w 8608319"/>
                  <a:gd name="connsiteY124" fmla="*/ 3238500 h 7791450"/>
                  <a:gd name="connsiteX125" fmla="*/ 28575 w 8608319"/>
                  <a:gd name="connsiteY125" fmla="*/ 3209925 h 7791450"/>
                  <a:gd name="connsiteX126" fmla="*/ 9525 w 8608319"/>
                  <a:gd name="connsiteY126" fmla="*/ 3152775 h 7791450"/>
                  <a:gd name="connsiteX127" fmla="*/ 0 w 8608319"/>
                  <a:gd name="connsiteY127" fmla="*/ 3124200 h 7791450"/>
                  <a:gd name="connsiteX128" fmla="*/ 9525 w 8608319"/>
                  <a:gd name="connsiteY128" fmla="*/ 2838450 h 7791450"/>
                  <a:gd name="connsiteX129" fmla="*/ 28575 w 8608319"/>
                  <a:gd name="connsiteY129" fmla="*/ 2733675 h 7791450"/>
                  <a:gd name="connsiteX130" fmla="*/ 47625 w 8608319"/>
                  <a:gd name="connsiteY130" fmla="*/ 2628900 h 7791450"/>
                  <a:gd name="connsiteX131" fmla="*/ 38100 w 8608319"/>
                  <a:gd name="connsiteY131" fmla="*/ 2438400 h 7791450"/>
                  <a:gd name="connsiteX132" fmla="*/ 28575 w 8608319"/>
                  <a:gd name="connsiteY132" fmla="*/ 2400300 h 7791450"/>
                  <a:gd name="connsiteX133" fmla="*/ 19050 w 8608319"/>
                  <a:gd name="connsiteY133" fmla="*/ 2343150 h 7791450"/>
                  <a:gd name="connsiteX134" fmla="*/ 28575 w 8608319"/>
                  <a:gd name="connsiteY134" fmla="*/ 2171700 h 7791450"/>
                  <a:gd name="connsiteX135" fmla="*/ 38100 w 8608319"/>
                  <a:gd name="connsiteY135" fmla="*/ 2076450 h 7791450"/>
                  <a:gd name="connsiteX136" fmla="*/ 19050 w 8608319"/>
                  <a:gd name="connsiteY136" fmla="*/ 1762125 h 7791450"/>
                  <a:gd name="connsiteX137" fmla="*/ 28575 w 8608319"/>
                  <a:gd name="connsiteY137" fmla="*/ 1657350 h 7791450"/>
                  <a:gd name="connsiteX138" fmla="*/ 85725 w 8608319"/>
                  <a:gd name="connsiteY138" fmla="*/ 1666875 h 7791450"/>
                  <a:gd name="connsiteX139" fmla="*/ 114300 w 8608319"/>
                  <a:gd name="connsiteY139" fmla="*/ 1685925 h 7791450"/>
                  <a:gd name="connsiteX140" fmla="*/ 180975 w 8608319"/>
                  <a:gd name="connsiteY140" fmla="*/ 1704975 h 7791450"/>
                  <a:gd name="connsiteX141" fmla="*/ 285750 w 8608319"/>
                  <a:gd name="connsiteY141" fmla="*/ 1695450 h 7791450"/>
                  <a:gd name="connsiteX142" fmla="*/ 304800 w 8608319"/>
                  <a:gd name="connsiteY142" fmla="*/ 1666875 h 7791450"/>
                  <a:gd name="connsiteX143" fmla="*/ 285750 w 8608319"/>
                  <a:gd name="connsiteY143" fmla="*/ 1609725 h 7791450"/>
                  <a:gd name="connsiteX144" fmla="*/ 485775 w 8608319"/>
                  <a:gd name="connsiteY144" fmla="*/ 1571625 h 7791450"/>
                  <a:gd name="connsiteX145" fmla="*/ 514350 w 8608319"/>
                  <a:gd name="connsiteY145" fmla="*/ 1552575 h 7791450"/>
                  <a:gd name="connsiteX146" fmla="*/ 523875 w 8608319"/>
                  <a:gd name="connsiteY146" fmla="*/ 1524000 h 7791450"/>
                  <a:gd name="connsiteX147" fmla="*/ 542925 w 8608319"/>
                  <a:gd name="connsiteY147" fmla="*/ 1485900 h 7791450"/>
                  <a:gd name="connsiteX148" fmla="*/ 552450 w 8608319"/>
                  <a:gd name="connsiteY148" fmla="*/ 1438275 h 7791450"/>
                  <a:gd name="connsiteX149" fmla="*/ 533400 w 8608319"/>
                  <a:gd name="connsiteY149" fmla="*/ 1352550 h 7791450"/>
                  <a:gd name="connsiteX150" fmla="*/ 523875 w 8608319"/>
                  <a:gd name="connsiteY150" fmla="*/ 1323975 h 7791450"/>
                  <a:gd name="connsiteX151" fmla="*/ 714375 w 8608319"/>
                  <a:gd name="connsiteY151" fmla="*/ 1285875 h 7791450"/>
                  <a:gd name="connsiteX152" fmla="*/ 723900 w 8608319"/>
                  <a:gd name="connsiteY152" fmla="*/ 1247775 h 7791450"/>
                  <a:gd name="connsiteX153" fmla="*/ 781050 w 8608319"/>
                  <a:gd name="connsiteY153" fmla="*/ 1219200 h 7791450"/>
                  <a:gd name="connsiteX154" fmla="*/ 933450 w 8608319"/>
                  <a:gd name="connsiteY154" fmla="*/ 1228725 h 7791450"/>
                  <a:gd name="connsiteX155" fmla="*/ 962025 w 8608319"/>
                  <a:gd name="connsiteY155" fmla="*/ 1257300 h 7791450"/>
                  <a:gd name="connsiteX156" fmla="*/ 990600 w 8608319"/>
                  <a:gd name="connsiteY156" fmla="*/ 1266825 h 7791450"/>
                  <a:gd name="connsiteX157" fmla="*/ 1066800 w 8608319"/>
                  <a:gd name="connsiteY157" fmla="*/ 1295400 h 7791450"/>
                  <a:gd name="connsiteX158" fmla="*/ 1143000 w 8608319"/>
                  <a:gd name="connsiteY158" fmla="*/ 1285875 h 7791450"/>
                  <a:gd name="connsiteX159" fmla="*/ 1171575 w 8608319"/>
                  <a:gd name="connsiteY159" fmla="*/ 1276350 h 7791450"/>
                  <a:gd name="connsiteX160" fmla="*/ 1152525 w 8608319"/>
                  <a:gd name="connsiteY160" fmla="*/ 1200150 h 7791450"/>
                  <a:gd name="connsiteX161" fmla="*/ 1143000 w 8608319"/>
                  <a:gd name="connsiteY161" fmla="*/ 1171575 h 7791450"/>
                  <a:gd name="connsiteX162" fmla="*/ 1114425 w 8608319"/>
                  <a:gd name="connsiteY162" fmla="*/ 1143000 h 7791450"/>
                  <a:gd name="connsiteX163" fmla="*/ 1362075 w 8608319"/>
                  <a:gd name="connsiteY163" fmla="*/ 1114425 h 7791450"/>
                  <a:gd name="connsiteX164" fmla="*/ 1390650 w 8608319"/>
                  <a:gd name="connsiteY164" fmla="*/ 1085850 h 7791450"/>
                  <a:gd name="connsiteX165" fmla="*/ 1419225 w 8608319"/>
                  <a:gd name="connsiteY165" fmla="*/ 1076325 h 7791450"/>
                  <a:gd name="connsiteX166" fmla="*/ 1447800 w 8608319"/>
                  <a:gd name="connsiteY166" fmla="*/ 1047750 h 7791450"/>
                  <a:gd name="connsiteX167" fmla="*/ 1524000 w 8608319"/>
                  <a:gd name="connsiteY167" fmla="*/ 1038225 h 7791450"/>
                  <a:gd name="connsiteX168" fmla="*/ 1695450 w 8608319"/>
                  <a:gd name="connsiteY168" fmla="*/ 1028700 h 7791450"/>
                  <a:gd name="connsiteX169" fmla="*/ 1724025 w 8608319"/>
                  <a:gd name="connsiteY169" fmla="*/ 990600 h 7791450"/>
                  <a:gd name="connsiteX170" fmla="*/ 1752600 w 8608319"/>
                  <a:gd name="connsiteY170" fmla="*/ 885825 h 7791450"/>
                  <a:gd name="connsiteX171" fmla="*/ 1762125 w 8608319"/>
                  <a:gd name="connsiteY171" fmla="*/ 838200 h 7791450"/>
                  <a:gd name="connsiteX172" fmla="*/ 1809750 w 8608319"/>
                  <a:gd name="connsiteY172" fmla="*/ 771525 h 7791450"/>
                  <a:gd name="connsiteX173" fmla="*/ 1838325 w 8608319"/>
                  <a:gd name="connsiteY173" fmla="*/ 752475 h 7791450"/>
                  <a:gd name="connsiteX174" fmla="*/ 1895475 w 8608319"/>
                  <a:gd name="connsiteY174" fmla="*/ 704850 h 7791450"/>
                  <a:gd name="connsiteX175" fmla="*/ 1962150 w 8608319"/>
                  <a:gd name="connsiteY175" fmla="*/ 723900 h 7791450"/>
                  <a:gd name="connsiteX176" fmla="*/ 1990725 w 8608319"/>
                  <a:gd name="connsiteY176" fmla="*/ 742950 h 7791450"/>
                  <a:gd name="connsiteX177" fmla="*/ 2019300 w 8608319"/>
                  <a:gd name="connsiteY177" fmla="*/ 752475 h 7791450"/>
                  <a:gd name="connsiteX178" fmla="*/ 2114550 w 8608319"/>
                  <a:gd name="connsiteY178" fmla="*/ 704850 h 7791450"/>
                  <a:gd name="connsiteX179" fmla="*/ 2152650 w 8608319"/>
                  <a:gd name="connsiteY179" fmla="*/ 685800 h 7791450"/>
                  <a:gd name="connsiteX180" fmla="*/ 2209800 w 8608319"/>
                  <a:gd name="connsiteY180" fmla="*/ 647700 h 7791450"/>
                  <a:gd name="connsiteX181" fmla="*/ 2238375 w 8608319"/>
                  <a:gd name="connsiteY181" fmla="*/ 676275 h 7791450"/>
                  <a:gd name="connsiteX182" fmla="*/ 2247900 w 8608319"/>
                  <a:gd name="connsiteY182" fmla="*/ 733425 h 7791450"/>
                  <a:gd name="connsiteX183" fmla="*/ 2381250 w 8608319"/>
                  <a:gd name="connsiteY183" fmla="*/ 781050 h 7791450"/>
                  <a:gd name="connsiteX184" fmla="*/ 2447925 w 8608319"/>
                  <a:gd name="connsiteY184" fmla="*/ 800100 h 7791450"/>
                  <a:gd name="connsiteX185" fmla="*/ 2466975 w 8608319"/>
                  <a:gd name="connsiteY185" fmla="*/ 828675 h 7791450"/>
                  <a:gd name="connsiteX186" fmla="*/ 2524125 w 8608319"/>
                  <a:gd name="connsiteY186" fmla="*/ 847725 h 7791450"/>
                  <a:gd name="connsiteX187" fmla="*/ 2609850 w 8608319"/>
                  <a:gd name="connsiteY187" fmla="*/ 838200 h 7791450"/>
                  <a:gd name="connsiteX188" fmla="*/ 2647950 w 8608319"/>
                  <a:gd name="connsiteY188" fmla="*/ 781050 h 7791450"/>
                  <a:gd name="connsiteX189" fmla="*/ 2762250 w 8608319"/>
                  <a:gd name="connsiteY189" fmla="*/ 762000 h 7791450"/>
                  <a:gd name="connsiteX190" fmla="*/ 2790825 w 8608319"/>
                  <a:gd name="connsiteY190" fmla="*/ 771525 h 7791450"/>
                  <a:gd name="connsiteX191" fmla="*/ 2886075 w 8608319"/>
                  <a:gd name="connsiteY191" fmla="*/ 752475 h 7791450"/>
                  <a:gd name="connsiteX192" fmla="*/ 2914650 w 8608319"/>
                  <a:gd name="connsiteY192" fmla="*/ 723900 h 7791450"/>
                  <a:gd name="connsiteX193" fmla="*/ 2943225 w 8608319"/>
                  <a:gd name="connsiteY193" fmla="*/ 733425 h 7791450"/>
                  <a:gd name="connsiteX194" fmla="*/ 3000375 w 8608319"/>
                  <a:gd name="connsiteY194" fmla="*/ 771525 h 7791450"/>
                  <a:gd name="connsiteX195" fmla="*/ 3057525 w 8608319"/>
                  <a:gd name="connsiteY195" fmla="*/ 781050 h 7791450"/>
                  <a:gd name="connsiteX196" fmla="*/ 3219450 w 8608319"/>
                  <a:gd name="connsiteY196" fmla="*/ 790575 h 7791450"/>
                  <a:gd name="connsiteX197" fmla="*/ 3257550 w 8608319"/>
                  <a:gd name="connsiteY197" fmla="*/ 800100 h 7791450"/>
                  <a:gd name="connsiteX198" fmla="*/ 3314700 w 8608319"/>
                  <a:gd name="connsiteY198" fmla="*/ 819150 h 7791450"/>
                  <a:gd name="connsiteX199" fmla="*/ 3390900 w 8608319"/>
                  <a:gd name="connsiteY199" fmla="*/ 828675 h 7791450"/>
                  <a:gd name="connsiteX200" fmla="*/ 3419475 w 8608319"/>
                  <a:gd name="connsiteY200" fmla="*/ 838200 h 7791450"/>
                  <a:gd name="connsiteX201" fmla="*/ 3457575 w 8608319"/>
                  <a:gd name="connsiteY201" fmla="*/ 847725 h 7791450"/>
                  <a:gd name="connsiteX202" fmla="*/ 3486150 w 8608319"/>
                  <a:gd name="connsiteY202" fmla="*/ 866775 h 7791450"/>
                  <a:gd name="connsiteX203" fmla="*/ 3514725 w 8608319"/>
                  <a:gd name="connsiteY203" fmla="*/ 876300 h 7791450"/>
                  <a:gd name="connsiteX204" fmla="*/ 3600450 w 8608319"/>
                  <a:gd name="connsiteY204" fmla="*/ 857250 h 7791450"/>
                  <a:gd name="connsiteX205" fmla="*/ 3619500 w 8608319"/>
                  <a:gd name="connsiteY205" fmla="*/ 828675 h 7791450"/>
                  <a:gd name="connsiteX206" fmla="*/ 3609975 w 8608319"/>
                  <a:gd name="connsiteY206" fmla="*/ 790575 h 7791450"/>
                  <a:gd name="connsiteX207" fmla="*/ 3543300 w 8608319"/>
                  <a:gd name="connsiteY207" fmla="*/ 742950 h 7791450"/>
                  <a:gd name="connsiteX208" fmla="*/ 3552825 w 8608319"/>
                  <a:gd name="connsiteY208" fmla="*/ 704850 h 7791450"/>
                  <a:gd name="connsiteX209" fmla="*/ 3600450 w 8608319"/>
                  <a:gd name="connsiteY209" fmla="*/ 638175 h 7791450"/>
                  <a:gd name="connsiteX210" fmla="*/ 3590925 w 8608319"/>
                  <a:gd name="connsiteY210" fmla="*/ 561975 h 7791450"/>
                  <a:gd name="connsiteX211" fmla="*/ 3552825 w 8608319"/>
                  <a:gd name="connsiteY211" fmla="*/ 552450 h 7791450"/>
                  <a:gd name="connsiteX212" fmla="*/ 3524250 w 8608319"/>
                  <a:gd name="connsiteY212" fmla="*/ 533400 h 7791450"/>
                  <a:gd name="connsiteX213" fmla="*/ 3409950 w 8608319"/>
                  <a:gd name="connsiteY213" fmla="*/ 514350 h 7791450"/>
                  <a:gd name="connsiteX214" fmla="*/ 3400425 w 8608319"/>
                  <a:gd name="connsiteY214" fmla="*/ 485775 h 7791450"/>
                  <a:gd name="connsiteX215" fmla="*/ 3400425 w 8608319"/>
                  <a:gd name="connsiteY215" fmla="*/ 371475 h 7791450"/>
                  <a:gd name="connsiteX216" fmla="*/ 3438525 w 8608319"/>
                  <a:gd name="connsiteY216" fmla="*/ 295275 h 7791450"/>
                  <a:gd name="connsiteX217" fmla="*/ 3486150 w 8608319"/>
                  <a:gd name="connsiteY217" fmla="*/ 238125 h 7791450"/>
                  <a:gd name="connsiteX218" fmla="*/ 3505200 w 8608319"/>
                  <a:gd name="connsiteY218" fmla="*/ 190500 h 7791450"/>
                  <a:gd name="connsiteX219" fmla="*/ 3524250 w 8608319"/>
                  <a:gd name="connsiteY219" fmla="*/ 133350 h 7791450"/>
                  <a:gd name="connsiteX220" fmla="*/ 3552825 w 8608319"/>
                  <a:gd name="connsiteY220" fmla="*/ 123825 h 7791450"/>
                  <a:gd name="connsiteX221" fmla="*/ 3562350 w 8608319"/>
                  <a:gd name="connsiteY221" fmla="*/ 95250 h 7791450"/>
                  <a:gd name="connsiteX222" fmla="*/ 3619500 w 8608319"/>
                  <a:gd name="connsiteY222" fmla="*/ 152400 h 7791450"/>
                  <a:gd name="connsiteX223" fmla="*/ 3648075 w 8608319"/>
                  <a:gd name="connsiteY223" fmla="*/ 171450 h 7791450"/>
                  <a:gd name="connsiteX224" fmla="*/ 3714750 w 8608319"/>
                  <a:gd name="connsiteY224" fmla="*/ 209550 h 7791450"/>
                  <a:gd name="connsiteX225" fmla="*/ 3800475 w 8608319"/>
                  <a:gd name="connsiteY225" fmla="*/ 190500 h 7791450"/>
                  <a:gd name="connsiteX226" fmla="*/ 3914775 w 8608319"/>
                  <a:gd name="connsiteY226" fmla="*/ 200025 h 7791450"/>
                  <a:gd name="connsiteX227" fmla="*/ 3943350 w 8608319"/>
                  <a:gd name="connsiteY227" fmla="*/ 209550 h 7791450"/>
                  <a:gd name="connsiteX228" fmla="*/ 4200525 w 8608319"/>
                  <a:gd name="connsiteY228" fmla="*/ 209550 h 7791450"/>
                  <a:gd name="connsiteX229" fmla="*/ 4229100 w 8608319"/>
                  <a:gd name="connsiteY229" fmla="*/ 190500 h 7791450"/>
                  <a:gd name="connsiteX230" fmla="*/ 4286250 w 8608319"/>
                  <a:gd name="connsiteY230" fmla="*/ 180975 h 7791450"/>
                  <a:gd name="connsiteX231" fmla="*/ 4324350 w 8608319"/>
                  <a:gd name="connsiteY231" fmla="*/ 171450 h 7791450"/>
                  <a:gd name="connsiteX232" fmla="*/ 4381500 w 8608319"/>
                  <a:gd name="connsiteY232" fmla="*/ 85725 h 7791450"/>
                  <a:gd name="connsiteX233" fmla="*/ 4400550 w 8608319"/>
                  <a:gd name="connsiteY233" fmla="*/ 57150 h 7791450"/>
                  <a:gd name="connsiteX234" fmla="*/ 4457700 w 8608319"/>
                  <a:gd name="connsiteY234" fmla="*/ 66675 h 7791450"/>
                  <a:gd name="connsiteX235" fmla="*/ 4495800 w 8608319"/>
                  <a:gd name="connsiteY235" fmla="*/ 85725 h 7791450"/>
                  <a:gd name="connsiteX236" fmla="*/ 4524375 w 8608319"/>
                  <a:gd name="connsiteY236" fmla="*/ 57150 h 7791450"/>
                  <a:gd name="connsiteX237" fmla="*/ 4552950 w 8608319"/>
                  <a:gd name="connsiteY237" fmla="*/ 47625 h 7791450"/>
                  <a:gd name="connsiteX238" fmla="*/ 4629150 w 8608319"/>
                  <a:gd name="connsiteY238" fmla="*/ 38100 h 7791450"/>
                  <a:gd name="connsiteX239" fmla="*/ 4695825 w 8608319"/>
                  <a:gd name="connsiteY239" fmla="*/ 19050 h 7791450"/>
                  <a:gd name="connsiteX240" fmla="*/ 4733925 w 8608319"/>
                  <a:gd name="connsiteY240" fmla="*/ 0 h 7791450"/>
                  <a:gd name="connsiteX241" fmla="*/ 4762500 w 8608319"/>
                  <a:gd name="connsiteY241" fmla="*/ 19050 h 7791450"/>
                  <a:gd name="connsiteX242" fmla="*/ 4772025 w 8608319"/>
                  <a:gd name="connsiteY242" fmla="*/ 47625 h 7791450"/>
                  <a:gd name="connsiteX243" fmla="*/ 4800600 w 8608319"/>
                  <a:gd name="connsiteY243" fmla="*/ 76200 h 7791450"/>
                  <a:gd name="connsiteX244" fmla="*/ 4848225 w 8608319"/>
                  <a:gd name="connsiteY244" fmla="*/ 161925 h 7791450"/>
                  <a:gd name="connsiteX245" fmla="*/ 4867275 w 8608319"/>
                  <a:gd name="connsiteY245" fmla="*/ 219075 h 7791450"/>
                  <a:gd name="connsiteX246" fmla="*/ 4886325 w 8608319"/>
                  <a:gd name="connsiteY246" fmla="*/ 247650 h 7791450"/>
                  <a:gd name="connsiteX247" fmla="*/ 4914900 w 8608319"/>
                  <a:gd name="connsiteY247" fmla="*/ 295275 h 7791450"/>
                  <a:gd name="connsiteX248" fmla="*/ 4933950 w 8608319"/>
                  <a:gd name="connsiteY248" fmla="*/ 323850 h 7791450"/>
                  <a:gd name="connsiteX249" fmla="*/ 4991100 w 8608319"/>
                  <a:gd name="connsiteY249" fmla="*/ 381000 h 7791450"/>
                  <a:gd name="connsiteX250" fmla="*/ 4972050 w 8608319"/>
                  <a:gd name="connsiteY250" fmla="*/ 485775 h 7791450"/>
                  <a:gd name="connsiteX251" fmla="*/ 4943475 w 8608319"/>
                  <a:gd name="connsiteY251" fmla="*/ 514350 h 7791450"/>
                  <a:gd name="connsiteX252" fmla="*/ 4924425 w 8608319"/>
                  <a:gd name="connsiteY252" fmla="*/ 542925 h 7791450"/>
                  <a:gd name="connsiteX253" fmla="*/ 4933950 w 8608319"/>
                  <a:gd name="connsiteY253" fmla="*/ 609600 h 7791450"/>
                  <a:gd name="connsiteX254" fmla="*/ 4953000 w 8608319"/>
                  <a:gd name="connsiteY254" fmla="*/ 695325 h 7791450"/>
                  <a:gd name="connsiteX255" fmla="*/ 4972050 w 8608319"/>
                  <a:gd name="connsiteY255" fmla="*/ 771525 h 7791450"/>
                  <a:gd name="connsiteX256" fmla="*/ 4991100 w 8608319"/>
                  <a:gd name="connsiteY256" fmla="*/ 800100 h 7791450"/>
                  <a:gd name="connsiteX257" fmla="*/ 5000625 w 8608319"/>
                  <a:gd name="connsiteY257" fmla="*/ 838200 h 7791450"/>
                  <a:gd name="connsiteX258" fmla="*/ 5010150 w 8608319"/>
                  <a:gd name="connsiteY258" fmla="*/ 981075 h 7791450"/>
                  <a:gd name="connsiteX259" fmla="*/ 5038725 w 8608319"/>
                  <a:gd name="connsiteY259" fmla="*/ 990600 h 7791450"/>
                  <a:gd name="connsiteX260" fmla="*/ 5219700 w 8608319"/>
                  <a:gd name="connsiteY260" fmla="*/ 981075 h 7791450"/>
                  <a:gd name="connsiteX261" fmla="*/ 5505450 w 8608319"/>
                  <a:gd name="connsiteY261" fmla="*/ 1000125 h 7791450"/>
                  <a:gd name="connsiteX262" fmla="*/ 5553075 w 8608319"/>
                  <a:gd name="connsiteY262" fmla="*/ 1066800 h 7791450"/>
                  <a:gd name="connsiteX263" fmla="*/ 5591175 w 8608319"/>
                  <a:gd name="connsiteY263" fmla="*/ 1085850 h 7791450"/>
                  <a:gd name="connsiteX264" fmla="*/ 5629275 w 8608319"/>
                  <a:gd name="connsiteY264" fmla="*/ 1114425 h 7791450"/>
                  <a:gd name="connsiteX265" fmla="*/ 5667375 w 8608319"/>
                  <a:gd name="connsiteY265" fmla="*/ 1123950 h 7791450"/>
                  <a:gd name="connsiteX266" fmla="*/ 5695950 w 8608319"/>
                  <a:gd name="connsiteY266" fmla="*/ 1133475 h 7791450"/>
                  <a:gd name="connsiteX267" fmla="*/ 5781675 w 8608319"/>
                  <a:gd name="connsiteY267" fmla="*/ 1171575 h 7791450"/>
                  <a:gd name="connsiteX268" fmla="*/ 5810250 w 8608319"/>
                  <a:gd name="connsiteY268" fmla="*/ 1181100 h 7791450"/>
                  <a:gd name="connsiteX269" fmla="*/ 5838825 w 8608319"/>
                  <a:gd name="connsiteY269" fmla="*/ 1200150 h 7791450"/>
                  <a:gd name="connsiteX270" fmla="*/ 5857875 w 8608319"/>
                  <a:gd name="connsiteY270" fmla="*/ 1285875 h 7791450"/>
                  <a:gd name="connsiteX271" fmla="*/ 5867400 w 8608319"/>
                  <a:gd name="connsiteY271" fmla="*/ 1314450 h 7791450"/>
                  <a:gd name="connsiteX272" fmla="*/ 5895975 w 8608319"/>
                  <a:gd name="connsiteY272" fmla="*/ 1323975 h 7791450"/>
                  <a:gd name="connsiteX273" fmla="*/ 6038850 w 8608319"/>
                  <a:gd name="connsiteY273" fmla="*/ 1333500 h 7791450"/>
                  <a:gd name="connsiteX274" fmla="*/ 6067425 w 8608319"/>
                  <a:gd name="connsiteY274" fmla="*/ 1371600 h 7791450"/>
                  <a:gd name="connsiteX275" fmla="*/ 6086475 w 8608319"/>
                  <a:gd name="connsiteY275" fmla="*/ 1400175 h 7791450"/>
                  <a:gd name="connsiteX276" fmla="*/ 6143625 w 8608319"/>
                  <a:gd name="connsiteY276" fmla="*/ 1438275 h 7791450"/>
                  <a:gd name="connsiteX277" fmla="*/ 6200775 w 8608319"/>
                  <a:gd name="connsiteY277" fmla="*/ 1447800 h 7791450"/>
                  <a:gd name="connsiteX278" fmla="*/ 6276975 w 8608319"/>
                  <a:gd name="connsiteY278" fmla="*/ 1457325 h 7791450"/>
                  <a:gd name="connsiteX279" fmla="*/ 6372225 w 8608319"/>
                  <a:gd name="connsiteY279" fmla="*/ 1476375 h 7791450"/>
                  <a:gd name="connsiteX280" fmla="*/ 6429375 w 8608319"/>
                  <a:gd name="connsiteY280" fmla="*/ 1524000 h 7791450"/>
                  <a:gd name="connsiteX281" fmla="*/ 6486525 w 8608319"/>
                  <a:gd name="connsiteY281" fmla="*/ 1562100 h 7791450"/>
                  <a:gd name="connsiteX282" fmla="*/ 6505575 w 8608319"/>
                  <a:gd name="connsiteY282" fmla="*/ 1590675 h 7791450"/>
                  <a:gd name="connsiteX283" fmla="*/ 6515100 w 8608319"/>
                  <a:gd name="connsiteY283" fmla="*/ 1628775 h 7791450"/>
                  <a:gd name="connsiteX284" fmla="*/ 6553200 w 8608319"/>
                  <a:gd name="connsiteY284" fmla="*/ 1619250 h 7791450"/>
                  <a:gd name="connsiteX285" fmla="*/ 6629400 w 8608319"/>
                  <a:gd name="connsiteY285" fmla="*/ 1628775 h 7791450"/>
                  <a:gd name="connsiteX286" fmla="*/ 6657975 w 8608319"/>
                  <a:gd name="connsiteY286" fmla="*/ 1647825 h 7791450"/>
                  <a:gd name="connsiteX287" fmla="*/ 6619875 w 8608319"/>
                  <a:gd name="connsiteY287" fmla="*/ 1704975 h 7791450"/>
                  <a:gd name="connsiteX288" fmla="*/ 6600825 w 8608319"/>
                  <a:gd name="connsiteY288" fmla="*/ 1733550 h 7791450"/>
                  <a:gd name="connsiteX289" fmla="*/ 6610350 w 8608319"/>
                  <a:gd name="connsiteY289" fmla="*/ 1800225 h 7791450"/>
                  <a:gd name="connsiteX290" fmla="*/ 6648450 w 8608319"/>
                  <a:gd name="connsiteY290" fmla="*/ 1857375 h 7791450"/>
                  <a:gd name="connsiteX291" fmla="*/ 6657975 w 8608319"/>
                  <a:gd name="connsiteY291" fmla="*/ 2009775 h 7791450"/>
                  <a:gd name="connsiteX292" fmla="*/ 6743700 w 8608319"/>
                  <a:gd name="connsiteY292" fmla="*/ 2076450 h 7791450"/>
                  <a:gd name="connsiteX293" fmla="*/ 6800850 w 8608319"/>
                  <a:gd name="connsiteY293" fmla="*/ 2114550 h 7791450"/>
                  <a:gd name="connsiteX294" fmla="*/ 6819900 w 8608319"/>
                  <a:gd name="connsiteY294" fmla="*/ 2143125 h 7791450"/>
                  <a:gd name="connsiteX295" fmla="*/ 6858000 w 8608319"/>
                  <a:gd name="connsiteY295" fmla="*/ 2162175 h 7791450"/>
                  <a:gd name="connsiteX296" fmla="*/ 6924675 w 8608319"/>
                  <a:gd name="connsiteY296" fmla="*/ 2181225 h 7791450"/>
                  <a:gd name="connsiteX297" fmla="*/ 6953250 w 8608319"/>
                  <a:gd name="connsiteY297" fmla="*/ 2209800 h 7791450"/>
                  <a:gd name="connsiteX298" fmla="*/ 6962775 w 8608319"/>
                  <a:gd name="connsiteY298" fmla="*/ 2238375 h 7791450"/>
                  <a:gd name="connsiteX299" fmla="*/ 6981825 w 8608319"/>
                  <a:gd name="connsiteY299" fmla="*/ 2266950 h 7791450"/>
                  <a:gd name="connsiteX300" fmla="*/ 6972300 w 8608319"/>
                  <a:gd name="connsiteY300" fmla="*/ 2305050 h 7791450"/>
                  <a:gd name="connsiteX301" fmla="*/ 6924675 w 8608319"/>
                  <a:gd name="connsiteY301" fmla="*/ 2352675 h 7791450"/>
                  <a:gd name="connsiteX302" fmla="*/ 6905625 w 8608319"/>
                  <a:gd name="connsiteY302" fmla="*/ 2409825 h 7791450"/>
                  <a:gd name="connsiteX303" fmla="*/ 6915150 w 8608319"/>
                  <a:gd name="connsiteY303" fmla="*/ 2438400 h 7791450"/>
                  <a:gd name="connsiteX304" fmla="*/ 6924675 w 8608319"/>
                  <a:gd name="connsiteY304" fmla="*/ 2486025 h 7791450"/>
                  <a:gd name="connsiteX305" fmla="*/ 6934200 w 8608319"/>
                  <a:gd name="connsiteY305" fmla="*/ 2524125 h 7791450"/>
                  <a:gd name="connsiteX306" fmla="*/ 6943725 w 8608319"/>
                  <a:gd name="connsiteY306" fmla="*/ 2724150 h 7791450"/>
                  <a:gd name="connsiteX307" fmla="*/ 6972300 w 8608319"/>
                  <a:gd name="connsiteY307" fmla="*/ 2752725 h 7791450"/>
                  <a:gd name="connsiteX308" fmla="*/ 7000875 w 8608319"/>
                  <a:gd name="connsiteY308" fmla="*/ 2790825 h 7791450"/>
                  <a:gd name="connsiteX309" fmla="*/ 7010400 w 8608319"/>
                  <a:gd name="connsiteY309" fmla="*/ 2819400 h 7791450"/>
                  <a:gd name="connsiteX310" fmla="*/ 7048500 w 8608319"/>
                  <a:gd name="connsiteY310" fmla="*/ 2876550 h 7791450"/>
                  <a:gd name="connsiteX311" fmla="*/ 7086600 w 8608319"/>
                  <a:gd name="connsiteY311" fmla="*/ 2943225 h 7791450"/>
                  <a:gd name="connsiteX312" fmla="*/ 7134225 w 8608319"/>
                  <a:gd name="connsiteY312" fmla="*/ 3048000 h 7791450"/>
                  <a:gd name="connsiteX313" fmla="*/ 7172325 w 8608319"/>
                  <a:gd name="connsiteY313" fmla="*/ 3095625 h 7791450"/>
                  <a:gd name="connsiteX314" fmla="*/ 7191375 w 8608319"/>
                  <a:gd name="connsiteY314" fmla="*/ 3152775 h 7791450"/>
                  <a:gd name="connsiteX315" fmla="*/ 7200900 w 8608319"/>
                  <a:gd name="connsiteY315" fmla="*/ 3190875 h 7791450"/>
                  <a:gd name="connsiteX316" fmla="*/ 7229475 w 8608319"/>
                  <a:gd name="connsiteY316" fmla="*/ 3219450 h 7791450"/>
                  <a:gd name="connsiteX317" fmla="*/ 7267575 w 8608319"/>
                  <a:gd name="connsiteY317" fmla="*/ 3267075 h 7791450"/>
                  <a:gd name="connsiteX318" fmla="*/ 7343775 w 8608319"/>
                  <a:gd name="connsiteY318" fmla="*/ 3286125 h 7791450"/>
                  <a:gd name="connsiteX319" fmla="*/ 7353300 w 8608319"/>
                  <a:gd name="connsiteY319" fmla="*/ 3324225 h 7791450"/>
                  <a:gd name="connsiteX320" fmla="*/ 7410450 w 8608319"/>
                  <a:gd name="connsiteY320" fmla="*/ 3371850 h 7791450"/>
                  <a:gd name="connsiteX321" fmla="*/ 7467600 w 8608319"/>
                  <a:gd name="connsiteY321" fmla="*/ 3429000 h 7791450"/>
                  <a:gd name="connsiteX322" fmla="*/ 7505700 w 8608319"/>
                  <a:gd name="connsiteY322" fmla="*/ 3486150 h 7791450"/>
                  <a:gd name="connsiteX323" fmla="*/ 7505700 w 8608319"/>
                  <a:gd name="connsiteY323" fmla="*/ 3676650 h 7791450"/>
                  <a:gd name="connsiteX324" fmla="*/ 7524750 w 8608319"/>
                  <a:gd name="connsiteY324" fmla="*/ 3705225 h 7791450"/>
                  <a:gd name="connsiteX325" fmla="*/ 7534275 w 8608319"/>
                  <a:gd name="connsiteY325" fmla="*/ 3733800 h 7791450"/>
                  <a:gd name="connsiteX326" fmla="*/ 7600950 w 8608319"/>
                  <a:gd name="connsiteY326" fmla="*/ 3829050 h 7791450"/>
                  <a:gd name="connsiteX327" fmla="*/ 7658100 w 8608319"/>
                  <a:gd name="connsiteY327" fmla="*/ 3800475 h 7791450"/>
                  <a:gd name="connsiteX328" fmla="*/ 7724775 w 8608319"/>
                  <a:gd name="connsiteY328" fmla="*/ 3819525 h 7791450"/>
                  <a:gd name="connsiteX329" fmla="*/ 7753350 w 8608319"/>
                  <a:gd name="connsiteY329" fmla="*/ 3848100 h 7791450"/>
                  <a:gd name="connsiteX330" fmla="*/ 7734300 w 8608319"/>
                  <a:gd name="connsiteY330" fmla="*/ 3962400 h 7791450"/>
                  <a:gd name="connsiteX331" fmla="*/ 7724775 w 8608319"/>
                  <a:gd name="connsiteY331" fmla="*/ 4000500 h 7791450"/>
                  <a:gd name="connsiteX332" fmla="*/ 7715250 w 8608319"/>
                  <a:gd name="connsiteY332" fmla="*/ 4029075 h 7791450"/>
                  <a:gd name="connsiteX333" fmla="*/ 7696200 w 8608319"/>
                  <a:gd name="connsiteY333" fmla="*/ 4095750 h 7791450"/>
                  <a:gd name="connsiteX334" fmla="*/ 7705725 w 8608319"/>
                  <a:gd name="connsiteY334" fmla="*/ 4124325 h 7791450"/>
                  <a:gd name="connsiteX335" fmla="*/ 7791450 w 8608319"/>
                  <a:gd name="connsiteY335" fmla="*/ 4105275 h 7791450"/>
                  <a:gd name="connsiteX336" fmla="*/ 7886700 w 8608319"/>
                  <a:gd name="connsiteY336" fmla="*/ 4133850 h 7791450"/>
                  <a:gd name="connsiteX337" fmla="*/ 7877175 w 8608319"/>
                  <a:gd name="connsiteY337" fmla="*/ 4162425 h 7791450"/>
                  <a:gd name="connsiteX338" fmla="*/ 7848600 w 8608319"/>
                  <a:gd name="connsiteY338" fmla="*/ 4171950 h 7791450"/>
                  <a:gd name="connsiteX339" fmla="*/ 7781925 w 8608319"/>
                  <a:gd name="connsiteY339" fmla="*/ 4238625 h 7791450"/>
                  <a:gd name="connsiteX340" fmla="*/ 7820025 w 8608319"/>
                  <a:gd name="connsiteY340" fmla="*/ 4286250 h 7791450"/>
                  <a:gd name="connsiteX341" fmla="*/ 7858125 w 8608319"/>
                  <a:gd name="connsiteY341" fmla="*/ 4343400 h 7791450"/>
                  <a:gd name="connsiteX342" fmla="*/ 7877175 w 8608319"/>
                  <a:gd name="connsiteY342" fmla="*/ 4371975 h 7791450"/>
                  <a:gd name="connsiteX343" fmla="*/ 7905750 w 8608319"/>
                  <a:gd name="connsiteY343" fmla="*/ 4400550 h 7791450"/>
                  <a:gd name="connsiteX344" fmla="*/ 7972425 w 8608319"/>
                  <a:gd name="connsiteY344" fmla="*/ 4419600 h 7791450"/>
                  <a:gd name="connsiteX345" fmla="*/ 8096250 w 8608319"/>
                  <a:gd name="connsiteY345" fmla="*/ 4448175 h 7791450"/>
                  <a:gd name="connsiteX346" fmla="*/ 8162925 w 8608319"/>
                  <a:gd name="connsiteY346" fmla="*/ 4486275 h 7791450"/>
                  <a:gd name="connsiteX347" fmla="*/ 8191500 w 8608319"/>
                  <a:gd name="connsiteY347" fmla="*/ 4524375 h 7791450"/>
                  <a:gd name="connsiteX348" fmla="*/ 8201025 w 8608319"/>
                  <a:gd name="connsiteY348" fmla="*/ 4562475 h 7791450"/>
                  <a:gd name="connsiteX349" fmla="*/ 8229600 w 8608319"/>
                  <a:gd name="connsiteY349" fmla="*/ 4581525 h 7791450"/>
                  <a:gd name="connsiteX350" fmla="*/ 8277225 w 8608319"/>
                  <a:gd name="connsiteY350" fmla="*/ 4533900 h 7791450"/>
                  <a:gd name="connsiteX351" fmla="*/ 8372475 w 8608319"/>
                  <a:gd name="connsiteY351" fmla="*/ 4514850 h 7791450"/>
                  <a:gd name="connsiteX352" fmla="*/ 8391525 w 8608319"/>
                  <a:gd name="connsiteY352" fmla="*/ 4486275 h 7791450"/>
                  <a:gd name="connsiteX353" fmla="*/ 8486775 w 8608319"/>
                  <a:gd name="connsiteY353" fmla="*/ 4457700 h 7791450"/>
                  <a:gd name="connsiteX354" fmla="*/ 8601075 w 8608319"/>
                  <a:gd name="connsiteY354" fmla="*/ 4467225 h 7791450"/>
                  <a:gd name="connsiteX355" fmla="*/ 8591550 w 8608319"/>
                  <a:gd name="connsiteY355" fmla="*/ 4524375 h 7791450"/>
                  <a:gd name="connsiteX356" fmla="*/ 8496300 w 8608319"/>
                  <a:gd name="connsiteY356" fmla="*/ 4572000 h 7791450"/>
                  <a:gd name="connsiteX357" fmla="*/ 8467725 w 8608319"/>
                  <a:gd name="connsiteY357" fmla="*/ 4600575 h 7791450"/>
                  <a:gd name="connsiteX358" fmla="*/ 8429625 w 8608319"/>
                  <a:gd name="connsiteY358" fmla="*/ 4667250 h 7791450"/>
                  <a:gd name="connsiteX359" fmla="*/ 8410575 w 8608319"/>
                  <a:gd name="connsiteY359" fmla="*/ 4695825 h 7791450"/>
                  <a:gd name="connsiteX360" fmla="*/ 8382000 w 8608319"/>
                  <a:gd name="connsiteY360" fmla="*/ 4762500 h 7791450"/>
                  <a:gd name="connsiteX361" fmla="*/ 8324850 w 8608319"/>
                  <a:gd name="connsiteY361" fmla="*/ 4848225 h 7791450"/>
                  <a:gd name="connsiteX362" fmla="*/ 8248650 w 8608319"/>
                  <a:gd name="connsiteY362" fmla="*/ 4857750 h 7791450"/>
                  <a:gd name="connsiteX363" fmla="*/ 8172450 w 8608319"/>
                  <a:gd name="connsiteY363" fmla="*/ 4876800 h 7791450"/>
                  <a:gd name="connsiteX364" fmla="*/ 8067675 w 8608319"/>
                  <a:gd name="connsiteY364" fmla="*/ 4886325 h 7791450"/>
                  <a:gd name="connsiteX365" fmla="*/ 7915275 w 8608319"/>
                  <a:gd name="connsiteY365" fmla="*/ 4905375 h 7791450"/>
                  <a:gd name="connsiteX366" fmla="*/ 7848600 w 8608319"/>
                  <a:gd name="connsiteY366" fmla="*/ 4924425 h 7791450"/>
                  <a:gd name="connsiteX367" fmla="*/ 7791450 w 8608319"/>
                  <a:gd name="connsiteY367" fmla="*/ 4943475 h 7791450"/>
                  <a:gd name="connsiteX368" fmla="*/ 7734300 w 8608319"/>
                  <a:gd name="connsiteY368" fmla="*/ 4962525 h 7791450"/>
                  <a:gd name="connsiteX369" fmla="*/ 7648575 w 8608319"/>
                  <a:gd name="connsiteY369" fmla="*/ 4972050 h 7791450"/>
                  <a:gd name="connsiteX370" fmla="*/ 7581900 w 8608319"/>
                  <a:gd name="connsiteY370" fmla="*/ 4981575 h 7791450"/>
                  <a:gd name="connsiteX371" fmla="*/ 7458075 w 8608319"/>
                  <a:gd name="connsiteY371" fmla="*/ 5000625 h 7791450"/>
                  <a:gd name="connsiteX372" fmla="*/ 7429500 w 8608319"/>
                  <a:gd name="connsiteY372" fmla="*/ 5019675 h 7791450"/>
                  <a:gd name="connsiteX373" fmla="*/ 7353300 w 8608319"/>
                  <a:gd name="connsiteY373" fmla="*/ 5038725 h 7791450"/>
                  <a:gd name="connsiteX374" fmla="*/ 7296150 w 8608319"/>
                  <a:gd name="connsiteY374" fmla="*/ 5057775 h 7791450"/>
                  <a:gd name="connsiteX375" fmla="*/ 7258050 w 8608319"/>
                  <a:gd name="connsiteY375" fmla="*/ 5067300 h 7791450"/>
                  <a:gd name="connsiteX376" fmla="*/ 7200900 w 8608319"/>
                  <a:gd name="connsiteY376" fmla="*/ 5086350 h 7791450"/>
                  <a:gd name="connsiteX377" fmla="*/ 7172325 w 8608319"/>
                  <a:gd name="connsiteY377" fmla="*/ 5095875 h 7791450"/>
                  <a:gd name="connsiteX378" fmla="*/ 7124700 w 8608319"/>
                  <a:gd name="connsiteY378" fmla="*/ 5153025 h 7791450"/>
                  <a:gd name="connsiteX379" fmla="*/ 7086600 w 8608319"/>
                  <a:gd name="connsiteY379" fmla="*/ 5295900 h 7791450"/>
                  <a:gd name="connsiteX380" fmla="*/ 7058025 w 8608319"/>
                  <a:gd name="connsiteY380" fmla="*/ 5314950 h 7791450"/>
                  <a:gd name="connsiteX381" fmla="*/ 7038975 w 8608319"/>
                  <a:gd name="connsiteY381" fmla="*/ 5343525 h 7791450"/>
                  <a:gd name="connsiteX382" fmla="*/ 7010400 w 8608319"/>
                  <a:gd name="connsiteY382" fmla="*/ 5353050 h 7791450"/>
                  <a:gd name="connsiteX383" fmla="*/ 6981825 w 8608319"/>
                  <a:gd name="connsiteY383" fmla="*/ 5381625 h 7791450"/>
                  <a:gd name="connsiteX384" fmla="*/ 6953250 w 8608319"/>
                  <a:gd name="connsiteY384" fmla="*/ 5438775 h 7791450"/>
                  <a:gd name="connsiteX385" fmla="*/ 6924675 w 8608319"/>
                  <a:gd name="connsiteY385" fmla="*/ 5457825 h 7791450"/>
                  <a:gd name="connsiteX386" fmla="*/ 6896100 w 8608319"/>
                  <a:gd name="connsiteY386" fmla="*/ 5467350 h 7791450"/>
                  <a:gd name="connsiteX387" fmla="*/ 6734175 w 8608319"/>
                  <a:gd name="connsiteY387" fmla="*/ 5495925 h 7791450"/>
                  <a:gd name="connsiteX388" fmla="*/ 6715125 w 8608319"/>
                  <a:gd name="connsiteY388" fmla="*/ 5524500 h 7791450"/>
                  <a:gd name="connsiteX389" fmla="*/ 6772275 w 8608319"/>
                  <a:gd name="connsiteY389" fmla="*/ 5572125 h 7791450"/>
                  <a:gd name="connsiteX390" fmla="*/ 6791325 w 8608319"/>
                  <a:gd name="connsiteY390" fmla="*/ 5600700 h 7791450"/>
                  <a:gd name="connsiteX391" fmla="*/ 6819900 w 8608319"/>
                  <a:gd name="connsiteY391" fmla="*/ 5695950 h 7791450"/>
                  <a:gd name="connsiteX392" fmla="*/ 6838950 w 8608319"/>
                  <a:gd name="connsiteY392" fmla="*/ 5753100 h 7791450"/>
                  <a:gd name="connsiteX393" fmla="*/ 6819900 w 8608319"/>
                  <a:gd name="connsiteY393" fmla="*/ 5915025 h 7791450"/>
                  <a:gd name="connsiteX394" fmla="*/ 6810375 w 8608319"/>
                  <a:gd name="connsiteY394" fmla="*/ 5953125 h 7791450"/>
                  <a:gd name="connsiteX395" fmla="*/ 6791325 w 8608319"/>
                  <a:gd name="connsiteY395" fmla="*/ 5981700 h 7791450"/>
                  <a:gd name="connsiteX396" fmla="*/ 6781800 w 8608319"/>
                  <a:gd name="connsiteY396" fmla="*/ 6019800 h 7791450"/>
                  <a:gd name="connsiteX397" fmla="*/ 6734175 w 8608319"/>
                  <a:gd name="connsiteY397" fmla="*/ 6067425 h 7791450"/>
                  <a:gd name="connsiteX398" fmla="*/ 6705600 w 8608319"/>
                  <a:gd name="connsiteY398" fmla="*/ 6076950 h 7791450"/>
                  <a:gd name="connsiteX399" fmla="*/ 6715125 w 8608319"/>
                  <a:gd name="connsiteY399" fmla="*/ 6115050 h 7791450"/>
                  <a:gd name="connsiteX400" fmla="*/ 6743700 w 8608319"/>
                  <a:gd name="connsiteY400" fmla="*/ 6143625 h 7791450"/>
                  <a:gd name="connsiteX401" fmla="*/ 6810375 w 8608319"/>
                  <a:gd name="connsiteY401" fmla="*/ 6172200 h 7791450"/>
                  <a:gd name="connsiteX402" fmla="*/ 6886575 w 8608319"/>
                  <a:gd name="connsiteY402" fmla="*/ 6181725 h 7791450"/>
                  <a:gd name="connsiteX403" fmla="*/ 6981825 w 8608319"/>
                  <a:gd name="connsiteY403" fmla="*/ 6200775 h 7791450"/>
                  <a:gd name="connsiteX404" fmla="*/ 7077075 w 8608319"/>
                  <a:gd name="connsiteY404" fmla="*/ 6229350 h 7791450"/>
                  <a:gd name="connsiteX405" fmla="*/ 7105650 w 8608319"/>
                  <a:gd name="connsiteY405" fmla="*/ 6238875 h 7791450"/>
                  <a:gd name="connsiteX406" fmla="*/ 7134225 w 8608319"/>
                  <a:gd name="connsiteY406" fmla="*/ 6296025 h 7791450"/>
                  <a:gd name="connsiteX407" fmla="*/ 7105650 w 8608319"/>
                  <a:gd name="connsiteY407" fmla="*/ 6305550 h 7791450"/>
                  <a:gd name="connsiteX408" fmla="*/ 6905625 w 8608319"/>
                  <a:gd name="connsiteY408" fmla="*/ 6305550 h 7791450"/>
                  <a:gd name="connsiteX409" fmla="*/ 6867525 w 8608319"/>
                  <a:gd name="connsiteY409" fmla="*/ 6324600 h 7791450"/>
                  <a:gd name="connsiteX410" fmla="*/ 6819900 w 8608319"/>
                  <a:gd name="connsiteY410" fmla="*/ 6372225 h 7791450"/>
                  <a:gd name="connsiteX411" fmla="*/ 6800850 w 8608319"/>
                  <a:gd name="connsiteY411" fmla="*/ 6400800 h 7791450"/>
                  <a:gd name="connsiteX412" fmla="*/ 6696075 w 8608319"/>
                  <a:gd name="connsiteY412" fmla="*/ 6391275 h 7791450"/>
                  <a:gd name="connsiteX413" fmla="*/ 6657975 w 8608319"/>
                  <a:gd name="connsiteY413" fmla="*/ 6372225 h 7791450"/>
                  <a:gd name="connsiteX414" fmla="*/ 6619875 w 8608319"/>
                  <a:gd name="connsiteY414" fmla="*/ 6391275 h 7791450"/>
                  <a:gd name="connsiteX415" fmla="*/ 6553200 w 8608319"/>
                  <a:gd name="connsiteY415" fmla="*/ 6400800 h 7791450"/>
                  <a:gd name="connsiteX416" fmla="*/ 6457950 w 8608319"/>
                  <a:gd name="connsiteY416" fmla="*/ 6419850 h 7791450"/>
                  <a:gd name="connsiteX417" fmla="*/ 6438900 w 8608319"/>
                  <a:gd name="connsiteY417" fmla="*/ 6448425 h 7791450"/>
                  <a:gd name="connsiteX418" fmla="*/ 6353175 w 8608319"/>
                  <a:gd name="connsiteY418" fmla="*/ 6515100 h 7791450"/>
                  <a:gd name="connsiteX419" fmla="*/ 6248400 w 8608319"/>
                  <a:gd name="connsiteY419" fmla="*/ 6534150 h 7791450"/>
                  <a:gd name="connsiteX420" fmla="*/ 5791200 w 8608319"/>
                  <a:gd name="connsiteY420" fmla="*/ 6562725 h 7791450"/>
                  <a:gd name="connsiteX421" fmla="*/ 5810250 w 8608319"/>
                  <a:gd name="connsiteY421" fmla="*/ 6619875 h 7791450"/>
                  <a:gd name="connsiteX422" fmla="*/ 5848350 w 8608319"/>
                  <a:gd name="connsiteY422" fmla="*/ 6677025 h 7791450"/>
                  <a:gd name="connsiteX423" fmla="*/ 5829300 w 8608319"/>
                  <a:gd name="connsiteY423" fmla="*/ 6800850 h 7791450"/>
                  <a:gd name="connsiteX424" fmla="*/ 5810250 w 8608319"/>
                  <a:gd name="connsiteY424" fmla="*/ 6858000 h 7791450"/>
                  <a:gd name="connsiteX425" fmla="*/ 5781675 w 8608319"/>
                  <a:gd name="connsiteY425" fmla="*/ 6877050 h 7791450"/>
                  <a:gd name="connsiteX426" fmla="*/ 5724525 w 8608319"/>
                  <a:gd name="connsiteY426" fmla="*/ 6896100 h 7791450"/>
                  <a:gd name="connsiteX427" fmla="*/ 5695950 w 8608319"/>
                  <a:gd name="connsiteY427" fmla="*/ 6905625 h 7791450"/>
                  <a:gd name="connsiteX428" fmla="*/ 5648325 w 8608319"/>
                  <a:gd name="connsiteY428" fmla="*/ 6934200 h 7791450"/>
                  <a:gd name="connsiteX429" fmla="*/ 5600700 w 8608319"/>
                  <a:gd name="connsiteY429" fmla="*/ 6991350 h 7791450"/>
                  <a:gd name="connsiteX430" fmla="*/ 5581650 w 8608319"/>
                  <a:gd name="connsiteY430" fmla="*/ 7058025 h 7791450"/>
                  <a:gd name="connsiteX431" fmla="*/ 5572125 w 8608319"/>
                  <a:gd name="connsiteY431" fmla="*/ 7143750 h 7791450"/>
                  <a:gd name="connsiteX432" fmla="*/ 5543550 w 8608319"/>
                  <a:gd name="connsiteY432" fmla="*/ 7153275 h 7791450"/>
                  <a:gd name="connsiteX433" fmla="*/ 5448300 w 8608319"/>
                  <a:gd name="connsiteY433" fmla="*/ 7143750 h 7791450"/>
                  <a:gd name="connsiteX434" fmla="*/ 5305425 w 8608319"/>
                  <a:gd name="connsiteY434" fmla="*/ 7134225 h 7791450"/>
                  <a:gd name="connsiteX435" fmla="*/ 5153025 w 8608319"/>
                  <a:gd name="connsiteY435" fmla="*/ 7143750 h 7791450"/>
                  <a:gd name="connsiteX436" fmla="*/ 5143500 w 8608319"/>
                  <a:gd name="connsiteY436" fmla="*/ 7210425 h 7791450"/>
                  <a:gd name="connsiteX437" fmla="*/ 5114925 w 8608319"/>
                  <a:gd name="connsiteY437" fmla="*/ 7229475 h 7791450"/>
                  <a:gd name="connsiteX438" fmla="*/ 5086350 w 8608319"/>
                  <a:gd name="connsiteY438" fmla="*/ 7258050 h 7791450"/>
                  <a:gd name="connsiteX439" fmla="*/ 5029200 w 8608319"/>
                  <a:gd name="connsiteY439" fmla="*/ 7296150 h 7791450"/>
                  <a:gd name="connsiteX440" fmla="*/ 4981575 w 8608319"/>
                  <a:gd name="connsiteY440" fmla="*/ 7305675 h 7791450"/>
                  <a:gd name="connsiteX441" fmla="*/ 4924425 w 8608319"/>
                  <a:gd name="connsiteY441" fmla="*/ 7315200 h 7791450"/>
                  <a:gd name="connsiteX442" fmla="*/ 4867275 w 8608319"/>
                  <a:gd name="connsiteY442" fmla="*/ 7353300 h 7791450"/>
                  <a:gd name="connsiteX443" fmla="*/ 4829175 w 8608319"/>
                  <a:gd name="connsiteY443" fmla="*/ 7362825 h 7791450"/>
                  <a:gd name="connsiteX444" fmla="*/ 4791075 w 8608319"/>
                  <a:gd name="connsiteY444" fmla="*/ 7429500 h 7791450"/>
                  <a:gd name="connsiteX445" fmla="*/ 4781550 w 8608319"/>
                  <a:gd name="connsiteY445" fmla="*/ 7515225 h 7791450"/>
                  <a:gd name="connsiteX446" fmla="*/ 4772025 w 8608319"/>
                  <a:gd name="connsiteY446" fmla="*/ 7581900 h 7791450"/>
                  <a:gd name="connsiteX447" fmla="*/ 4743450 w 8608319"/>
                  <a:gd name="connsiteY447" fmla="*/ 7610475 h 7791450"/>
                  <a:gd name="connsiteX448" fmla="*/ 4695825 w 8608319"/>
                  <a:gd name="connsiteY448" fmla="*/ 7667625 h 7791450"/>
                  <a:gd name="connsiteX449" fmla="*/ 4657725 w 8608319"/>
                  <a:gd name="connsiteY449" fmla="*/ 7781925 h 7791450"/>
                  <a:gd name="connsiteX450" fmla="*/ 4629150 w 8608319"/>
                  <a:gd name="connsiteY450" fmla="*/ 7791450 h 7791450"/>
                  <a:gd name="connsiteX451" fmla="*/ 4581525 w 8608319"/>
                  <a:gd name="connsiteY451" fmla="*/ 7781925 h 7791450"/>
                  <a:gd name="connsiteX452" fmla="*/ 4572000 w 8608319"/>
                  <a:gd name="connsiteY452" fmla="*/ 7753350 h 7791450"/>
                  <a:gd name="connsiteX453" fmla="*/ 4562475 w 8608319"/>
                  <a:gd name="connsiteY453" fmla="*/ 7715250 h 7791450"/>
                  <a:gd name="connsiteX454" fmla="*/ 4533900 w 8608319"/>
                  <a:gd name="connsiteY454" fmla="*/ 7677150 h 7791450"/>
                  <a:gd name="connsiteX455" fmla="*/ 4543425 w 8608319"/>
                  <a:gd name="connsiteY455" fmla="*/ 7620000 h 7791450"/>
                  <a:gd name="connsiteX456" fmla="*/ 4562475 w 8608319"/>
                  <a:gd name="connsiteY456" fmla="*/ 7591425 h 7791450"/>
                  <a:gd name="connsiteX457" fmla="*/ 4552950 w 8608319"/>
                  <a:gd name="connsiteY457" fmla="*/ 7562850 h 7791450"/>
                  <a:gd name="connsiteX458" fmla="*/ 4543425 w 8608319"/>
                  <a:gd name="connsiteY458" fmla="*/ 7524750 h 7791450"/>
                  <a:gd name="connsiteX459" fmla="*/ 4505325 w 8608319"/>
                  <a:gd name="connsiteY459" fmla="*/ 7505700 h 7791450"/>
                  <a:gd name="connsiteX460" fmla="*/ 4505325 w 8608319"/>
                  <a:gd name="connsiteY460" fmla="*/ 7439025 h 7791450"/>
                  <a:gd name="connsiteX461" fmla="*/ 4562475 w 8608319"/>
                  <a:gd name="connsiteY461" fmla="*/ 7381875 h 7791450"/>
                  <a:gd name="connsiteX462" fmla="*/ 4581525 w 8608319"/>
                  <a:gd name="connsiteY462" fmla="*/ 7305675 h 7791450"/>
                  <a:gd name="connsiteX463" fmla="*/ 4600575 w 8608319"/>
                  <a:gd name="connsiteY463" fmla="*/ 7277100 h 7791450"/>
                  <a:gd name="connsiteX464" fmla="*/ 4591050 w 8608319"/>
                  <a:gd name="connsiteY464" fmla="*/ 7229475 h 7791450"/>
                  <a:gd name="connsiteX465" fmla="*/ 4581525 w 8608319"/>
                  <a:gd name="connsiteY465" fmla="*/ 7200900 h 7791450"/>
                  <a:gd name="connsiteX466" fmla="*/ 4600575 w 8608319"/>
                  <a:gd name="connsiteY466" fmla="*/ 7143750 h 7791450"/>
                  <a:gd name="connsiteX467" fmla="*/ 4610100 w 8608319"/>
                  <a:gd name="connsiteY467" fmla="*/ 7105650 h 7791450"/>
                  <a:gd name="connsiteX468" fmla="*/ 4695825 w 8608319"/>
                  <a:gd name="connsiteY468" fmla="*/ 7019925 h 7791450"/>
                  <a:gd name="connsiteX469" fmla="*/ 4676775 w 8608319"/>
                  <a:gd name="connsiteY469" fmla="*/ 6991350 h 7791450"/>
                  <a:gd name="connsiteX470" fmla="*/ 4610100 w 8608319"/>
                  <a:gd name="connsiteY470" fmla="*/ 6962775 h 7791450"/>
                  <a:gd name="connsiteX471" fmla="*/ 4543425 w 8608319"/>
                  <a:gd name="connsiteY471" fmla="*/ 6953250 h 7791450"/>
                  <a:gd name="connsiteX472" fmla="*/ 4381500 w 8608319"/>
                  <a:gd name="connsiteY472" fmla="*/ 6962775 h 7791450"/>
                  <a:gd name="connsiteX473" fmla="*/ 4324350 w 8608319"/>
                  <a:gd name="connsiteY473" fmla="*/ 6943725 h 7791450"/>
                  <a:gd name="connsiteX474" fmla="*/ 4057650 w 8608319"/>
                  <a:gd name="connsiteY474" fmla="*/ 6953250 h 7791450"/>
                  <a:gd name="connsiteX475" fmla="*/ 4029075 w 8608319"/>
                  <a:gd name="connsiteY475" fmla="*/ 6972300 h 7791450"/>
                  <a:gd name="connsiteX476" fmla="*/ 3257550 w 8608319"/>
                  <a:gd name="connsiteY476" fmla="*/ 6981825 h 7791450"/>
                  <a:gd name="connsiteX477" fmla="*/ 3057525 w 8608319"/>
                  <a:gd name="connsiteY477" fmla="*/ 7000875 h 7791450"/>
                  <a:gd name="connsiteX478" fmla="*/ 3028950 w 8608319"/>
                  <a:gd name="connsiteY478" fmla="*/ 7010400 h 7791450"/>
                  <a:gd name="connsiteX479" fmla="*/ 2914650 w 8608319"/>
                  <a:gd name="connsiteY479" fmla="*/ 7058025 h 7791450"/>
                  <a:gd name="connsiteX480" fmla="*/ 2838450 w 8608319"/>
                  <a:gd name="connsiteY480" fmla="*/ 7067550 h 7791450"/>
                  <a:gd name="connsiteX481" fmla="*/ 2581275 w 8608319"/>
                  <a:gd name="connsiteY481" fmla="*/ 7058025 h 7791450"/>
                  <a:gd name="connsiteX482" fmla="*/ 2552700 w 8608319"/>
                  <a:gd name="connsiteY482" fmla="*/ 7048500 h 7791450"/>
                  <a:gd name="connsiteX483" fmla="*/ 2600325 w 8608319"/>
                  <a:gd name="connsiteY483" fmla="*/ 7000875 h 7791450"/>
                  <a:gd name="connsiteX484" fmla="*/ 2590800 w 8608319"/>
                  <a:gd name="connsiteY484" fmla="*/ 6934200 h 779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</a:cxnLst>
                <a:rect l="l" t="t" r="r" b="b"/>
                <a:pathLst>
                  <a:path w="8608319" h="7791450">
                    <a:moveTo>
                      <a:pt x="2590800" y="6934200"/>
                    </a:moveTo>
                    <a:cubicBezTo>
                      <a:pt x="2609850" y="6918325"/>
                      <a:pt x="2631475" y="6905109"/>
                      <a:pt x="2647950" y="6886575"/>
                    </a:cubicBezTo>
                    <a:cubicBezTo>
                      <a:pt x="2657383" y="6875963"/>
                      <a:pt x="2659955" y="6860803"/>
                      <a:pt x="2667000" y="6848475"/>
                    </a:cubicBezTo>
                    <a:cubicBezTo>
                      <a:pt x="2752940" y="6698079"/>
                      <a:pt x="2699352" y="6802821"/>
                      <a:pt x="2743200" y="6715125"/>
                    </a:cubicBezTo>
                    <a:cubicBezTo>
                      <a:pt x="2746375" y="6670675"/>
                      <a:pt x="2748291" y="6626117"/>
                      <a:pt x="2752725" y="6581775"/>
                    </a:cubicBezTo>
                    <a:cubicBezTo>
                      <a:pt x="2755844" y="6550589"/>
                      <a:pt x="2766064" y="6508411"/>
                      <a:pt x="2771775" y="6477000"/>
                    </a:cubicBezTo>
                    <a:cubicBezTo>
                      <a:pt x="2775230" y="6457999"/>
                      <a:pt x="2775751" y="6438348"/>
                      <a:pt x="2781300" y="6419850"/>
                    </a:cubicBezTo>
                    <a:cubicBezTo>
                      <a:pt x="2785380" y="6406250"/>
                      <a:pt x="2795364" y="6395045"/>
                      <a:pt x="2800350" y="6381750"/>
                    </a:cubicBezTo>
                    <a:cubicBezTo>
                      <a:pt x="2804947" y="6369493"/>
                      <a:pt x="2804021" y="6355359"/>
                      <a:pt x="2809875" y="6343650"/>
                    </a:cubicBezTo>
                    <a:cubicBezTo>
                      <a:pt x="2820114" y="6323172"/>
                      <a:pt x="2835275" y="6305550"/>
                      <a:pt x="2847975" y="6286500"/>
                    </a:cubicBezTo>
                    <a:cubicBezTo>
                      <a:pt x="2853544" y="6278146"/>
                      <a:pt x="2852519" y="6266642"/>
                      <a:pt x="2857500" y="6257925"/>
                    </a:cubicBezTo>
                    <a:cubicBezTo>
                      <a:pt x="2865376" y="6244142"/>
                      <a:pt x="2877661" y="6233287"/>
                      <a:pt x="2886075" y="6219825"/>
                    </a:cubicBezTo>
                    <a:cubicBezTo>
                      <a:pt x="2893600" y="6207784"/>
                      <a:pt x="2899532" y="6194776"/>
                      <a:pt x="2905125" y="6181725"/>
                    </a:cubicBezTo>
                    <a:cubicBezTo>
                      <a:pt x="2909080" y="6172497"/>
                      <a:pt x="2909081" y="6161504"/>
                      <a:pt x="2914650" y="6153150"/>
                    </a:cubicBezTo>
                    <a:cubicBezTo>
                      <a:pt x="2922122" y="6141942"/>
                      <a:pt x="2933700" y="6134100"/>
                      <a:pt x="2943225" y="6124575"/>
                    </a:cubicBezTo>
                    <a:cubicBezTo>
                      <a:pt x="2966535" y="6054646"/>
                      <a:pt x="2948076" y="6081624"/>
                      <a:pt x="2990850" y="6038850"/>
                    </a:cubicBezTo>
                    <a:cubicBezTo>
                      <a:pt x="2987675" y="6019800"/>
                      <a:pt x="2989962" y="5998974"/>
                      <a:pt x="2981325" y="5981700"/>
                    </a:cubicBezTo>
                    <a:cubicBezTo>
                      <a:pt x="2976205" y="5971461"/>
                      <a:pt x="2954995" y="5973875"/>
                      <a:pt x="2952750" y="5962650"/>
                    </a:cubicBezTo>
                    <a:cubicBezTo>
                      <a:pt x="2949519" y="5946497"/>
                      <a:pt x="2954415" y="5875815"/>
                      <a:pt x="2981325" y="5857875"/>
                    </a:cubicBezTo>
                    <a:cubicBezTo>
                      <a:pt x="2992217" y="5850613"/>
                      <a:pt x="3006838" y="5851946"/>
                      <a:pt x="3019425" y="5848350"/>
                    </a:cubicBezTo>
                    <a:cubicBezTo>
                      <a:pt x="3029079" y="5845592"/>
                      <a:pt x="3038475" y="5842000"/>
                      <a:pt x="3048000" y="5838825"/>
                    </a:cubicBezTo>
                    <a:cubicBezTo>
                      <a:pt x="3057525" y="5832475"/>
                      <a:pt x="3066636" y="5825455"/>
                      <a:pt x="3076575" y="5819775"/>
                    </a:cubicBezTo>
                    <a:cubicBezTo>
                      <a:pt x="3088903" y="5812730"/>
                      <a:pt x="3103767" y="5809815"/>
                      <a:pt x="3114675" y="5800725"/>
                    </a:cubicBezTo>
                    <a:cubicBezTo>
                      <a:pt x="3123469" y="5793396"/>
                      <a:pt x="3126120" y="5780706"/>
                      <a:pt x="3133725" y="5772150"/>
                    </a:cubicBezTo>
                    <a:cubicBezTo>
                      <a:pt x="3180164" y="5719906"/>
                      <a:pt x="3171954" y="5719045"/>
                      <a:pt x="3219450" y="5705475"/>
                    </a:cubicBezTo>
                    <a:cubicBezTo>
                      <a:pt x="3232037" y="5701879"/>
                      <a:pt x="3244850" y="5699125"/>
                      <a:pt x="3257550" y="5695950"/>
                    </a:cubicBezTo>
                    <a:cubicBezTo>
                      <a:pt x="3267075" y="5689600"/>
                      <a:pt x="3277331" y="5684229"/>
                      <a:pt x="3286125" y="5676900"/>
                    </a:cubicBezTo>
                    <a:cubicBezTo>
                      <a:pt x="3304181" y="5661853"/>
                      <a:pt x="3323046" y="5641157"/>
                      <a:pt x="3333750" y="5619750"/>
                    </a:cubicBezTo>
                    <a:cubicBezTo>
                      <a:pt x="3338240" y="5610770"/>
                      <a:pt x="3338785" y="5600155"/>
                      <a:pt x="3343275" y="5591175"/>
                    </a:cubicBezTo>
                    <a:cubicBezTo>
                      <a:pt x="3348395" y="5580936"/>
                      <a:pt x="3357205" y="5572839"/>
                      <a:pt x="3362325" y="5562600"/>
                    </a:cubicBezTo>
                    <a:cubicBezTo>
                      <a:pt x="3366815" y="5553620"/>
                      <a:pt x="3367360" y="5543005"/>
                      <a:pt x="3371850" y="5534025"/>
                    </a:cubicBezTo>
                    <a:cubicBezTo>
                      <a:pt x="3376970" y="5523786"/>
                      <a:pt x="3401760" y="5509070"/>
                      <a:pt x="3390900" y="5505450"/>
                    </a:cubicBezTo>
                    <a:cubicBezTo>
                      <a:pt x="3366616" y="5497355"/>
                      <a:pt x="3340100" y="5511800"/>
                      <a:pt x="3314700" y="5514975"/>
                    </a:cubicBezTo>
                    <a:cubicBezTo>
                      <a:pt x="3249196" y="5558644"/>
                      <a:pt x="3279270" y="5545835"/>
                      <a:pt x="3228975" y="5562600"/>
                    </a:cubicBezTo>
                    <a:lnTo>
                      <a:pt x="3143250" y="5619750"/>
                    </a:lnTo>
                    <a:cubicBezTo>
                      <a:pt x="3132042" y="5627222"/>
                      <a:pt x="3125883" y="5640853"/>
                      <a:pt x="3114675" y="5648325"/>
                    </a:cubicBezTo>
                    <a:cubicBezTo>
                      <a:pt x="3106321" y="5653894"/>
                      <a:pt x="3095901" y="5655672"/>
                      <a:pt x="3086100" y="5657850"/>
                    </a:cubicBezTo>
                    <a:cubicBezTo>
                      <a:pt x="3067247" y="5662040"/>
                      <a:pt x="3047888" y="5663587"/>
                      <a:pt x="3028950" y="5667375"/>
                    </a:cubicBezTo>
                    <a:cubicBezTo>
                      <a:pt x="3016113" y="5669942"/>
                      <a:pt x="3003550" y="5673725"/>
                      <a:pt x="2990850" y="5676900"/>
                    </a:cubicBezTo>
                    <a:cubicBezTo>
                      <a:pt x="2955925" y="5673725"/>
                      <a:pt x="2920836" y="5672010"/>
                      <a:pt x="2886075" y="5667375"/>
                    </a:cubicBezTo>
                    <a:cubicBezTo>
                      <a:pt x="2873099" y="5665645"/>
                      <a:pt x="2861066" y="5657850"/>
                      <a:pt x="2847975" y="5657850"/>
                    </a:cubicBezTo>
                    <a:cubicBezTo>
                      <a:pt x="2834884" y="5657850"/>
                      <a:pt x="2822575" y="5664200"/>
                      <a:pt x="2809875" y="5667375"/>
                    </a:cubicBezTo>
                    <a:cubicBezTo>
                      <a:pt x="2755706" y="5721544"/>
                      <a:pt x="2807864" y="5677906"/>
                      <a:pt x="2752725" y="5705475"/>
                    </a:cubicBezTo>
                    <a:cubicBezTo>
                      <a:pt x="2678867" y="5742404"/>
                      <a:pt x="2767399" y="5710109"/>
                      <a:pt x="2695575" y="5734050"/>
                    </a:cubicBezTo>
                    <a:cubicBezTo>
                      <a:pt x="2686050" y="5727700"/>
                      <a:pt x="2677239" y="5720120"/>
                      <a:pt x="2667000" y="5715000"/>
                    </a:cubicBezTo>
                    <a:cubicBezTo>
                      <a:pt x="2651775" y="5707387"/>
                      <a:pt x="2614567" y="5700019"/>
                      <a:pt x="2600325" y="5695950"/>
                    </a:cubicBezTo>
                    <a:cubicBezTo>
                      <a:pt x="2590671" y="5693192"/>
                      <a:pt x="2581275" y="5689600"/>
                      <a:pt x="2571750" y="5686425"/>
                    </a:cubicBezTo>
                    <a:cubicBezTo>
                      <a:pt x="2562225" y="5680075"/>
                      <a:pt x="2545420" y="5678600"/>
                      <a:pt x="2543175" y="5667375"/>
                    </a:cubicBezTo>
                    <a:cubicBezTo>
                      <a:pt x="2537790" y="5640448"/>
                      <a:pt x="2577681" y="5633648"/>
                      <a:pt x="2590800" y="5629275"/>
                    </a:cubicBezTo>
                    <a:cubicBezTo>
                      <a:pt x="2600325" y="5619750"/>
                      <a:pt x="2611903" y="5611908"/>
                      <a:pt x="2619375" y="5600700"/>
                    </a:cubicBezTo>
                    <a:cubicBezTo>
                      <a:pt x="2641549" y="5567439"/>
                      <a:pt x="2621768" y="5500804"/>
                      <a:pt x="2619375" y="5476875"/>
                    </a:cubicBezTo>
                    <a:cubicBezTo>
                      <a:pt x="2500268" y="5506652"/>
                      <a:pt x="2648353" y="5468596"/>
                      <a:pt x="2552700" y="5495925"/>
                    </a:cubicBezTo>
                    <a:cubicBezTo>
                      <a:pt x="2540113" y="5499521"/>
                      <a:pt x="2527300" y="5502275"/>
                      <a:pt x="2514600" y="5505450"/>
                    </a:cubicBezTo>
                    <a:lnTo>
                      <a:pt x="2447925" y="5486400"/>
                    </a:lnTo>
                    <a:cubicBezTo>
                      <a:pt x="2438308" y="5483515"/>
                      <a:pt x="2428330" y="5481365"/>
                      <a:pt x="2419350" y="5476875"/>
                    </a:cubicBezTo>
                    <a:cubicBezTo>
                      <a:pt x="2385356" y="5459878"/>
                      <a:pt x="2358869" y="5425919"/>
                      <a:pt x="2333625" y="5400675"/>
                    </a:cubicBezTo>
                    <a:cubicBezTo>
                      <a:pt x="2250143" y="5317193"/>
                      <a:pt x="2352305" y="5423091"/>
                      <a:pt x="2286000" y="5343525"/>
                    </a:cubicBezTo>
                    <a:cubicBezTo>
                      <a:pt x="2277376" y="5333177"/>
                      <a:pt x="2266950" y="5324475"/>
                      <a:pt x="2257425" y="5314950"/>
                    </a:cubicBezTo>
                    <a:cubicBezTo>
                      <a:pt x="2254250" y="5305425"/>
                      <a:pt x="2250658" y="5296029"/>
                      <a:pt x="2247900" y="5286375"/>
                    </a:cubicBezTo>
                    <a:cubicBezTo>
                      <a:pt x="2244304" y="5273788"/>
                      <a:pt x="2244870" y="5259641"/>
                      <a:pt x="2238375" y="5248275"/>
                    </a:cubicBezTo>
                    <a:cubicBezTo>
                      <a:pt x="2231692" y="5236579"/>
                      <a:pt x="2218424" y="5230048"/>
                      <a:pt x="2209800" y="5219700"/>
                    </a:cubicBezTo>
                    <a:cubicBezTo>
                      <a:pt x="2202471" y="5210906"/>
                      <a:pt x="2199689" y="5198276"/>
                      <a:pt x="2190750" y="5191125"/>
                    </a:cubicBezTo>
                    <a:cubicBezTo>
                      <a:pt x="2184456" y="5186090"/>
                      <a:pt x="2126671" y="5172783"/>
                      <a:pt x="2124075" y="5172075"/>
                    </a:cubicBezTo>
                    <a:cubicBezTo>
                      <a:pt x="2101775" y="5165993"/>
                      <a:pt x="2079540" y="5159667"/>
                      <a:pt x="2057400" y="5153025"/>
                    </a:cubicBezTo>
                    <a:cubicBezTo>
                      <a:pt x="2025058" y="5143322"/>
                      <a:pt x="2019979" y="5137500"/>
                      <a:pt x="1981200" y="5133975"/>
                    </a:cubicBezTo>
                    <a:cubicBezTo>
                      <a:pt x="1927354" y="5129080"/>
                      <a:pt x="1873250" y="5127625"/>
                      <a:pt x="1819275" y="5124450"/>
                    </a:cubicBezTo>
                    <a:cubicBezTo>
                      <a:pt x="1760584" y="5104886"/>
                      <a:pt x="1823220" y="5127262"/>
                      <a:pt x="1752600" y="5095875"/>
                    </a:cubicBezTo>
                    <a:cubicBezTo>
                      <a:pt x="1736976" y="5088931"/>
                      <a:pt x="1720850" y="5083175"/>
                      <a:pt x="1704975" y="5076825"/>
                    </a:cubicBezTo>
                    <a:cubicBezTo>
                      <a:pt x="1698625" y="5067300"/>
                      <a:pt x="1694864" y="5055401"/>
                      <a:pt x="1685925" y="5048250"/>
                    </a:cubicBezTo>
                    <a:cubicBezTo>
                      <a:pt x="1678085" y="5041978"/>
                      <a:pt x="1666330" y="5043215"/>
                      <a:pt x="1657350" y="5038725"/>
                    </a:cubicBezTo>
                    <a:cubicBezTo>
                      <a:pt x="1647111" y="5033605"/>
                      <a:pt x="1637569" y="5027004"/>
                      <a:pt x="1628775" y="5019675"/>
                    </a:cubicBezTo>
                    <a:cubicBezTo>
                      <a:pt x="1614517" y="5007793"/>
                      <a:pt x="1580875" y="4966280"/>
                      <a:pt x="1562100" y="4962525"/>
                    </a:cubicBezTo>
                    <a:cubicBezTo>
                      <a:pt x="1512189" y="4952543"/>
                      <a:pt x="1460500" y="4956175"/>
                      <a:pt x="1409700" y="4953000"/>
                    </a:cubicBezTo>
                    <a:cubicBezTo>
                      <a:pt x="1406525" y="4943475"/>
                      <a:pt x="1400175" y="4934465"/>
                      <a:pt x="1400175" y="4924425"/>
                    </a:cubicBezTo>
                    <a:cubicBezTo>
                      <a:pt x="1400175" y="4889589"/>
                      <a:pt x="1430257" y="4898961"/>
                      <a:pt x="1390650" y="4867275"/>
                    </a:cubicBezTo>
                    <a:cubicBezTo>
                      <a:pt x="1382810" y="4861003"/>
                      <a:pt x="1371600" y="4860925"/>
                      <a:pt x="1362075" y="4857750"/>
                    </a:cubicBezTo>
                    <a:lnTo>
                      <a:pt x="1295400" y="4791075"/>
                    </a:lnTo>
                    <a:cubicBezTo>
                      <a:pt x="1280576" y="4776251"/>
                      <a:pt x="1259468" y="4751407"/>
                      <a:pt x="1238250" y="4743450"/>
                    </a:cubicBezTo>
                    <a:cubicBezTo>
                      <a:pt x="1223091" y="4737766"/>
                      <a:pt x="1206500" y="4737100"/>
                      <a:pt x="1190625" y="4733925"/>
                    </a:cubicBezTo>
                    <a:cubicBezTo>
                      <a:pt x="1103952" y="4668920"/>
                      <a:pt x="1145227" y="4684476"/>
                      <a:pt x="1076325" y="4667250"/>
                    </a:cubicBezTo>
                    <a:cubicBezTo>
                      <a:pt x="1079500" y="4654550"/>
                      <a:pt x="1081253" y="4641407"/>
                      <a:pt x="1085850" y="4629150"/>
                    </a:cubicBezTo>
                    <a:cubicBezTo>
                      <a:pt x="1090836" y="4615855"/>
                      <a:pt x="1103811" y="4605207"/>
                      <a:pt x="1104900" y="4591050"/>
                    </a:cubicBezTo>
                    <a:cubicBezTo>
                      <a:pt x="1112865" y="4487506"/>
                      <a:pt x="1103856" y="4531812"/>
                      <a:pt x="1076325" y="4476750"/>
                    </a:cubicBezTo>
                    <a:cubicBezTo>
                      <a:pt x="1071835" y="4467770"/>
                      <a:pt x="1073900" y="4455275"/>
                      <a:pt x="1066800" y="4448175"/>
                    </a:cubicBezTo>
                    <a:cubicBezTo>
                      <a:pt x="1059700" y="4441075"/>
                      <a:pt x="1047750" y="4441825"/>
                      <a:pt x="1038225" y="4438650"/>
                    </a:cubicBezTo>
                    <a:cubicBezTo>
                      <a:pt x="1016000" y="4441825"/>
                      <a:pt x="993565" y="4443772"/>
                      <a:pt x="971550" y="4448175"/>
                    </a:cubicBezTo>
                    <a:cubicBezTo>
                      <a:pt x="961705" y="4450144"/>
                      <a:pt x="950815" y="4451428"/>
                      <a:pt x="942975" y="4457700"/>
                    </a:cubicBezTo>
                    <a:cubicBezTo>
                      <a:pt x="934036" y="4464851"/>
                      <a:pt x="930275" y="4476750"/>
                      <a:pt x="923925" y="4486275"/>
                    </a:cubicBezTo>
                    <a:cubicBezTo>
                      <a:pt x="920750" y="4498975"/>
                      <a:pt x="926109" y="4518521"/>
                      <a:pt x="914400" y="4524375"/>
                    </a:cubicBezTo>
                    <a:cubicBezTo>
                      <a:pt x="899920" y="4531615"/>
                      <a:pt x="880245" y="4523830"/>
                      <a:pt x="866775" y="4514850"/>
                    </a:cubicBezTo>
                    <a:cubicBezTo>
                      <a:pt x="858421" y="4509281"/>
                      <a:pt x="862819" y="4494629"/>
                      <a:pt x="857250" y="4486275"/>
                    </a:cubicBezTo>
                    <a:cubicBezTo>
                      <a:pt x="849778" y="4475067"/>
                      <a:pt x="837299" y="4468048"/>
                      <a:pt x="828675" y="4457700"/>
                    </a:cubicBezTo>
                    <a:cubicBezTo>
                      <a:pt x="821346" y="4448906"/>
                      <a:pt x="815975" y="4438650"/>
                      <a:pt x="809625" y="4429125"/>
                    </a:cubicBezTo>
                    <a:cubicBezTo>
                      <a:pt x="815975" y="4451350"/>
                      <a:pt x="815853" y="4476568"/>
                      <a:pt x="828675" y="4495800"/>
                    </a:cubicBezTo>
                    <a:cubicBezTo>
                      <a:pt x="855323" y="4535772"/>
                      <a:pt x="883333" y="4536586"/>
                      <a:pt x="914400" y="4562475"/>
                    </a:cubicBezTo>
                    <a:cubicBezTo>
                      <a:pt x="940170" y="4583950"/>
                      <a:pt x="960489" y="4612942"/>
                      <a:pt x="981075" y="4638675"/>
                    </a:cubicBezTo>
                    <a:cubicBezTo>
                      <a:pt x="968375" y="4645025"/>
                      <a:pt x="957116" y="4656439"/>
                      <a:pt x="942975" y="4657725"/>
                    </a:cubicBezTo>
                    <a:cubicBezTo>
                      <a:pt x="917947" y="4660000"/>
                      <a:pt x="866240" y="4645685"/>
                      <a:pt x="838200" y="4638675"/>
                    </a:cubicBezTo>
                    <a:cubicBezTo>
                      <a:pt x="828675" y="4629150"/>
                      <a:pt x="816308" y="4621796"/>
                      <a:pt x="809625" y="4610100"/>
                    </a:cubicBezTo>
                    <a:cubicBezTo>
                      <a:pt x="803130" y="4598734"/>
                      <a:pt x="803696" y="4584587"/>
                      <a:pt x="800100" y="4572000"/>
                    </a:cubicBezTo>
                    <a:cubicBezTo>
                      <a:pt x="797342" y="4562346"/>
                      <a:pt x="793750" y="4552950"/>
                      <a:pt x="790575" y="4543425"/>
                    </a:cubicBezTo>
                    <a:cubicBezTo>
                      <a:pt x="791998" y="4539155"/>
                      <a:pt x="826376" y="4474122"/>
                      <a:pt x="800100" y="4457700"/>
                    </a:cubicBezTo>
                    <a:cubicBezTo>
                      <a:pt x="780499" y="4445449"/>
                      <a:pt x="755517" y="4445448"/>
                      <a:pt x="733425" y="4438650"/>
                    </a:cubicBezTo>
                    <a:cubicBezTo>
                      <a:pt x="714233" y="4432745"/>
                      <a:pt x="695325" y="4425950"/>
                      <a:pt x="676275" y="4419600"/>
                    </a:cubicBezTo>
                    <a:lnTo>
                      <a:pt x="647700" y="4410075"/>
                    </a:lnTo>
                    <a:cubicBezTo>
                      <a:pt x="537215" y="4299590"/>
                      <a:pt x="632111" y="4408685"/>
                      <a:pt x="590550" y="4333875"/>
                    </a:cubicBezTo>
                    <a:cubicBezTo>
                      <a:pt x="535963" y="4235619"/>
                      <a:pt x="564478" y="4312808"/>
                      <a:pt x="542925" y="4248150"/>
                    </a:cubicBezTo>
                    <a:cubicBezTo>
                      <a:pt x="546100" y="4222750"/>
                      <a:pt x="552450" y="4197548"/>
                      <a:pt x="552450" y="4171950"/>
                    </a:cubicBezTo>
                    <a:cubicBezTo>
                      <a:pt x="552450" y="4161910"/>
                      <a:pt x="547415" y="4152355"/>
                      <a:pt x="542925" y="4143375"/>
                    </a:cubicBezTo>
                    <a:cubicBezTo>
                      <a:pt x="535035" y="4127594"/>
                      <a:pt x="510046" y="4094651"/>
                      <a:pt x="495300" y="4086225"/>
                    </a:cubicBezTo>
                    <a:cubicBezTo>
                      <a:pt x="483934" y="4079730"/>
                      <a:pt x="469900" y="4079875"/>
                      <a:pt x="457200" y="4076700"/>
                    </a:cubicBezTo>
                    <a:cubicBezTo>
                      <a:pt x="373718" y="3993218"/>
                      <a:pt x="479616" y="4095380"/>
                      <a:pt x="400050" y="4029075"/>
                    </a:cubicBezTo>
                    <a:cubicBezTo>
                      <a:pt x="389702" y="4020451"/>
                      <a:pt x="381702" y="4009266"/>
                      <a:pt x="371475" y="4000500"/>
                    </a:cubicBezTo>
                    <a:cubicBezTo>
                      <a:pt x="365435" y="3995323"/>
                      <a:pt x="316861" y="3958906"/>
                      <a:pt x="304800" y="3952875"/>
                    </a:cubicBezTo>
                    <a:cubicBezTo>
                      <a:pt x="295820" y="3948385"/>
                      <a:pt x="285750" y="3946525"/>
                      <a:pt x="276225" y="3943350"/>
                    </a:cubicBezTo>
                    <a:cubicBezTo>
                      <a:pt x="227316" y="3869986"/>
                      <a:pt x="265117" y="3937042"/>
                      <a:pt x="247650" y="3762375"/>
                    </a:cubicBezTo>
                    <a:cubicBezTo>
                      <a:pt x="243182" y="3717697"/>
                      <a:pt x="253507" y="3666385"/>
                      <a:pt x="228600" y="3629025"/>
                    </a:cubicBezTo>
                    <a:cubicBezTo>
                      <a:pt x="215900" y="3609975"/>
                      <a:pt x="212220" y="3579115"/>
                      <a:pt x="190500" y="3571875"/>
                    </a:cubicBezTo>
                    <a:lnTo>
                      <a:pt x="133350" y="3552825"/>
                    </a:lnTo>
                    <a:lnTo>
                      <a:pt x="104775" y="3543300"/>
                    </a:lnTo>
                    <a:cubicBezTo>
                      <a:pt x="101600" y="3530600"/>
                      <a:pt x="97292" y="3518131"/>
                      <a:pt x="95250" y="3505200"/>
                    </a:cubicBezTo>
                    <a:cubicBezTo>
                      <a:pt x="87757" y="3457741"/>
                      <a:pt x="82995" y="3409889"/>
                      <a:pt x="76200" y="3362325"/>
                    </a:cubicBezTo>
                    <a:cubicBezTo>
                      <a:pt x="73469" y="3343206"/>
                      <a:pt x="70865" y="3324028"/>
                      <a:pt x="66675" y="3305175"/>
                    </a:cubicBezTo>
                    <a:cubicBezTo>
                      <a:pt x="64497" y="3295374"/>
                      <a:pt x="59908" y="3286254"/>
                      <a:pt x="57150" y="3276600"/>
                    </a:cubicBezTo>
                    <a:cubicBezTo>
                      <a:pt x="53554" y="3264013"/>
                      <a:pt x="52782" y="3250532"/>
                      <a:pt x="47625" y="3238500"/>
                    </a:cubicBezTo>
                    <a:cubicBezTo>
                      <a:pt x="43116" y="3227978"/>
                      <a:pt x="33224" y="3220386"/>
                      <a:pt x="28575" y="3209925"/>
                    </a:cubicBezTo>
                    <a:cubicBezTo>
                      <a:pt x="20420" y="3191575"/>
                      <a:pt x="15875" y="3171825"/>
                      <a:pt x="9525" y="3152775"/>
                    </a:cubicBezTo>
                    <a:lnTo>
                      <a:pt x="0" y="3124200"/>
                    </a:lnTo>
                    <a:cubicBezTo>
                      <a:pt x="3175" y="3028950"/>
                      <a:pt x="4516" y="2933621"/>
                      <a:pt x="9525" y="2838450"/>
                    </a:cubicBezTo>
                    <a:cubicBezTo>
                      <a:pt x="15392" y="2726980"/>
                      <a:pt x="12879" y="2796461"/>
                      <a:pt x="28575" y="2733675"/>
                    </a:cubicBezTo>
                    <a:cubicBezTo>
                      <a:pt x="35231" y="2707050"/>
                      <a:pt x="43379" y="2654376"/>
                      <a:pt x="47625" y="2628900"/>
                    </a:cubicBezTo>
                    <a:cubicBezTo>
                      <a:pt x="44450" y="2565400"/>
                      <a:pt x="43380" y="2501760"/>
                      <a:pt x="38100" y="2438400"/>
                    </a:cubicBezTo>
                    <a:cubicBezTo>
                      <a:pt x="37013" y="2425354"/>
                      <a:pt x="31142" y="2413137"/>
                      <a:pt x="28575" y="2400300"/>
                    </a:cubicBezTo>
                    <a:cubicBezTo>
                      <a:pt x="24787" y="2381362"/>
                      <a:pt x="22225" y="2362200"/>
                      <a:pt x="19050" y="2343150"/>
                    </a:cubicBezTo>
                    <a:cubicBezTo>
                      <a:pt x="22225" y="2286000"/>
                      <a:pt x="24497" y="2228793"/>
                      <a:pt x="28575" y="2171700"/>
                    </a:cubicBezTo>
                    <a:cubicBezTo>
                      <a:pt x="30848" y="2139873"/>
                      <a:pt x="38100" y="2108358"/>
                      <a:pt x="38100" y="2076450"/>
                    </a:cubicBezTo>
                    <a:cubicBezTo>
                      <a:pt x="38100" y="1954159"/>
                      <a:pt x="29330" y="1875200"/>
                      <a:pt x="19050" y="1762125"/>
                    </a:cubicBezTo>
                    <a:cubicBezTo>
                      <a:pt x="22225" y="1727200"/>
                      <a:pt x="8464" y="1686080"/>
                      <a:pt x="28575" y="1657350"/>
                    </a:cubicBezTo>
                    <a:cubicBezTo>
                      <a:pt x="39650" y="1641528"/>
                      <a:pt x="67403" y="1660768"/>
                      <a:pt x="85725" y="1666875"/>
                    </a:cubicBezTo>
                    <a:cubicBezTo>
                      <a:pt x="96585" y="1670495"/>
                      <a:pt x="104061" y="1680805"/>
                      <a:pt x="114300" y="1685925"/>
                    </a:cubicBezTo>
                    <a:cubicBezTo>
                      <a:pt x="127965" y="1692757"/>
                      <a:pt x="168768" y="1701923"/>
                      <a:pt x="180975" y="1704975"/>
                    </a:cubicBezTo>
                    <a:cubicBezTo>
                      <a:pt x="215900" y="1701800"/>
                      <a:pt x="252232" y="1705763"/>
                      <a:pt x="285750" y="1695450"/>
                    </a:cubicBezTo>
                    <a:cubicBezTo>
                      <a:pt x="296691" y="1692083"/>
                      <a:pt x="304800" y="1678323"/>
                      <a:pt x="304800" y="1666875"/>
                    </a:cubicBezTo>
                    <a:cubicBezTo>
                      <a:pt x="304800" y="1646795"/>
                      <a:pt x="285750" y="1609725"/>
                      <a:pt x="285750" y="1609725"/>
                    </a:cubicBezTo>
                    <a:cubicBezTo>
                      <a:pt x="316268" y="1518170"/>
                      <a:pt x="279626" y="1598514"/>
                      <a:pt x="485775" y="1571625"/>
                    </a:cubicBezTo>
                    <a:cubicBezTo>
                      <a:pt x="497126" y="1570144"/>
                      <a:pt x="504825" y="1558925"/>
                      <a:pt x="514350" y="1552575"/>
                    </a:cubicBezTo>
                    <a:cubicBezTo>
                      <a:pt x="517525" y="1543050"/>
                      <a:pt x="519920" y="1533228"/>
                      <a:pt x="523875" y="1524000"/>
                    </a:cubicBezTo>
                    <a:cubicBezTo>
                      <a:pt x="529468" y="1510949"/>
                      <a:pt x="538435" y="1499370"/>
                      <a:pt x="542925" y="1485900"/>
                    </a:cubicBezTo>
                    <a:cubicBezTo>
                      <a:pt x="548045" y="1470541"/>
                      <a:pt x="549275" y="1454150"/>
                      <a:pt x="552450" y="1438275"/>
                    </a:cubicBezTo>
                    <a:cubicBezTo>
                      <a:pt x="545903" y="1405539"/>
                      <a:pt x="542368" y="1383937"/>
                      <a:pt x="533400" y="1352550"/>
                    </a:cubicBezTo>
                    <a:cubicBezTo>
                      <a:pt x="530642" y="1342896"/>
                      <a:pt x="527050" y="1333500"/>
                      <a:pt x="523875" y="1323975"/>
                    </a:cubicBezTo>
                    <a:cubicBezTo>
                      <a:pt x="580814" y="1238566"/>
                      <a:pt x="500799" y="1342079"/>
                      <a:pt x="714375" y="1285875"/>
                    </a:cubicBezTo>
                    <a:cubicBezTo>
                      <a:pt x="727035" y="1282543"/>
                      <a:pt x="716638" y="1258667"/>
                      <a:pt x="723900" y="1247775"/>
                    </a:cubicBezTo>
                    <a:cubicBezTo>
                      <a:pt x="734451" y="1231948"/>
                      <a:pt x="764750" y="1224633"/>
                      <a:pt x="781050" y="1219200"/>
                    </a:cubicBezTo>
                    <a:cubicBezTo>
                      <a:pt x="831850" y="1222375"/>
                      <a:pt x="883643" y="1218239"/>
                      <a:pt x="933450" y="1228725"/>
                    </a:cubicBezTo>
                    <a:cubicBezTo>
                      <a:pt x="946631" y="1231500"/>
                      <a:pt x="950817" y="1249828"/>
                      <a:pt x="962025" y="1257300"/>
                    </a:cubicBezTo>
                    <a:cubicBezTo>
                      <a:pt x="970379" y="1262869"/>
                      <a:pt x="981372" y="1262870"/>
                      <a:pt x="990600" y="1266825"/>
                    </a:cubicBezTo>
                    <a:cubicBezTo>
                      <a:pt x="1060332" y="1296710"/>
                      <a:pt x="996556" y="1277839"/>
                      <a:pt x="1066800" y="1295400"/>
                    </a:cubicBezTo>
                    <a:cubicBezTo>
                      <a:pt x="1092200" y="1292225"/>
                      <a:pt x="1117815" y="1290454"/>
                      <a:pt x="1143000" y="1285875"/>
                    </a:cubicBezTo>
                    <a:cubicBezTo>
                      <a:pt x="1152878" y="1284079"/>
                      <a:pt x="1170466" y="1286329"/>
                      <a:pt x="1171575" y="1276350"/>
                    </a:cubicBezTo>
                    <a:cubicBezTo>
                      <a:pt x="1174466" y="1250328"/>
                      <a:pt x="1158875" y="1225550"/>
                      <a:pt x="1152525" y="1200150"/>
                    </a:cubicBezTo>
                    <a:cubicBezTo>
                      <a:pt x="1150090" y="1190410"/>
                      <a:pt x="1148569" y="1179929"/>
                      <a:pt x="1143000" y="1171575"/>
                    </a:cubicBezTo>
                    <a:cubicBezTo>
                      <a:pt x="1135528" y="1160367"/>
                      <a:pt x="1123950" y="1152525"/>
                      <a:pt x="1114425" y="1143000"/>
                    </a:cubicBezTo>
                    <a:cubicBezTo>
                      <a:pt x="1211588" y="1078225"/>
                      <a:pt x="1081953" y="1157521"/>
                      <a:pt x="1362075" y="1114425"/>
                    </a:cubicBezTo>
                    <a:cubicBezTo>
                      <a:pt x="1375389" y="1112377"/>
                      <a:pt x="1379442" y="1093322"/>
                      <a:pt x="1390650" y="1085850"/>
                    </a:cubicBezTo>
                    <a:cubicBezTo>
                      <a:pt x="1399004" y="1080281"/>
                      <a:pt x="1409700" y="1079500"/>
                      <a:pt x="1419225" y="1076325"/>
                    </a:cubicBezTo>
                    <a:cubicBezTo>
                      <a:pt x="1428750" y="1066800"/>
                      <a:pt x="1435141" y="1052353"/>
                      <a:pt x="1447800" y="1047750"/>
                    </a:cubicBezTo>
                    <a:cubicBezTo>
                      <a:pt x="1471857" y="1039002"/>
                      <a:pt x="1498478" y="1040188"/>
                      <a:pt x="1524000" y="1038225"/>
                    </a:cubicBezTo>
                    <a:cubicBezTo>
                      <a:pt x="1581070" y="1033835"/>
                      <a:pt x="1638300" y="1031875"/>
                      <a:pt x="1695450" y="1028700"/>
                    </a:cubicBezTo>
                    <a:cubicBezTo>
                      <a:pt x="1704975" y="1016000"/>
                      <a:pt x="1717456" y="1005052"/>
                      <a:pt x="1724025" y="990600"/>
                    </a:cubicBezTo>
                    <a:cubicBezTo>
                      <a:pt x="1728063" y="981716"/>
                      <a:pt x="1748008" y="906490"/>
                      <a:pt x="1752600" y="885825"/>
                    </a:cubicBezTo>
                    <a:cubicBezTo>
                      <a:pt x="1756112" y="870021"/>
                      <a:pt x="1756441" y="853359"/>
                      <a:pt x="1762125" y="838200"/>
                    </a:cubicBezTo>
                    <a:cubicBezTo>
                      <a:pt x="1765370" y="829547"/>
                      <a:pt x="1808436" y="772839"/>
                      <a:pt x="1809750" y="771525"/>
                    </a:cubicBezTo>
                    <a:cubicBezTo>
                      <a:pt x="1817845" y="763430"/>
                      <a:pt x="1829531" y="759804"/>
                      <a:pt x="1838325" y="752475"/>
                    </a:cubicBezTo>
                    <a:cubicBezTo>
                      <a:pt x="1911664" y="691359"/>
                      <a:pt x="1824529" y="752148"/>
                      <a:pt x="1895475" y="704850"/>
                    </a:cubicBezTo>
                    <a:cubicBezTo>
                      <a:pt x="1917700" y="711200"/>
                      <a:pt x="1940689" y="715316"/>
                      <a:pt x="1962150" y="723900"/>
                    </a:cubicBezTo>
                    <a:cubicBezTo>
                      <a:pt x="1972779" y="728152"/>
                      <a:pt x="1980486" y="737830"/>
                      <a:pt x="1990725" y="742950"/>
                    </a:cubicBezTo>
                    <a:cubicBezTo>
                      <a:pt x="1999705" y="747440"/>
                      <a:pt x="2009775" y="749300"/>
                      <a:pt x="2019300" y="752475"/>
                    </a:cubicBezTo>
                    <a:cubicBezTo>
                      <a:pt x="2105548" y="730913"/>
                      <a:pt x="2001146" y="761552"/>
                      <a:pt x="2114550" y="704850"/>
                    </a:cubicBezTo>
                    <a:cubicBezTo>
                      <a:pt x="2127250" y="698500"/>
                      <a:pt x="2141096" y="694053"/>
                      <a:pt x="2152650" y="685800"/>
                    </a:cubicBezTo>
                    <a:cubicBezTo>
                      <a:pt x="2215080" y="641207"/>
                      <a:pt x="2148503" y="668132"/>
                      <a:pt x="2209800" y="647700"/>
                    </a:cubicBezTo>
                    <a:cubicBezTo>
                      <a:pt x="2219325" y="657225"/>
                      <a:pt x="2232904" y="663966"/>
                      <a:pt x="2238375" y="676275"/>
                    </a:cubicBezTo>
                    <a:cubicBezTo>
                      <a:pt x="2246219" y="693923"/>
                      <a:pt x="2236825" y="717603"/>
                      <a:pt x="2247900" y="733425"/>
                    </a:cubicBezTo>
                    <a:cubicBezTo>
                      <a:pt x="2281905" y="782003"/>
                      <a:pt x="2332021" y="772845"/>
                      <a:pt x="2381250" y="781050"/>
                    </a:cubicBezTo>
                    <a:cubicBezTo>
                      <a:pt x="2405170" y="785037"/>
                      <a:pt x="2425277" y="792551"/>
                      <a:pt x="2447925" y="800100"/>
                    </a:cubicBezTo>
                    <a:cubicBezTo>
                      <a:pt x="2454275" y="809625"/>
                      <a:pt x="2457267" y="822608"/>
                      <a:pt x="2466975" y="828675"/>
                    </a:cubicBezTo>
                    <a:cubicBezTo>
                      <a:pt x="2484003" y="839318"/>
                      <a:pt x="2524125" y="847725"/>
                      <a:pt x="2524125" y="847725"/>
                    </a:cubicBezTo>
                    <a:cubicBezTo>
                      <a:pt x="2552700" y="844550"/>
                      <a:pt x="2584536" y="851831"/>
                      <a:pt x="2609850" y="838200"/>
                    </a:cubicBezTo>
                    <a:cubicBezTo>
                      <a:pt x="2630009" y="827345"/>
                      <a:pt x="2625738" y="786603"/>
                      <a:pt x="2647950" y="781050"/>
                    </a:cubicBezTo>
                    <a:cubicBezTo>
                      <a:pt x="2710883" y="765317"/>
                      <a:pt x="2673060" y="773149"/>
                      <a:pt x="2762250" y="762000"/>
                    </a:cubicBezTo>
                    <a:cubicBezTo>
                      <a:pt x="2771775" y="765175"/>
                      <a:pt x="2780785" y="771525"/>
                      <a:pt x="2790825" y="771525"/>
                    </a:cubicBezTo>
                    <a:cubicBezTo>
                      <a:pt x="2834605" y="771525"/>
                      <a:pt x="2850886" y="764205"/>
                      <a:pt x="2886075" y="752475"/>
                    </a:cubicBezTo>
                    <a:cubicBezTo>
                      <a:pt x="2895600" y="742950"/>
                      <a:pt x="2901871" y="728160"/>
                      <a:pt x="2914650" y="723900"/>
                    </a:cubicBezTo>
                    <a:cubicBezTo>
                      <a:pt x="2924175" y="720725"/>
                      <a:pt x="2934448" y="728549"/>
                      <a:pt x="2943225" y="733425"/>
                    </a:cubicBezTo>
                    <a:cubicBezTo>
                      <a:pt x="2963239" y="744544"/>
                      <a:pt x="2981325" y="758825"/>
                      <a:pt x="3000375" y="771525"/>
                    </a:cubicBezTo>
                    <a:cubicBezTo>
                      <a:pt x="3016444" y="782238"/>
                      <a:pt x="3038285" y="779377"/>
                      <a:pt x="3057525" y="781050"/>
                    </a:cubicBezTo>
                    <a:cubicBezTo>
                      <a:pt x="3111390" y="785734"/>
                      <a:pt x="3165475" y="787400"/>
                      <a:pt x="3219450" y="790575"/>
                    </a:cubicBezTo>
                    <a:cubicBezTo>
                      <a:pt x="3232150" y="793750"/>
                      <a:pt x="3245011" y="796338"/>
                      <a:pt x="3257550" y="800100"/>
                    </a:cubicBezTo>
                    <a:cubicBezTo>
                      <a:pt x="3276784" y="805870"/>
                      <a:pt x="3294775" y="816659"/>
                      <a:pt x="3314700" y="819150"/>
                    </a:cubicBezTo>
                    <a:lnTo>
                      <a:pt x="3390900" y="828675"/>
                    </a:lnTo>
                    <a:cubicBezTo>
                      <a:pt x="3400425" y="831850"/>
                      <a:pt x="3409821" y="835442"/>
                      <a:pt x="3419475" y="838200"/>
                    </a:cubicBezTo>
                    <a:cubicBezTo>
                      <a:pt x="3432062" y="841796"/>
                      <a:pt x="3445543" y="842568"/>
                      <a:pt x="3457575" y="847725"/>
                    </a:cubicBezTo>
                    <a:cubicBezTo>
                      <a:pt x="3468097" y="852234"/>
                      <a:pt x="3475911" y="861655"/>
                      <a:pt x="3486150" y="866775"/>
                    </a:cubicBezTo>
                    <a:cubicBezTo>
                      <a:pt x="3495130" y="871265"/>
                      <a:pt x="3505200" y="873125"/>
                      <a:pt x="3514725" y="876300"/>
                    </a:cubicBezTo>
                    <a:cubicBezTo>
                      <a:pt x="3515775" y="876090"/>
                      <a:pt x="3594685" y="861093"/>
                      <a:pt x="3600450" y="857250"/>
                    </a:cubicBezTo>
                    <a:cubicBezTo>
                      <a:pt x="3609975" y="850900"/>
                      <a:pt x="3613150" y="838200"/>
                      <a:pt x="3619500" y="828675"/>
                    </a:cubicBezTo>
                    <a:cubicBezTo>
                      <a:pt x="3616325" y="815975"/>
                      <a:pt x="3616470" y="801941"/>
                      <a:pt x="3609975" y="790575"/>
                    </a:cubicBezTo>
                    <a:cubicBezTo>
                      <a:pt x="3594529" y="763544"/>
                      <a:pt x="3569026" y="755813"/>
                      <a:pt x="3543300" y="742950"/>
                    </a:cubicBezTo>
                    <a:cubicBezTo>
                      <a:pt x="3546475" y="730250"/>
                      <a:pt x="3547668" y="716882"/>
                      <a:pt x="3552825" y="704850"/>
                    </a:cubicBezTo>
                    <a:cubicBezTo>
                      <a:pt x="3557468" y="694017"/>
                      <a:pt x="3597197" y="642512"/>
                      <a:pt x="3600450" y="638175"/>
                    </a:cubicBezTo>
                    <a:cubicBezTo>
                      <a:pt x="3597275" y="612775"/>
                      <a:pt x="3603356" y="584351"/>
                      <a:pt x="3590925" y="561975"/>
                    </a:cubicBezTo>
                    <a:cubicBezTo>
                      <a:pt x="3584568" y="550532"/>
                      <a:pt x="3564857" y="557607"/>
                      <a:pt x="3552825" y="552450"/>
                    </a:cubicBezTo>
                    <a:cubicBezTo>
                      <a:pt x="3542303" y="547941"/>
                      <a:pt x="3534489" y="538520"/>
                      <a:pt x="3524250" y="533400"/>
                    </a:cubicBezTo>
                    <a:cubicBezTo>
                      <a:pt x="3492335" y="517443"/>
                      <a:pt x="3437112" y="517368"/>
                      <a:pt x="3409950" y="514350"/>
                    </a:cubicBezTo>
                    <a:cubicBezTo>
                      <a:pt x="3406775" y="504825"/>
                      <a:pt x="3402221" y="495653"/>
                      <a:pt x="3400425" y="485775"/>
                    </a:cubicBezTo>
                    <a:cubicBezTo>
                      <a:pt x="3391979" y="439322"/>
                      <a:pt x="3383309" y="412552"/>
                      <a:pt x="3400425" y="371475"/>
                    </a:cubicBezTo>
                    <a:cubicBezTo>
                      <a:pt x="3411347" y="345261"/>
                      <a:pt x="3418445" y="315355"/>
                      <a:pt x="3438525" y="295275"/>
                    </a:cubicBezTo>
                    <a:cubicBezTo>
                      <a:pt x="3459591" y="274209"/>
                      <a:pt x="3472889" y="264647"/>
                      <a:pt x="3486150" y="238125"/>
                    </a:cubicBezTo>
                    <a:cubicBezTo>
                      <a:pt x="3493796" y="222832"/>
                      <a:pt x="3499357" y="206568"/>
                      <a:pt x="3505200" y="190500"/>
                    </a:cubicBezTo>
                    <a:cubicBezTo>
                      <a:pt x="3512062" y="171629"/>
                      <a:pt x="3505200" y="139700"/>
                      <a:pt x="3524250" y="133350"/>
                    </a:cubicBezTo>
                    <a:lnTo>
                      <a:pt x="3552825" y="123825"/>
                    </a:lnTo>
                    <a:cubicBezTo>
                      <a:pt x="3556000" y="114300"/>
                      <a:pt x="3553122" y="91295"/>
                      <a:pt x="3562350" y="95250"/>
                    </a:cubicBezTo>
                    <a:cubicBezTo>
                      <a:pt x="3587112" y="105862"/>
                      <a:pt x="3600450" y="133350"/>
                      <a:pt x="3619500" y="152400"/>
                    </a:cubicBezTo>
                    <a:cubicBezTo>
                      <a:pt x="3627595" y="160495"/>
                      <a:pt x="3638760" y="164796"/>
                      <a:pt x="3648075" y="171450"/>
                    </a:cubicBezTo>
                    <a:cubicBezTo>
                      <a:pt x="3698532" y="207491"/>
                      <a:pt x="3668379" y="194093"/>
                      <a:pt x="3714750" y="209550"/>
                    </a:cubicBezTo>
                    <a:cubicBezTo>
                      <a:pt x="3729444" y="205876"/>
                      <a:pt x="3788383" y="190500"/>
                      <a:pt x="3800475" y="190500"/>
                    </a:cubicBezTo>
                    <a:cubicBezTo>
                      <a:pt x="3838707" y="190500"/>
                      <a:pt x="3876675" y="196850"/>
                      <a:pt x="3914775" y="200025"/>
                    </a:cubicBezTo>
                    <a:cubicBezTo>
                      <a:pt x="3924300" y="203200"/>
                      <a:pt x="3933446" y="207899"/>
                      <a:pt x="3943350" y="209550"/>
                    </a:cubicBezTo>
                    <a:cubicBezTo>
                      <a:pt x="4050310" y="227377"/>
                      <a:pt x="4071348" y="216726"/>
                      <a:pt x="4200525" y="209550"/>
                    </a:cubicBezTo>
                    <a:cubicBezTo>
                      <a:pt x="4210050" y="203200"/>
                      <a:pt x="4218240" y="194120"/>
                      <a:pt x="4229100" y="190500"/>
                    </a:cubicBezTo>
                    <a:cubicBezTo>
                      <a:pt x="4247422" y="184393"/>
                      <a:pt x="4267312" y="184763"/>
                      <a:pt x="4286250" y="180975"/>
                    </a:cubicBezTo>
                    <a:cubicBezTo>
                      <a:pt x="4299087" y="178408"/>
                      <a:pt x="4311650" y="174625"/>
                      <a:pt x="4324350" y="171450"/>
                    </a:cubicBezTo>
                    <a:lnTo>
                      <a:pt x="4381500" y="85725"/>
                    </a:lnTo>
                    <a:lnTo>
                      <a:pt x="4400550" y="57150"/>
                    </a:lnTo>
                    <a:cubicBezTo>
                      <a:pt x="4419600" y="60325"/>
                      <a:pt x="4439202" y="61126"/>
                      <a:pt x="4457700" y="66675"/>
                    </a:cubicBezTo>
                    <a:cubicBezTo>
                      <a:pt x="4471300" y="70755"/>
                      <a:pt x="4481744" y="87733"/>
                      <a:pt x="4495800" y="85725"/>
                    </a:cubicBezTo>
                    <a:cubicBezTo>
                      <a:pt x="4509135" y="83820"/>
                      <a:pt x="4513167" y="64622"/>
                      <a:pt x="4524375" y="57150"/>
                    </a:cubicBezTo>
                    <a:cubicBezTo>
                      <a:pt x="4532729" y="51581"/>
                      <a:pt x="4543072" y="49421"/>
                      <a:pt x="4552950" y="47625"/>
                    </a:cubicBezTo>
                    <a:cubicBezTo>
                      <a:pt x="4578135" y="43046"/>
                      <a:pt x="4603901" y="42308"/>
                      <a:pt x="4629150" y="38100"/>
                    </a:cubicBezTo>
                    <a:cubicBezTo>
                      <a:pt x="4642332" y="35903"/>
                      <a:pt x="4681413" y="25227"/>
                      <a:pt x="4695825" y="19050"/>
                    </a:cubicBezTo>
                    <a:cubicBezTo>
                      <a:pt x="4708876" y="13457"/>
                      <a:pt x="4721225" y="6350"/>
                      <a:pt x="4733925" y="0"/>
                    </a:cubicBezTo>
                    <a:cubicBezTo>
                      <a:pt x="4743450" y="6350"/>
                      <a:pt x="4755349" y="10111"/>
                      <a:pt x="4762500" y="19050"/>
                    </a:cubicBezTo>
                    <a:cubicBezTo>
                      <a:pt x="4768772" y="26890"/>
                      <a:pt x="4766456" y="39271"/>
                      <a:pt x="4772025" y="47625"/>
                    </a:cubicBezTo>
                    <a:cubicBezTo>
                      <a:pt x="4779497" y="58833"/>
                      <a:pt x="4791075" y="66675"/>
                      <a:pt x="4800600" y="76200"/>
                    </a:cubicBezTo>
                    <a:cubicBezTo>
                      <a:pt x="4817365" y="126495"/>
                      <a:pt x="4804556" y="96421"/>
                      <a:pt x="4848225" y="161925"/>
                    </a:cubicBezTo>
                    <a:cubicBezTo>
                      <a:pt x="4859364" y="178633"/>
                      <a:pt x="4860925" y="200025"/>
                      <a:pt x="4867275" y="219075"/>
                    </a:cubicBezTo>
                    <a:cubicBezTo>
                      <a:pt x="4870895" y="229935"/>
                      <a:pt x="4880258" y="237942"/>
                      <a:pt x="4886325" y="247650"/>
                    </a:cubicBezTo>
                    <a:cubicBezTo>
                      <a:pt x="4896137" y="263349"/>
                      <a:pt x="4905088" y="279576"/>
                      <a:pt x="4914900" y="295275"/>
                    </a:cubicBezTo>
                    <a:cubicBezTo>
                      <a:pt x="4920967" y="304983"/>
                      <a:pt x="4926345" y="315294"/>
                      <a:pt x="4933950" y="323850"/>
                    </a:cubicBezTo>
                    <a:cubicBezTo>
                      <a:pt x="4951848" y="343986"/>
                      <a:pt x="4991100" y="381000"/>
                      <a:pt x="4991100" y="381000"/>
                    </a:cubicBezTo>
                    <a:cubicBezTo>
                      <a:pt x="4990696" y="384231"/>
                      <a:pt x="4985604" y="465445"/>
                      <a:pt x="4972050" y="485775"/>
                    </a:cubicBezTo>
                    <a:cubicBezTo>
                      <a:pt x="4964578" y="496983"/>
                      <a:pt x="4952099" y="504002"/>
                      <a:pt x="4943475" y="514350"/>
                    </a:cubicBezTo>
                    <a:cubicBezTo>
                      <a:pt x="4936146" y="523144"/>
                      <a:pt x="4930775" y="533400"/>
                      <a:pt x="4924425" y="542925"/>
                    </a:cubicBezTo>
                    <a:cubicBezTo>
                      <a:pt x="4927600" y="565150"/>
                      <a:pt x="4930259" y="587455"/>
                      <a:pt x="4933950" y="609600"/>
                    </a:cubicBezTo>
                    <a:cubicBezTo>
                      <a:pt x="4943526" y="667055"/>
                      <a:pt x="4941583" y="643950"/>
                      <a:pt x="4953000" y="695325"/>
                    </a:cubicBezTo>
                    <a:cubicBezTo>
                      <a:pt x="4957347" y="714888"/>
                      <a:pt x="4961838" y="751100"/>
                      <a:pt x="4972050" y="771525"/>
                    </a:cubicBezTo>
                    <a:cubicBezTo>
                      <a:pt x="4977170" y="781764"/>
                      <a:pt x="4984750" y="790575"/>
                      <a:pt x="4991100" y="800100"/>
                    </a:cubicBezTo>
                    <a:cubicBezTo>
                      <a:pt x="4994275" y="812800"/>
                      <a:pt x="4999255" y="825181"/>
                      <a:pt x="5000625" y="838200"/>
                    </a:cubicBezTo>
                    <a:cubicBezTo>
                      <a:pt x="5005622" y="885668"/>
                      <a:pt x="4998574" y="934769"/>
                      <a:pt x="5010150" y="981075"/>
                    </a:cubicBezTo>
                    <a:cubicBezTo>
                      <a:pt x="5012585" y="990815"/>
                      <a:pt x="5029200" y="987425"/>
                      <a:pt x="5038725" y="990600"/>
                    </a:cubicBezTo>
                    <a:cubicBezTo>
                      <a:pt x="5099050" y="987425"/>
                      <a:pt x="5159292" y="981075"/>
                      <a:pt x="5219700" y="981075"/>
                    </a:cubicBezTo>
                    <a:cubicBezTo>
                      <a:pt x="5457219" y="981075"/>
                      <a:pt x="5398968" y="964631"/>
                      <a:pt x="5505450" y="1000125"/>
                    </a:cubicBezTo>
                    <a:cubicBezTo>
                      <a:pt x="5514373" y="1013510"/>
                      <a:pt x="5543886" y="1058924"/>
                      <a:pt x="5553075" y="1066800"/>
                    </a:cubicBezTo>
                    <a:cubicBezTo>
                      <a:pt x="5563856" y="1076041"/>
                      <a:pt x="5579134" y="1078325"/>
                      <a:pt x="5591175" y="1085850"/>
                    </a:cubicBezTo>
                    <a:cubicBezTo>
                      <a:pt x="5604637" y="1094264"/>
                      <a:pt x="5615076" y="1107325"/>
                      <a:pt x="5629275" y="1114425"/>
                    </a:cubicBezTo>
                    <a:cubicBezTo>
                      <a:pt x="5640984" y="1120279"/>
                      <a:pt x="5654788" y="1120354"/>
                      <a:pt x="5667375" y="1123950"/>
                    </a:cubicBezTo>
                    <a:cubicBezTo>
                      <a:pt x="5677029" y="1126708"/>
                      <a:pt x="5686425" y="1130300"/>
                      <a:pt x="5695950" y="1133475"/>
                    </a:cubicBezTo>
                    <a:cubicBezTo>
                      <a:pt x="5741233" y="1163664"/>
                      <a:pt x="5713665" y="1148905"/>
                      <a:pt x="5781675" y="1171575"/>
                    </a:cubicBezTo>
                    <a:lnTo>
                      <a:pt x="5810250" y="1181100"/>
                    </a:lnTo>
                    <a:cubicBezTo>
                      <a:pt x="5819775" y="1187450"/>
                      <a:pt x="5832475" y="1190625"/>
                      <a:pt x="5838825" y="1200150"/>
                    </a:cubicBezTo>
                    <a:cubicBezTo>
                      <a:pt x="5842736" y="1206017"/>
                      <a:pt x="5857581" y="1284700"/>
                      <a:pt x="5857875" y="1285875"/>
                    </a:cubicBezTo>
                    <a:cubicBezTo>
                      <a:pt x="5860310" y="1295615"/>
                      <a:pt x="5860300" y="1307350"/>
                      <a:pt x="5867400" y="1314450"/>
                    </a:cubicBezTo>
                    <a:cubicBezTo>
                      <a:pt x="5874500" y="1321550"/>
                      <a:pt x="5885996" y="1322866"/>
                      <a:pt x="5895975" y="1323975"/>
                    </a:cubicBezTo>
                    <a:cubicBezTo>
                      <a:pt x="5943414" y="1329246"/>
                      <a:pt x="5991225" y="1330325"/>
                      <a:pt x="6038850" y="1333500"/>
                    </a:cubicBezTo>
                    <a:cubicBezTo>
                      <a:pt x="6048375" y="1346200"/>
                      <a:pt x="6058198" y="1358682"/>
                      <a:pt x="6067425" y="1371600"/>
                    </a:cubicBezTo>
                    <a:cubicBezTo>
                      <a:pt x="6074079" y="1380915"/>
                      <a:pt x="6077860" y="1392637"/>
                      <a:pt x="6086475" y="1400175"/>
                    </a:cubicBezTo>
                    <a:cubicBezTo>
                      <a:pt x="6103705" y="1415252"/>
                      <a:pt x="6124575" y="1425575"/>
                      <a:pt x="6143625" y="1438275"/>
                    </a:cubicBezTo>
                    <a:cubicBezTo>
                      <a:pt x="6159694" y="1448988"/>
                      <a:pt x="6181656" y="1445069"/>
                      <a:pt x="6200775" y="1447800"/>
                    </a:cubicBezTo>
                    <a:cubicBezTo>
                      <a:pt x="6226115" y="1451420"/>
                      <a:pt x="6251635" y="1453705"/>
                      <a:pt x="6276975" y="1457325"/>
                    </a:cubicBezTo>
                    <a:cubicBezTo>
                      <a:pt x="6331468" y="1465110"/>
                      <a:pt x="6325942" y="1464804"/>
                      <a:pt x="6372225" y="1476375"/>
                    </a:cubicBezTo>
                    <a:cubicBezTo>
                      <a:pt x="6474335" y="1544448"/>
                      <a:pt x="6319366" y="1438437"/>
                      <a:pt x="6429375" y="1524000"/>
                    </a:cubicBezTo>
                    <a:cubicBezTo>
                      <a:pt x="6447447" y="1538056"/>
                      <a:pt x="6486525" y="1562100"/>
                      <a:pt x="6486525" y="1562100"/>
                    </a:cubicBezTo>
                    <a:cubicBezTo>
                      <a:pt x="6492875" y="1571625"/>
                      <a:pt x="6501066" y="1580153"/>
                      <a:pt x="6505575" y="1590675"/>
                    </a:cubicBezTo>
                    <a:cubicBezTo>
                      <a:pt x="6510732" y="1602707"/>
                      <a:pt x="6503875" y="1622040"/>
                      <a:pt x="6515100" y="1628775"/>
                    </a:cubicBezTo>
                    <a:cubicBezTo>
                      <a:pt x="6526325" y="1635510"/>
                      <a:pt x="6540500" y="1622425"/>
                      <a:pt x="6553200" y="1619250"/>
                    </a:cubicBezTo>
                    <a:cubicBezTo>
                      <a:pt x="6578600" y="1622425"/>
                      <a:pt x="6604704" y="1622040"/>
                      <a:pt x="6629400" y="1628775"/>
                    </a:cubicBezTo>
                    <a:cubicBezTo>
                      <a:pt x="6640444" y="1631787"/>
                      <a:pt x="6653723" y="1637196"/>
                      <a:pt x="6657975" y="1647825"/>
                    </a:cubicBezTo>
                    <a:cubicBezTo>
                      <a:pt x="6666118" y="1668183"/>
                      <a:pt x="6626130" y="1697469"/>
                      <a:pt x="6619875" y="1704975"/>
                    </a:cubicBezTo>
                    <a:cubicBezTo>
                      <a:pt x="6612546" y="1713769"/>
                      <a:pt x="6607175" y="1724025"/>
                      <a:pt x="6600825" y="1733550"/>
                    </a:cubicBezTo>
                    <a:cubicBezTo>
                      <a:pt x="6604000" y="1755775"/>
                      <a:pt x="6602291" y="1779271"/>
                      <a:pt x="6610350" y="1800225"/>
                    </a:cubicBezTo>
                    <a:cubicBezTo>
                      <a:pt x="6618569" y="1821594"/>
                      <a:pt x="6648450" y="1857375"/>
                      <a:pt x="6648450" y="1857375"/>
                    </a:cubicBezTo>
                    <a:cubicBezTo>
                      <a:pt x="6651625" y="1908175"/>
                      <a:pt x="6642542" y="1961272"/>
                      <a:pt x="6657975" y="2009775"/>
                    </a:cubicBezTo>
                    <a:cubicBezTo>
                      <a:pt x="6673221" y="2057690"/>
                      <a:pt x="6707829" y="2064493"/>
                      <a:pt x="6743700" y="2076450"/>
                    </a:cubicBezTo>
                    <a:cubicBezTo>
                      <a:pt x="6762750" y="2089150"/>
                      <a:pt x="6788150" y="2095500"/>
                      <a:pt x="6800850" y="2114550"/>
                    </a:cubicBezTo>
                    <a:cubicBezTo>
                      <a:pt x="6807200" y="2124075"/>
                      <a:pt x="6811106" y="2135796"/>
                      <a:pt x="6819900" y="2143125"/>
                    </a:cubicBezTo>
                    <a:cubicBezTo>
                      <a:pt x="6830808" y="2152215"/>
                      <a:pt x="6844949" y="2156582"/>
                      <a:pt x="6858000" y="2162175"/>
                    </a:cubicBezTo>
                    <a:cubicBezTo>
                      <a:pt x="6877131" y="2170374"/>
                      <a:pt x="6905341" y="2176392"/>
                      <a:pt x="6924675" y="2181225"/>
                    </a:cubicBezTo>
                    <a:cubicBezTo>
                      <a:pt x="6934200" y="2190750"/>
                      <a:pt x="6945778" y="2198592"/>
                      <a:pt x="6953250" y="2209800"/>
                    </a:cubicBezTo>
                    <a:cubicBezTo>
                      <a:pt x="6958819" y="2218154"/>
                      <a:pt x="6958285" y="2229395"/>
                      <a:pt x="6962775" y="2238375"/>
                    </a:cubicBezTo>
                    <a:cubicBezTo>
                      <a:pt x="6967895" y="2248614"/>
                      <a:pt x="6975475" y="2257425"/>
                      <a:pt x="6981825" y="2266950"/>
                    </a:cubicBezTo>
                    <a:cubicBezTo>
                      <a:pt x="6978650" y="2279650"/>
                      <a:pt x="6979562" y="2294158"/>
                      <a:pt x="6972300" y="2305050"/>
                    </a:cubicBezTo>
                    <a:cubicBezTo>
                      <a:pt x="6917267" y="2387600"/>
                      <a:pt x="6967008" y="2257425"/>
                      <a:pt x="6924675" y="2352675"/>
                    </a:cubicBezTo>
                    <a:cubicBezTo>
                      <a:pt x="6916520" y="2371025"/>
                      <a:pt x="6905625" y="2409825"/>
                      <a:pt x="6905625" y="2409825"/>
                    </a:cubicBezTo>
                    <a:cubicBezTo>
                      <a:pt x="6908800" y="2419350"/>
                      <a:pt x="6912715" y="2428660"/>
                      <a:pt x="6915150" y="2438400"/>
                    </a:cubicBezTo>
                    <a:cubicBezTo>
                      <a:pt x="6919077" y="2454106"/>
                      <a:pt x="6921163" y="2470221"/>
                      <a:pt x="6924675" y="2486025"/>
                    </a:cubicBezTo>
                    <a:cubicBezTo>
                      <a:pt x="6927515" y="2498804"/>
                      <a:pt x="6931025" y="2511425"/>
                      <a:pt x="6934200" y="2524125"/>
                    </a:cubicBezTo>
                    <a:cubicBezTo>
                      <a:pt x="6937375" y="2590800"/>
                      <a:pt x="6932751" y="2658308"/>
                      <a:pt x="6943725" y="2724150"/>
                    </a:cubicBezTo>
                    <a:cubicBezTo>
                      <a:pt x="6945940" y="2737437"/>
                      <a:pt x="6963534" y="2742498"/>
                      <a:pt x="6972300" y="2752725"/>
                    </a:cubicBezTo>
                    <a:cubicBezTo>
                      <a:pt x="6982631" y="2764778"/>
                      <a:pt x="6991350" y="2778125"/>
                      <a:pt x="7000875" y="2790825"/>
                    </a:cubicBezTo>
                    <a:cubicBezTo>
                      <a:pt x="7004050" y="2800350"/>
                      <a:pt x="7005524" y="2810623"/>
                      <a:pt x="7010400" y="2819400"/>
                    </a:cubicBezTo>
                    <a:cubicBezTo>
                      <a:pt x="7021519" y="2839414"/>
                      <a:pt x="7041260" y="2854830"/>
                      <a:pt x="7048500" y="2876550"/>
                    </a:cubicBezTo>
                    <a:cubicBezTo>
                      <a:pt x="7063045" y="2920185"/>
                      <a:pt x="7052001" y="2897093"/>
                      <a:pt x="7086600" y="2943225"/>
                    </a:cubicBezTo>
                    <a:cubicBezTo>
                      <a:pt x="7108917" y="3032493"/>
                      <a:pt x="7087137" y="3000912"/>
                      <a:pt x="7134225" y="3048000"/>
                    </a:cubicBezTo>
                    <a:cubicBezTo>
                      <a:pt x="7168963" y="3152213"/>
                      <a:pt x="7110777" y="2997148"/>
                      <a:pt x="7172325" y="3095625"/>
                    </a:cubicBezTo>
                    <a:cubicBezTo>
                      <a:pt x="7182968" y="3112653"/>
                      <a:pt x="7186505" y="3133294"/>
                      <a:pt x="7191375" y="3152775"/>
                    </a:cubicBezTo>
                    <a:cubicBezTo>
                      <a:pt x="7194550" y="3165475"/>
                      <a:pt x="7194405" y="3179509"/>
                      <a:pt x="7200900" y="3190875"/>
                    </a:cubicBezTo>
                    <a:cubicBezTo>
                      <a:pt x="7207583" y="3202571"/>
                      <a:pt x="7219950" y="3209925"/>
                      <a:pt x="7229475" y="3219450"/>
                    </a:cubicBezTo>
                    <a:cubicBezTo>
                      <a:pt x="7240566" y="3263814"/>
                      <a:pt x="7227247" y="3256077"/>
                      <a:pt x="7267575" y="3267075"/>
                    </a:cubicBezTo>
                    <a:cubicBezTo>
                      <a:pt x="7292834" y="3273964"/>
                      <a:pt x="7343775" y="3286125"/>
                      <a:pt x="7343775" y="3286125"/>
                    </a:cubicBezTo>
                    <a:cubicBezTo>
                      <a:pt x="7346950" y="3298825"/>
                      <a:pt x="7346805" y="3312859"/>
                      <a:pt x="7353300" y="3324225"/>
                    </a:cubicBezTo>
                    <a:cubicBezTo>
                      <a:pt x="7370112" y="3353646"/>
                      <a:pt x="7387543" y="3351488"/>
                      <a:pt x="7410450" y="3371850"/>
                    </a:cubicBezTo>
                    <a:cubicBezTo>
                      <a:pt x="7430586" y="3389748"/>
                      <a:pt x="7452656" y="3406584"/>
                      <a:pt x="7467600" y="3429000"/>
                    </a:cubicBezTo>
                    <a:lnTo>
                      <a:pt x="7505700" y="3486150"/>
                    </a:lnTo>
                    <a:cubicBezTo>
                      <a:pt x="7494112" y="3567265"/>
                      <a:pt x="7487462" y="3579380"/>
                      <a:pt x="7505700" y="3676650"/>
                    </a:cubicBezTo>
                    <a:cubicBezTo>
                      <a:pt x="7507810" y="3687902"/>
                      <a:pt x="7519630" y="3694986"/>
                      <a:pt x="7524750" y="3705225"/>
                    </a:cubicBezTo>
                    <a:cubicBezTo>
                      <a:pt x="7529240" y="3714205"/>
                      <a:pt x="7529399" y="3725023"/>
                      <a:pt x="7534275" y="3733800"/>
                    </a:cubicBezTo>
                    <a:cubicBezTo>
                      <a:pt x="7551027" y="3763954"/>
                      <a:pt x="7579546" y="3800511"/>
                      <a:pt x="7600950" y="3829050"/>
                    </a:cubicBezTo>
                    <a:cubicBezTo>
                      <a:pt x="7612465" y="3821373"/>
                      <a:pt x="7640954" y="3798760"/>
                      <a:pt x="7658100" y="3800475"/>
                    </a:cubicBezTo>
                    <a:cubicBezTo>
                      <a:pt x="7681100" y="3802775"/>
                      <a:pt x="7702550" y="3813175"/>
                      <a:pt x="7724775" y="3819525"/>
                    </a:cubicBezTo>
                    <a:cubicBezTo>
                      <a:pt x="7734300" y="3829050"/>
                      <a:pt x="7751135" y="3834813"/>
                      <a:pt x="7753350" y="3848100"/>
                    </a:cubicBezTo>
                    <a:cubicBezTo>
                      <a:pt x="7762312" y="3901873"/>
                      <a:pt x="7746074" y="3921192"/>
                      <a:pt x="7734300" y="3962400"/>
                    </a:cubicBezTo>
                    <a:cubicBezTo>
                      <a:pt x="7730704" y="3974987"/>
                      <a:pt x="7728371" y="3987913"/>
                      <a:pt x="7724775" y="4000500"/>
                    </a:cubicBezTo>
                    <a:cubicBezTo>
                      <a:pt x="7722017" y="4010154"/>
                      <a:pt x="7718008" y="4019421"/>
                      <a:pt x="7715250" y="4029075"/>
                    </a:cubicBezTo>
                    <a:cubicBezTo>
                      <a:pt x="7691330" y="4112796"/>
                      <a:pt x="7719038" y="4027237"/>
                      <a:pt x="7696200" y="4095750"/>
                    </a:cubicBezTo>
                    <a:cubicBezTo>
                      <a:pt x="7699375" y="4105275"/>
                      <a:pt x="7696071" y="4121567"/>
                      <a:pt x="7705725" y="4124325"/>
                    </a:cubicBezTo>
                    <a:cubicBezTo>
                      <a:pt x="7723778" y="4129483"/>
                      <a:pt x="7770028" y="4112416"/>
                      <a:pt x="7791450" y="4105275"/>
                    </a:cubicBezTo>
                    <a:cubicBezTo>
                      <a:pt x="7797377" y="4106122"/>
                      <a:pt x="7876199" y="4107597"/>
                      <a:pt x="7886700" y="4133850"/>
                    </a:cubicBezTo>
                    <a:cubicBezTo>
                      <a:pt x="7890429" y="4143172"/>
                      <a:pt x="7884275" y="4155325"/>
                      <a:pt x="7877175" y="4162425"/>
                    </a:cubicBezTo>
                    <a:cubicBezTo>
                      <a:pt x="7870075" y="4169525"/>
                      <a:pt x="7858125" y="4168775"/>
                      <a:pt x="7848600" y="4171950"/>
                    </a:cubicBezTo>
                    <a:cubicBezTo>
                      <a:pt x="7783096" y="4215619"/>
                      <a:pt x="7798690" y="4188330"/>
                      <a:pt x="7781925" y="4238625"/>
                    </a:cubicBezTo>
                    <a:cubicBezTo>
                      <a:pt x="7803375" y="4302975"/>
                      <a:pt x="7773627" y="4233224"/>
                      <a:pt x="7820025" y="4286250"/>
                    </a:cubicBezTo>
                    <a:cubicBezTo>
                      <a:pt x="7835102" y="4303480"/>
                      <a:pt x="7845425" y="4324350"/>
                      <a:pt x="7858125" y="4343400"/>
                    </a:cubicBezTo>
                    <a:lnTo>
                      <a:pt x="7877175" y="4371975"/>
                    </a:lnTo>
                    <a:cubicBezTo>
                      <a:pt x="7884647" y="4383183"/>
                      <a:pt x="7894542" y="4393078"/>
                      <a:pt x="7905750" y="4400550"/>
                    </a:cubicBezTo>
                    <a:cubicBezTo>
                      <a:pt x="7913949" y="4406016"/>
                      <a:pt x="7967344" y="4418330"/>
                      <a:pt x="7972425" y="4419600"/>
                    </a:cubicBezTo>
                    <a:cubicBezTo>
                      <a:pt x="8037215" y="4462793"/>
                      <a:pt x="7962668" y="4419550"/>
                      <a:pt x="8096250" y="4448175"/>
                    </a:cubicBezTo>
                    <a:cubicBezTo>
                      <a:pt x="8114059" y="4451991"/>
                      <a:pt x="8147150" y="4475758"/>
                      <a:pt x="8162925" y="4486275"/>
                    </a:cubicBezTo>
                    <a:cubicBezTo>
                      <a:pt x="8172450" y="4498975"/>
                      <a:pt x="8184400" y="4510176"/>
                      <a:pt x="8191500" y="4524375"/>
                    </a:cubicBezTo>
                    <a:cubicBezTo>
                      <a:pt x="8197354" y="4536084"/>
                      <a:pt x="8193763" y="4551583"/>
                      <a:pt x="8201025" y="4562475"/>
                    </a:cubicBezTo>
                    <a:cubicBezTo>
                      <a:pt x="8207375" y="4572000"/>
                      <a:pt x="8220075" y="4575175"/>
                      <a:pt x="8229600" y="4581525"/>
                    </a:cubicBezTo>
                    <a:cubicBezTo>
                      <a:pt x="8251825" y="4514850"/>
                      <a:pt x="8229600" y="4518025"/>
                      <a:pt x="8277225" y="4533900"/>
                    </a:cubicBezTo>
                    <a:cubicBezTo>
                      <a:pt x="8277413" y="4533869"/>
                      <a:pt x="8363002" y="4521165"/>
                      <a:pt x="8372475" y="4514850"/>
                    </a:cubicBezTo>
                    <a:cubicBezTo>
                      <a:pt x="8382000" y="4508500"/>
                      <a:pt x="8383430" y="4494370"/>
                      <a:pt x="8391525" y="4486275"/>
                    </a:cubicBezTo>
                    <a:cubicBezTo>
                      <a:pt x="8420403" y="4457397"/>
                      <a:pt x="8444808" y="4463695"/>
                      <a:pt x="8486775" y="4457700"/>
                    </a:cubicBezTo>
                    <a:cubicBezTo>
                      <a:pt x="8524875" y="4460875"/>
                      <a:pt x="8568820" y="4446699"/>
                      <a:pt x="8601075" y="4467225"/>
                    </a:cubicBezTo>
                    <a:cubicBezTo>
                      <a:pt x="8617368" y="4477594"/>
                      <a:pt x="8602625" y="4508553"/>
                      <a:pt x="8591550" y="4524375"/>
                    </a:cubicBezTo>
                    <a:cubicBezTo>
                      <a:pt x="8567495" y="4558740"/>
                      <a:pt x="8531461" y="4563210"/>
                      <a:pt x="8496300" y="4572000"/>
                    </a:cubicBezTo>
                    <a:cubicBezTo>
                      <a:pt x="8486775" y="4581525"/>
                      <a:pt x="8476349" y="4590227"/>
                      <a:pt x="8467725" y="4600575"/>
                    </a:cubicBezTo>
                    <a:cubicBezTo>
                      <a:pt x="8446628" y="4625891"/>
                      <a:pt x="8446564" y="4637607"/>
                      <a:pt x="8429625" y="4667250"/>
                    </a:cubicBezTo>
                    <a:cubicBezTo>
                      <a:pt x="8423945" y="4677189"/>
                      <a:pt x="8415695" y="4685586"/>
                      <a:pt x="8410575" y="4695825"/>
                    </a:cubicBezTo>
                    <a:cubicBezTo>
                      <a:pt x="8371160" y="4774655"/>
                      <a:pt x="8441461" y="4663398"/>
                      <a:pt x="8382000" y="4762500"/>
                    </a:cubicBezTo>
                    <a:lnTo>
                      <a:pt x="8324850" y="4848225"/>
                    </a:lnTo>
                    <a:cubicBezTo>
                      <a:pt x="8310651" y="4869524"/>
                      <a:pt x="8274050" y="4854575"/>
                      <a:pt x="8248650" y="4857750"/>
                    </a:cubicBezTo>
                    <a:cubicBezTo>
                      <a:pt x="8217547" y="4868118"/>
                      <a:pt x="8209231" y="4872202"/>
                      <a:pt x="8172450" y="4876800"/>
                    </a:cubicBezTo>
                    <a:cubicBezTo>
                      <a:pt x="8137652" y="4881150"/>
                      <a:pt x="8102570" y="4882836"/>
                      <a:pt x="8067675" y="4886325"/>
                    </a:cubicBezTo>
                    <a:cubicBezTo>
                      <a:pt x="7987647" y="4894328"/>
                      <a:pt x="7988540" y="4894909"/>
                      <a:pt x="7915275" y="4905375"/>
                    </a:cubicBezTo>
                    <a:cubicBezTo>
                      <a:pt x="7819243" y="4937386"/>
                      <a:pt x="7968201" y="4888545"/>
                      <a:pt x="7848600" y="4924425"/>
                    </a:cubicBezTo>
                    <a:cubicBezTo>
                      <a:pt x="7829366" y="4930195"/>
                      <a:pt x="7810500" y="4937125"/>
                      <a:pt x="7791450" y="4943475"/>
                    </a:cubicBezTo>
                    <a:lnTo>
                      <a:pt x="7734300" y="4962525"/>
                    </a:lnTo>
                    <a:cubicBezTo>
                      <a:pt x="7707025" y="4971617"/>
                      <a:pt x="7677104" y="4968484"/>
                      <a:pt x="7648575" y="4972050"/>
                    </a:cubicBezTo>
                    <a:cubicBezTo>
                      <a:pt x="7626298" y="4974835"/>
                      <a:pt x="7604154" y="4978608"/>
                      <a:pt x="7581900" y="4981575"/>
                    </a:cubicBezTo>
                    <a:cubicBezTo>
                      <a:pt x="7478103" y="4995415"/>
                      <a:pt x="7538095" y="4984621"/>
                      <a:pt x="7458075" y="5000625"/>
                    </a:cubicBezTo>
                    <a:cubicBezTo>
                      <a:pt x="7448550" y="5006975"/>
                      <a:pt x="7439739" y="5014555"/>
                      <a:pt x="7429500" y="5019675"/>
                    </a:cubicBezTo>
                    <a:cubicBezTo>
                      <a:pt x="7406379" y="5031235"/>
                      <a:pt x="7377211" y="5032204"/>
                      <a:pt x="7353300" y="5038725"/>
                    </a:cubicBezTo>
                    <a:cubicBezTo>
                      <a:pt x="7333927" y="5044009"/>
                      <a:pt x="7315384" y="5052005"/>
                      <a:pt x="7296150" y="5057775"/>
                    </a:cubicBezTo>
                    <a:cubicBezTo>
                      <a:pt x="7283611" y="5061537"/>
                      <a:pt x="7270589" y="5063538"/>
                      <a:pt x="7258050" y="5067300"/>
                    </a:cubicBezTo>
                    <a:cubicBezTo>
                      <a:pt x="7238816" y="5073070"/>
                      <a:pt x="7219950" y="5080000"/>
                      <a:pt x="7200900" y="5086350"/>
                    </a:cubicBezTo>
                    <a:lnTo>
                      <a:pt x="7172325" y="5095875"/>
                    </a:lnTo>
                    <a:cubicBezTo>
                      <a:pt x="7162608" y="5105592"/>
                      <a:pt x="7128317" y="5136147"/>
                      <a:pt x="7124700" y="5153025"/>
                    </a:cubicBezTo>
                    <a:cubicBezTo>
                      <a:pt x="7104767" y="5246045"/>
                      <a:pt x="7140277" y="5242223"/>
                      <a:pt x="7086600" y="5295900"/>
                    </a:cubicBezTo>
                    <a:cubicBezTo>
                      <a:pt x="7078505" y="5303995"/>
                      <a:pt x="7067550" y="5308600"/>
                      <a:pt x="7058025" y="5314950"/>
                    </a:cubicBezTo>
                    <a:cubicBezTo>
                      <a:pt x="7051675" y="5324475"/>
                      <a:pt x="7047914" y="5336374"/>
                      <a:pt x="7038975" y="5343525"/>
                    </a:cubicBezTo>
                    <a:cubicBezTo>
                      <a:pt x="7031135" y="5349797"/>
                      <a:pt x="7018754" y="5347481"/>
                      <a:pt x="7010400" y="5353050"/>
                    </a:cubicBezTo>
                    <a:cubicBezTo>
                      <a:pt x="6999192" y="5360522"/>
                      <a:pt x="6991350" y="5372100"/>
                      <a:pt x="6981825" y="5381625"/>
                    </a:cubicBezTo>
                    <a:cubicBezTo>
                      <a:pt x="6974078" y="5404866"/>
                      <a:pt x="6971714" y="5420311"/>
                      <a:pt x="6953250" y="5438775"/>
                    </a:cubicBezTo>
                    <a:cubicBezTo>
                      <a:pt x="6945155" y="5446870"/>
                      <a:pt x="6934914" y="5452705"/>
                      <a:pt x="6924675" y="5457825"/>
                    </a:cubicBezTo>
                    <a:cubicBezTo>
                      <a:pt x="6915695" y="5462315"/>
                      <a:pt x="6905625" y="5464175"/>
                      <a:pt x="6896100" y="5467350"/>
                    </a:cubicBezTo>
                    <a:cubicBezTo>
                      <a:pt x="6814508" y="5521745"/>
                      <a:pt x="6940987" y="5444222"/>
                      <a:pt x="6734175" y="5495925"/>
                    </a:cubicBezTo>
                    <a:cubicBezTo>
                      <a:pt x="6723069" y="5498701"/>
                      <a:pt x="6721475" y="5514975"/>
                      <a:pt x="6715125" y="5524500"/>
                    </a:cubicBezTo>
                    <a:cubicBezTo>
                      <a:pt x="6761537" y="5594118"/>
                      <a:pt x="6699766" y="5511701"/>
                      <a:pt x="6772275" y="5572125"/>
                    </a:cubicBezTo>
                    <a:cubicBezTo>
                      <a:pt x="6781069" y="5579454"/>
                      <a:pt x="6786676" y="5590239"/>
                      <a:pt x="6791325" y="5600700"/>
                    </a:cubicBezTo>
                    <a:cubicBezTo>
                      <a:pt x="6812049" y="5647328"/>
                      <a:pt x="6807112" y="5653325"/>
                      <a:pt x="6819900" y="5695950"/>
                    </a:cubicBezTo>
                    <a:cubicBezTo>
                      <a:pt x="6825670" y="5715184"/>
                      <a:pt x="6832600" y="5734050"/>
                      <a:pt x="6838950" y="5753100"/>
                    </a:cubicBezTo>
                    <a:cubicBezTo>
                      <a:pt x="6830761" y="5851373"/>
                      <a:pt x="6835788" y="5843529"/>
                      <a:pt x="6819900" y="5915025"/>
                    </a:cubicBezTo>
                    <a:cubicBezTo>
                      <a:pt x="6817060" y="5927804"/>
                      <a:pt x="6815532" y="5941093"/>
                      <a:pt x="6810375" y="5953125"/>
                    </a:cubicBezTo>
                    <a:cubicBezTo>
                      <a:pt x="6805866" y="5963647"/>
                      <a:pt x="6797675" y="5972175"/>
                      <a:pt x="6791325" y="5981700"/>
                    </a:cubicBezTo>
                    <a:cubicBezTo>
                      <a:pt x="6788150" y="5994400"/>
                      <a:pt x="6786957" y="6007768"/>
                      <a:pt x="6781800" y="6019800"/>
                    </a:cubicBezTo>
                    <a:cubicBezTo>
                      <a:pt x="6771409" y="6044045"/>
                      <a:pt x="6757266" y="6055880"/>
                      <a:pt x="6734175" y="6067425"/>
                    </a:cubicBezTo>
                    <a:cubicBezTo>
                      <a:pt x="6725195" y="6071915"/>
                      <a:pt x="6715125" y="6073775"/>
                      <a:pt x="6705600" y="6076950"/>
                    </a:cubicBezTo>
                    <a:cubicBezTo>
                      <a:pt x="6708775" y="6089650"/>
                      <a:pt x="6708630" y="6103684"/>
                      <a:pt x="6715125" y="6115050"/>
                    </a:cubicBezTo>
                    <a:cubicBezTo>
                      <a:pt x="6721808" y="6126746"/>
                      <a:pt x="6732739" y="6135795"/>
                      <a:pt x="6743700" y="6143625"/>
                    </a:cubicBezTo>
                    <a:cubicBezTo>
                      <a:pt x="6754913" y="6151635"/>
                      <a:pt x="6793691" y="6169167"/>
                      <a:pt x="6810375" y="6172200"/>
                    </a:cubicBezTo>
                    <a:cubicBezTo>
                      <a:pt x="6835560" y="6176779"/>
                      <a:pt x="6861326" y="6177517"/>
                      <a:pt x="6886575" y="6181725"/>
                    </a:cubicBezTo>
                    <a:cubicBezTo>
                      <a:pt x="6918513" y="6187048"/>
                      <a:pt x="6950165" y="6193991"/>
                      <a:pt x="6981825" y="6200775"/>
                    </a:cubicBezTo>
                    <a:cubicBezTo>
                      <a:pt x="7022132" y="6209412"/>
                      <a:pt x="7034003" y="6214993"/>
                      <a:pt x="7077075" y="6229350"/>
                    </a:cubicBezTo>
                    <a:lnTo>
                      <a:pt x="7105650" y="6238875"/>
                    </a:lnTo>
                    <a:cubicBezTo>
                      <a:pt x="7158718" y="6274254"/>
                      <a:pt x="7188654" y="6268811"/>
                      <a:pt x="7134225" y="6296025"/>
                    </a:cubicBezTo>
                    <a:cubicBezTo>
                      <a:pt x="7125245" y="6300515"/>
                      <a:pt x="7115175" y="6302375"/>
                      <a:pt x="7105650" y="6305550"/>
                    </a:cubicBezTo>
                    <a:cubicBezTo>
                      <a:pt x="7040385" y="6301471"/>
                      <a:pt x="6970307" y="6283989"/>
                      <a:pt x="6905625" y="6305550"/>
                    </a:cubicBezTo>
                    <a:cubicBezTo>
                      <a:pt x="6892155" y="6310040"/>
                      <a:pt x="6880225" y="6318250"/>
                      <a:pt x="6867525" y="6324600"/>
                    </a:cubicBezTo>
                    <a:cubicBezTo>
                      <a:pt x="6816725" y="6400800"/>
                      <a:pt x="6883400" y="6308725"/>
                      <a:pt x="6819900" y="6372225"/>
                    </a:cubicBezTo>
                    <a:cubicBezTo>
                      <a:pt x="6811805" y="6380320"/>
                      <a:pt x="6807200" y="6391275"/>
                      <a:pt x="6800850" y="6400800"/>
                    </a:cubicBezTo>
                    <a:cubicBezTo>
                      <a:pt x="6765925" y="6397625"/>
                      <a:pt x="6730463" y="6398153"/>
                      <a:pt x="6696075" y="6391275"/>
                    </a:cubicBezTo>
                    <a:cubicBezTo>
                      <a:pt x="6682152" y="6388490"/>
                      <a:pt x="6672174" y="6372225"/>
                      <a:pt x="6657975" y="6372225"/>
                    </a:cubicBezTo>
                    <a:cubicBezTo>
                      <a:pt x="6643776" y="6372225"/>
                      <a:pt x="6633574" y="6387539"/>
                      <a:pt x="6619875" y="6391275"/>
                    </a:cubicBezTo>
                    <a:cubicBezTo>
                      <a:pt x="6598215" y="6397182"/>
                      <a:pt x="6575390" y="6397386"/>
                      <a:pt x="6553200" y="6400800"/>
                    </a:cubicBezTo>
                    <a:cubicBezTo>
                      <a:pt x="6492479" y="6410142"/>
                      <a:pt x="6508454" y="6407224"/>
                      <a:pt x="6457950" y="6419850"/>
                    </a:cubicBezTo>
                    <a:cubicBezTo>
                      <a:pt x="6451600" y="6429375"/>
                      <a:pt x="6446505" y="6439869"/>
                      <a:pt x="6438900" y="6448425"/>
                    </a:cubicBezTo>
                    <a:cubicBezTo>
                      <a:pt x="6402457" y="6489424"/>
                      <a:pt x="6396946" y="6505721"/>
                      <a:pt x="6353175" y="6515100"/>
                    </a:cubicBezTo>
                    <a:cubicBezTo>
                      <a:pt x="6318465" y="6522538"/>
                      <a:pt x="6283586" y="6529459"/>
                      <a:pt x="6248400" y="6534150"/>
                    </a:cubicBezTo>
                    <a:cubicBezTo>
                      <a:pt x="6053210" y="6560175"/>
                      <a:pt x="6010477" y="6555164"/>
                      <a:pt x="5791200" y="6562725"/>
                    </a:cubicBezTo>
                    <a:cubicBezTo>
                      <a:pt x="5775643" y="6609397"/>
                      <a:pt x="5776954" y="6577066"/>
                      <a:pt x="5810250" y="6619875"/>
                    </a:cubicBezTo>
                    <a:cubicBezTo>
                      <a:pt x="5824306" y="6637947"/>
                      <a:pt x="5848350" y="6677025"/>
                      <a:pt x="5848350" y="6677025"/>
                    </a:cubicBezTo>
                    <a:cubicBezTo>
                      <a:pt x="5846336" y="6691124"/>
                      <a:pt x="5833705" y="6783229"/>
                      <a:pt x="5829300" y="6800850"/>
                    </a:cubicBezTo>
                    <a:cubicBezTo>
                      <a:pt x="5824430" y="6820331"/>
                      <a:pt x="5816600" y="6838950"/>
                      <a:pt x="5810250" y="6858000"/>
                    </a:cubicBezTo>
                    <a:cubicBezTo>
                      <a:pt x="5806630" y="6868860"/>
                      <a:pt x="5792136" y="6872401"/>
                      <a:pt x="5781675" y="6877050"/>
                    </a:cubicBezTo>
                    <a:cubicBezTo>
                      <a:pt x="5763325" y="6885205"/>
                      <a:pt x="5743575" y="6889750"/>
                      <a:pt x="5724525" y="6896100"/>
                    </a:cubicBezTo>
                    <a:lnTo>
                      <a:pt x="5695950" y="6905625"/>
                    </a:lnTo>
                    <a:cubicBezTo>
                      <a:pt x="5678387" y="6911479"/>
                      <a:pt x="5663136" y="6923092"/>
                      <a:pt x="5648325" y="6934200"/>
                    </a:cubicBezTo>
                    <a:cubicBezTo>
                      <a:pt x="5631473" y="6946839"/>
                      <a:pt x="5610381" y="6971989"/>
                      <a:pt x="5600700" y="6991350"/>
                    </a:cubicBezTo>
                    <a:cubicBezTo>
                      <a:pt x="5593868" y="7005015"/>
                      <a:pt x="5584702" y="7045818"/>
                      <a:pt x="5581650" y="7058025"/>
                    </a:cubicBezTo>
                    <a:cubicBezTo>
                      <a:pt x="5578475" y="7086600"/>
                      <a:pt x="5582803" y="7117056"/>
                      <a:pt x="5572125" y="7143750"/>
                    </a:cubicBezTo>
                    <a:cubicBezTo>
                      <a:pt x="5568396" y="7153072"/>
                      <a:pt x="5553590" y="7153275"/>
                      <a:pt x="5543550" y="7153275"/>
                    </a:cubicBezTo>
                    <a:cubicBezTo>
                      <a:pt x="5511642" y="7153275"/>
                      <a:pt x="5480107" y="7146295"/>
                      <a:pt x="5448300" y="7143750"/>
                    </a:cubicBezTo>
                    <a:cubicBezTo>
                      <a:pt x="5400721" y="7139944"/>
                      <a:pt x="5353050" y="7137400"/>
                      <a:pt x="5305425" y="7134225"/>
                    </a:cubicBezTo>
                    <a:cubicBezTo>
                      <a:pt x="5254625" y="7137400"/>
                      <a:pt x="5199079" y="7122077"/>
                      <a:pt x="5153025" y="7143750"/>
                    </a:cubicBezTo>
                    <a:cubicBezTo>
                      <a:pt x="5132711" y="7153309"/>
                      <a:pt x="5152618" y="7189909"/>
                      <a:pt x="5143500" y="7210425"/>
                    </a:cubicBezTo>
                    <a:cubicBezTo>
                      <a:pt x="5138851" y="7220886"/>
                      <a:pt x="5123719" y="7222146"/>
                      <a:pt x="5114925" y="7229475"/>
                    </a:cubicBezTo>
                    <a:cubicBezTo>
                      <a:pt x="5104577" y="7238099"/>
                      <a:pt x="5096983" y="7249780"/>
                      <a:pt x="5086350" y="7258050"/>
                    </a:cubicBezTo>
                    <a:cubicBezTo>
                      <a:pt x="5068278" y="7272106"/>
                      <a:pt x="5048250" y="7283450"/>
                      <a:pt x="5029200" y="7296150"/>
                    </a:cubicBezTo>
                    <a:cubicBezTo>
                      <a:pt x="5015730" y="7305130"/>
                      <a:pt x="4997503" y="7302779"/>
                      <a:pt x="4981575" y="7305675"/>
                    </a:cubicBezTo>
                    <a:cubicBezTo>
                      <a:pt x="4962574" y="7309130"/>
                      <a:pt x="4943475" y="7312025"/>
                      <a:pt x="4924425" y="7315200"/>
                    </a:cubicBezTo>
                    <a:cubicBezTo>
                      <a:pt x="4835208" y="7344939"/>
                      <a:pt x="4967164" y="7296221"/>
                      <a:pt x="4867275" y="7353300"/>
                    </a:cubicBezTo>
                    <a:cubicBezTo>
                      <a:pt x="4855909" y="7359795"/>
                      <a:pt x="4841875" y="7359650"/>
                      <a:pt x="4829175" y="7362825"/>
                    </a:cubicBezTo>
                    <a:cubicBezTo>
                      <a:pt x="4818296" y="7379143"/>
                      <a:pt x="4795340" y="7411017"/>
                      <a:pt x="4791075" y="7429500"/>
                    </a:cubicBezTo>
                    <a:cubicBezTo>
                      <a:pt x="4784610" y="7457515"/>
                      <a:pt x="4785116" y="7486696"/>
                      <a:pt x="4781550" y="7515225"/>
                    </a:cubicBezTo>
                    <a:cubicBezTo>
                      <a:pt x="4778765" y="7537502"/>
                      <a:pt x="4780363" y="7561055"/>
                      <a:pt x="4772025" y="7581900"/>
                    </a:cubicBezTo>
                    <a:cubicBezTo>
                      <a:pt x="4767022" y="7594407"/>
                      <a:pt x="4752074" y="7600127"/>
                      <a:pt x="4743450" y="7610475"/>
                    </a:cubicBezTo>
                    <a:cubicBezTo>
                      <a:pt x="4677145" y="7690041"/>
                      <a:pt x="4779307" y="7584143"/>
                      <a:pt x="4695825" y="7667625"/>
                    </a:cubicBezTo>
                    <a:cubicBezTo>
                      <a:pt x="4687857" y="7747310"/>
                      <a:pt x="4711882" y="7754846"/>
                      <a:pt x="4657725" y="7781925"/>
                    </a:cubicBezTo>
                    <a:cubicBezTo>
                      <a:pt x="4648745" y="7786415"/>
                      <a:pt x="4638675" y="7788275"/>
                      <a:pt x="4629150" y="7791450"/>
                    </a:cubicBezTo>
                    <a:cubicBezTo>
                      <a:pt x="4613275" y="7788275"/>
                      <a:pt x="4594995" y="7790905"/>
                      <a:pt x="4581525" y="7781925"/>
                    </a:cubicBezTo>
                    <a:cubicBezTo>
                      <a:pt x="4573171" y="7776356"/>
                      <a:pt x="4574758" y="7763004"/>
                      <a:pt x="4572000" y="7753350"/>
                    </a:cubicBezTo>
                    <a:cubicBezTo>
                      <a:pt x="4568404" y="7740763"/>
                      <a:pt x="4568329" y="7726959"/>
                      <a:pt x="4562475" y="7715250"/>
                    </a:cubicBezTo>
                    <a:cubicBezTo>
                      <a:pt x="4555375" y="7701051"/>
                      <a:pt x="4543425" y="7689850"/>
                      <a:pt x="4533900" y="7677150"/>
                    </a:cubicBezTo>
                    <a:cubicBezTo>
                      <a:pt x="4537075" y="7658100"/>
                      <a:pt x="4537318" y="7638322"/>
                      <a:pt x="4543425" y="7620000"/>
                    </a:cubicBezTo>
                    <a:cubicBezTo>
                      <a:pt x="4547045" y="7609140"/>
                      <a:pt x="4560593" y="7602717"/>
                      <a:pt x="4562475" y="7591425"/>
                    </a:cubicBezTo>
                    <a:cubicBezTo>
                      <a:pt x="4564126" y="7581521"/>
                      <a:pt x="4555708" y="7572504"/>
                      <a:pt x="4552950" y="7562850"/>
                    </a:cubicBezTo>
                    <a:cubicBezTo>
                      <a:pt x="4549354" y="7550263"/>
                      <a:pt x="4551806" y="7534807"/>
                      <a:pt x="4543425" y="7524750"/>
                    </a:cubicBezTo>
                    <a:cubicBezTo>
                      <a:pt x="4534335" y="7513842"/>
                      <a:pt x="4518025" y="7512050"/>
                      <a:pt x="4505325" y="7505700"/>
                    </a:cubicBezTo>
                    <a:cubicBezTo>
                      <a:pt x="4499143" y="7480973"/>
                      <a:pt x="4487229" y="7462292"/>
                      <a:pt x="4505325" y="7439025"/>
                    </a:cubicBezTo>
                    <a:cubicBezTo>
                      <a:pt x="4521865" y="7417759"/>
                      <a:pt x="4562475" y="7381875"/>
                      <a:pt x="4562475" y="7381875"/>
                    </a:cubicBezTo>
                    <a:cubicBezTo>
                      <a:pt x="4566098" y="7363761"/>
                      <a:pt x="4571762" y="7325201"/>
                      <a:pt x="4581525" y="7305675"/>
                    </a:cubicBezTo>
                    <a:cubicBezTo>
                      <a:pt x="4586645" y="7295436"/>
                      <a:pt x="4594225" y="7286625"/>
                      <a:pt x="4600575" y="7277100"/>
                    </a:cubicBezTo>
                    <a:cubicBezTo>
                      <a:pt x="4597400" y="7261225"/>
                      <a:pt x="4594977" y="7245181"/>
                      <a:pt x="4591050" y="7229475"/>
                    </a:cubicBezTo>
                    <a:cubicBezTo>
                      <a:pt x="4588615" y="7219735"/>
                      <a:pt x="4580416" y="7210879"/>
                      <a:pt x="4581525" y="7200900"/>
                    </a:cubicBezTo>
                    <a:cubicBezTo>
                      <a:pt x="4583743" y="7180942"/>
                      <a:pt x="4594805" y="7162984"/>
                      <a:pt x="4600575" y="7143750"/>
                    </a:cubicBezTo>
                    <a:cubicBezTo>
                      <a:pt x="4604337" y="7131211"/>
                      <a:pt x="4604246" y="7117359"/>
                      <a:pt x="4610100" y="7105650"/>
                    </a:cubicBezTo>
                    <a:cubicBezTo>
                      <a:pt x="4641195" y="7043461"/>
                      <a:pt x="4642536" y="7051898"/>
                      <a:pt x="4695825" y="7019925"/>
                    </a:cubicBezTo>
                    <a:cubicBezTo>
                      <a:pt x="4689475" y="7010400"/>
                      <a:pt x="4684870" y="6999445"/>
                      <a:pt x="4676775" y="6991350"/>
                    </a:cubicBezTo>
                    <a:cubicBezTo>
                      <a:pt x="4656973" y="6971548"/>
                      <a:pt x="4636818" y="6967633"/>
                      <a:pt x="4610100" y="6962775"/>
                    </a:cubicBezTo>
                    <a:cubicBezTo>
                      <a:pt x="4588011" y="6958759"/>
                      <a:pt x="4565650" y="6956425"/>
                      <a:pt x="4543425" y="6953250"/>
                    </a:cubicBezTo>
                    <a:cubicBezTo>
                      <a:pt x="4489450" y="6956425"/>
                      <a:pt x="4435517" y="6965124"/>
                      <a:pt x="4381500" y="6962775"/>
                    </a:cubicBezTo>
                    <a:cubicBezTo>
                      <a:pt x="4361438" y="6961903"/>
                      <a:pt x="4324350" y="6943725"/>
                      <a:pt x="4324350" y="6943725"/>
                    </a:cubicBezTo>
                    <a:cubicBezTo>
                      <a:pt x="4235450" y="6946900"/>
                      <a:pt x="4146193" y="6944681"/>
                      <a:pt x="4057650" y="6953250"/>
                    </a:cubicBezTo>
                    <a:cubicBezTo>
                      <a:pt x="4046256" y="6954353"/>
                      <a:pt x="4040515" y="6971891"/>
                      <a:pt x="4029075" y="6972300"/>
                    </a:cubicBezTo>
                    <a:cubicBezTo>
                      <a:pt x="3772044" y="6981480"/>
                      <a:pt x="3514725" y="6978650"/>
                      <a:pt x="3257550" y="6981825"/>
                    </a:cubicBezTo>
                    <a:cubicBezTo>
                      <a:pt x="3210937" y="6985411"/>
                      <a:pt x="3111277" y="6991102"/>
                      <a:pt x="3057525" y="7000875"/>
                    </a:cubicBezTo>
                    <a:cubicBezTo>
                      <a:pt x="3047647" y="7002671"/>
                      <a:pt x="3038272" y="7006671"/>
                      <a:pt x="3028950" y="7010400"/>
                    </a:cubicBezTo>
                    <a:cubicBezTo>
                      <a:pt x="2990627" y="7025729"/>
                      <a:pt x="2952750" y="7042150"/>
                      <a:pt x="2914650" y="7058025"/>
                    </a:cubicBezTo>
                    <a:cubicBezTo>
                      <a:pt x="2891021" y="7067870"/>
                      <a:pt x="2863850" y="7064375"/>
                      <a:pt x="2838450" y="7067550"/>
                    </a:cubicBezTo>
                    <a:cubicBezTo>
                      <a:pt x="2752725" y="7064375"/>
                      <a:pt x="2666869" y="7063731"/>
                      <a:pt x="2581275" y="7058025"/>
                    </a:cubicBezTo>
                    <a:cubicBezTo>
                      <a:pt x="2571257" y="7057357"/>
                      <a:pt x="2554669" y="7058345"/>
                      <a:pt x="2552700" y="7048500"/>
                    </a:cubicBezTo>
                    <a:cubicBezTo>
                      <a:pt x="2545344" y="7011719"/>
                      <a:pt x="2580127" y="7007608"/>
                      <a:pt x="2600325" y="7000875"/>
                    </a:cubicBezTo>
                    <a:lnTo>
                      <a:pt x="2590800" y="6934200"/>
                    </a:lnTo>
                    <a:close/>
                  </a:path>
                </a:pathLst>
              </a:custGeom>
              <a:solidFill>
                <a:srgbClr val="EDDD32"/>
              </a:solidFill>
              <a:ln w="9525" cap="flat" cmpd="sng" algn="ctr">
                <a:solidFill>
                  <a:srgbClr val="4866AC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3297" tIns="46649" rIns="93297" bIns="46649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458383">
                  <a:buClr>
                    <a:srgbClr val="000000"/>
                  </a:buClr>
                  <a:buSzPct val="100000"/>
                </a:pPr>
                <a:endParaRPr lang="pt-BR" sz="1020" dirty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grpSp>
            <p:nvGrpSpPr>
              <p:cNvPr id="271" name="Group 11"/>
              <p:cNvGrpSpPr/>
              <p:nvPr/>
            </p:nvGrpSpPr>
            <p:grpSpPr>
              <a:xfrm>
                <a:off x="1567685" y="2214482"/>
                <a:ext cx="602656" cy="779225"/>
                <a:chOff x="1567685" y="2214482"/>
                <a:chExt cx="602656" cy="779225"/>
              </a:xfrm>
            </p:grpSpPr>
            <p:pic>
              <p:nvPicPr>
                <p:cNvPr id="276" name="Picture 234"/>
                <p:cNvPicPr>
                  <a:picLocks/>
                </p:cNvPicPr>
                <p:nvPr/>
              </p:nvPicPr>
              <p:blipFill>
                <a:blip r:embed="rId9">
                  <a:duotone>
                    <a:prstClr val="black"/>
                    <a:schemeClr val="accent3"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1910352" y="2375973"/>
                  <a:ext cx="201740" cy="206962"/>
                </a:xfrm>
                <a:prstGeom prst="rect">
                  <a:avLst/>
                </a:prstGeom>
                <a:effectLst>
                  <a:outerShdw blurRad="508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277" name="Picture 235"/>
                <p:cNvPicPr>
                  <a:picLocks/>
                </p:cNvPicPr>
                <p:nvPr/>
              </p:nvPicPr>
              <p:blipFill>
                <a:blip r:embed="rId19">
                  <a:duotone>
                    <a:prstClr val="black"/>
                    <a:schemeClr val="accent3"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1622075" y="2214482"/>
                  <a:ext cx="201600" cy="201600"/>
                </a:xfrm>
                <a:prstGeom prst="rect">
                  <a:avLst/>
                </a:prstGeom>
                <a:effectLst>
                  <a:outerShdw blurRad="508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278" name="Picture 236"/>
                <p:cNvPicPr>
                  <a:picLocks/>
                </p:cNvPicPr>
                <p:nvPr/>
              </p:nvPicPr>
              <p:blipFill>
                <a:blip r:embed="rId15">
                  <a:duotone>
                    <a:prstClr val="black"/>
                    <a:schemeClr val="accent3"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1567685" y="2485060"/>
                  <a:ext cx="201740" cy="206962"/>
                </a:xfrm>
                <a:prstGeom prst="rect">
                  <a:avLst/>
                </a:prstGeom>
                <a:effectLst>
                  <a:outerShdw blurRad="508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279" name="Picture 237"/>
                <p:cNvPicPr>
                  <a:picLocks/>
                </p:cNvPicPr>
                <p:nvPr/>
              </p:nvPicPr>
              <p:blipFill>
                <a:blip r:embed="rId13">
                  <a:duotone>
                    <a:prstClr val="black"/>
                    <a:schemeClr val="accent3"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1968601" y="2724815"/>
                  <a:ext cx="201740" cy="206962"/>
                </a:xfrm>
                <a:prstGeom prst="rect">
                  <a:avLst/>
                </a:prstGeom>
                <a:effectLst>
                  <a:outerShdw blurRad="508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281" name="Picture 238"/>
                <p:cNvPicPr>
                  <a:picLocks/>
                </p:cNvPicPr>
                <p:nvPr/>
              </p:nvPicPr>
              <p:blipFill>
                <a:blip r:embed="rId12">
                  <a:duotone>
                    <a:prstClr val="black"/>
                    <a:schemeClr val="accent3"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1659994" y="2786745"/>
                  <a:ext cx="201740" cy="206962"/>
                </a:xfrm>
                <a:prstGeom prst="rect">
                  <a:avLst/>
                </a:prstGeom>
                <a:effectLst>
                  <a:outerShdw blurRad="508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</p:grpSp>
          <p:pic>
            <p:nvPicPr>
              <p:cNvPr id="273" name="Picture 26"/>
              <p:cNvPicPr>
                <a:picLocks noChangeAspect="1"/>
              </p:cNvPicPr>
              <p:nvPr/>
            </p:nvPicPr>
            <p:blipFill>
              <a:blip r:embed="rId21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349985" y="2675856"/>
                <a:ext cx="201385" cy="20160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75" name="Picture 47119"/>
              <p:cNvPicPr>
                <a:picLocks/>
              </p:cNvPicPr>
              <p:nvPr/>
            </p:nvPicPr>
            <p:blipFill>
              <a:blip r:embed="rId22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856931" y="3013276"/>
                <a:ext cx="201600" cy="20160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267" name="Picture 47119"/>
            <p:cNvPicPr>
              <a:picLocks/>
            </p:cNvPicPr>
            <p:nvPr/>
          </p:nvPicPr>
          <p:blipFill>
            <a:blip r:embed="rId22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900863" y="3358488"/>
              <a:ext cx="201600" cy="2016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68" name="Picture 47119"/>
            <p:cNvPicPr>
              <a:picLocks/>
            </p:cNvPicPr>
            <p:nvPr/>
          </p:nvPicPr>
          <p:blipFill>
            <a:blip r:embed="rId22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12176028" y="5067052"/>
              <a:ext cx="201600" cy="2016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336" name="McK 5. Source"/>
          <p:cNvSpPr>
            <a:spLocks noChangeArrowheads="1"/>
          </p:cNvSpPr>
          <p:nvPr/>
        </p:nvSpPr>
        <p:spPr bwMode="auto">
          <a:xfrm>
            <a:off x="91196" y="6651053"/>
            <a:ext cx="1149553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513454" indent="-513454" defTabSz="913526">
              <a:tabLst>
                <a:tab pos="458383" algn="l"/>
              </a:tabLst>
            </a:pPr>
            <a:r>
              <a:rPr lang="pt-BR" sz="1020" dirty="0">
                <a:solidFill>
                  <a:srgbClr val="000000"/>
                </a:solidFill>
              </a:rPr>
              <a:t>FONTE: FAPESPA</a:t>
            </a:r>
          </a:p>
        </p:txBody>
      </p:sp>
      <p:sp>
        <p:nvSpPr>
          <p:cNvPr id="323" name="Rectangle 5"/>
          <p:cNvSpPr txBox="1"/>
          <p:nvPr>
            <p:custDataLst>
              <p:tags r:id="rId3"/>
            </p:custDataLst>
          </p:nvPr>
        </p:nvSpPr>
        <p:spPr>
          <a:xfrm>
            <a:off x="4220946" y="-444829"/>
            <a:ext cx="4774536" cy="2505309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</p:spPr>
        <p:txBody>
          <a:bodyPr vert="horz" lIns="0" tIns="73462" rIns="73462" bIns="73462" rtlCol="0" anchor="ctr" anchorCtr="0">
            <a:noAutofit/>
          </a:bodyPr>
          <a:lstStyle>
            <a:defPPr>
              <a:defRPr lang="pt-BR"/>
            </a:defPPr>
            <a:lvl1pPr defTabSz="895350">
              <a:lnSpc>
                <a:spcPct val="90000"/>
              </a:lnSpc>
              <a:buSzPct val="120000"/>
              <a:defRPr sz="2857" b="1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r"/>
            <a:r>
              <a:rPr lang="pt-BR" dirty="0"/>
              <a:t>O Plano tem impacto em todas as regiões de integração do Estado</a:t>
            </a:r>
          </a:p>
        </p:txBody>
      </p:sp>
    </p:spTree>
    <p:extLst>
      <p:ext uri="{BB962C8B-B14F-4D97-AF65-F5344CB8AC3E}">
        <p14:creationId xmlns:p14="http://schemas.microsoft.com/office/powerpoint/2010/main" val="3988968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107" name="Picture 3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9248" b="77063" l="0" r="7911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65" b="22255"/>
          <a:stretch/>
        </p:blipFill>
        <p:spPr bwMode="auto">
          <a:xfrm flipH="1">
            <a:off x="336082" y="1386501"/>
            <a:ext cx="8818985" cy="552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7" name="Rectangle 8"/>
          <p:cNvSpPr txBox="1">
            <a:spLocks/>
          </p:cNvSpPr>
          <p:nvPr/>
        </p:nvSpPr>
        <p:spPr>
          <a:xfrm>
            <a:off x="654270" y="2237267"/>
            <a:ext cx="2624505" cy="21982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1828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341313" lvl="0" indent="-3413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0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83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Grãos</a:t>
            </a:r>
          </a:p>
        </p:txBody>
      </p:sp>
      <p:sp>
        <p:nvSpPr>
          <p:cNvPr id="81" name="Rectangle 8"/>
          <p:cNvSpPr txBox="1">
            <a:spLocks/>
          </p:cNvSpPr>
          <p:nvPr/>
        </p:nvSpPr>
        <p:spPr>
          <a:xfrm>
            <a:off x="654270" y="2723086"/>
            <a:ext cx="2624505" cy="21982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1828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341313" lvl="0" indent="-3413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0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iodiversidade </a:t>
            </a:r>
          </a:p>
        </p:txBody>
      </p:sp>
      <p:sp>
        <p:nvSpPr>
          <p:cNvPr id="82" name="Rectangle 8"/>
          <p:cNvSpPr txBox="1">
            <a:spLocks/>
          </p:cNvSpPr>
          <p:nvPr/>
        </p:nvSpPr>
        <p:spPr>
          <a:xfrm>
            <a:off x="654270" y="3694725"/>
            <a:ext cx="2624505" cy="21982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1828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341313" lvl="0" indent="-3413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0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ogística</a:t>
            </a:r>
          </a:p>
        </p:txBody>
      </p:sp>
      <p:sp>
        <p:nvSpPr>
          <p:cNvPr id="83" name="Rectangle 8"/>
          <p:cNvSpPr txBox="1">
            <a:spLocks/>
          </p:cNvSpPr>
          <p:nvPr/>
        </p:nvSpPr>
        <p:spPr>
          <a:xfrm>
            <a:off x="3833419" y="2237267"/>
            <a:ext cx="2624505" cy="21982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1828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341313" lvl="0" indent="-3413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0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çaí</a:t>
            </a:r>
          </a:p>
        </p:txBody>
      </p:sp>
      <p:sp>
        <p:nvSpPr>
          <p:cNvPr id="84" name="Rectangle 8"/>
          <p:cNvSpPr txBox="1">
            <a:spLocks/>
          </p:cNvSpPr>
          <p:nvPr/>
        </p:nvSpPr>
        <p:spPr>
          <a:xfrm>
            <a:off x="3833419" y="2723086"/>
            <a:ext cx="2624505" cy="21982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182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1313" lvl="0" indent="-3413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ecuária intensiva</a:t>
            </a:r>
          </a:p>
        </p:txBody>
      </p:sp>
      <p:sp>
        <p:nvSpPr>
          <p:cNvPr id="85" name="Rectangle 8"/>
          <p:cNvSpPr txBox="1">
            <a:spLocks/>
          </p:cNvSpPr>
          <p:nvPr/>
        </p:nvSpPr>
        <p:spPr>
          <a:xfrm>
            <a:off x="3833419" y="3208906"/>
            <a:ext cx="2624505" cy="21982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182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1313" lvl="0" indent="-3413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acau</a:t>
            </a:r>
          </a:p>
        </p:txBody>
      </p:sp>
      <p:sp>
        <p:nvSpPr>
          <p:cNvPr id="86" name="Rectangle 8"/>
          <p:cNvSpPr txBox="1">
            <a:spLocks/>
          </p:cNvSpPr>
          <p:nvPr/>
        </p:nvSpPr>
        <p:spPr>
          <a:xfrm>
            <a:off x="3833419" y="3694725"/>
            <a:ext cx="2624505" cy="21982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182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1313" lvl="0" indent="-3413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lma de óleo</a:t>
            </a:r>
          </a:p>
        </p:txBody>
      </p:sp>
      <p:sp>
        <p:nvSpPr>
          <p:cNvPr id="87" name="Rectangle 8"/>
          <p:cNvSpPr txBox="1">
            <a:spLocks/>
          </p:cNvSpPr>
          <p:nvPr/>
        </p:nvSpPr>
        <p:spPr>
          <a:xfrm>
            <a:off x="3833419" y="1751447"/>
            <a:ext cx="2624505" cy="21982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73462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341313" lvl="0" indent="-3413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0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/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urismo e gastronomia</a:t>
            </a:r>
          </a:p>
        </p:txBody>
      </p:sp>
      <p:sp>
        <p:nvSpPr>
          <p:cNvPr id="88" name="Rectangle 8"/>
          <p:cNvSpPr txBox="1">
            <a:spLocks/>
          </p:cNvSpPr>
          <p:nvPr/>
        </p:nvSpPr>
        <p:spPr>
          <a:xfrm>
            <a:off x="654270" y="4180542"/>
            <a:ext cx="2624505" cy="21982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1828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341313" lvl="0" indent="-3413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0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/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erticalização do Pescado e Aquicultura</a:t>
            </a:r>
          </a:p>
        </p:txBody>
      </p:sp>
      <p:sp>
        <p:nvSpPr>
          <p:cNvPr id="89" name="Rectangle 8"/>
          <p:cNvSpPr txBox="1">
            <a:spLocks/>
          </p:cNvSpPr>
          <p:nvPr/>
        </p:nvSpPr>
        <p:spPr>
          <a:xfrm>
            <a:off x="654270" y="3208906"/>
            <a:ext cx="2624505" cy="21982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1828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341313" lvl="0" indent="-3413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0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lorestas plantadas</a:t>
            </a:r>
          </a:p>
        </p:txBody>
      </p:sp>
      <p:sp>
        <p:nvSpPr>
          <p:cNvPr id="90" name="Rectangle 8"/>
          <p:cNvSpPr txBox="1">
            <a:spLocks/>
          </p:cNvSpPr>
          <p:nvPr/>
        </p:nvSpPr>
        <p:spPr>
          <a:xfrm>
            <a:off x="654270" y="1751447"/>
            <a:ext cx="2624505" cy="21982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110194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341313" lvl="0" indent="-3413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0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/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gricultura familiar</a:t>
            </a:r>
          </a:p>
        </p:txBody>
      </p:sp>
      <p:sp>
        <p:nvSpPr>
          <p:cNvPr id="91" name="Rectangle 8"/>
          <p:cNvSpPr txBox="1">
            <a:spLocks/>
          </p:cNvSpPr>
          <p:nvPr/>
        </p:nvSpPr>
        <p:spPr>
          <a:xfrm>
            <a:off x="3833419" y="4168743"/>
            <a:ext cx="2964226" cy="23161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182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1313" lvl="0" indent="-3413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rnalização de Compras</a:t>
            </a:r>
            <a:endParaRPr lang="pt-BR" sz="1632" baseline="30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92" name="Picture 17"/>
          <p:cNvPicPr>
            <a:picLocks/>
          </p:cNvPicPr>
          <p:nvPr/>
        </p:nvPicPr>
        <p:blipFill>
          <a:blip r:embed="rId18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77420" y="1630515"/>
            <a:ext cx="461187" cy="461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3" name="Picture 18"/>
          <p:cNvPicPr>
            <a:picLocks/>
          </p:cNvPicPr>
          <p:nvPr/>
        </p:nvPicPr>
        <p:blipFill>
          <a:blip r:embed="rId19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77420" y="2116334"/>
            <a:ext cx="461187" cy="461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4" name="Picture 20"/>
          <p:cNvPicPr>
            <a:picLocks/>
          </p:cNvPicPr>
          <p:nvPr/>
        </p:nvPicPr>
        <p:blipFill>
          <a:blip r:embed="rId20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77420" y="3087973"/>
            <a:ext cx="461187" cy="461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5" name="Picture 22"/>
          <p:cNvPicPr>
            <a:picLocks/>
          </p:cNvPicPr>
          <p:nvPr/>
        </p:nvPicPr>
        <p:blipFill>
          <a:blip r:embed="rId21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77420" y="3573792"/>
            <a:ext cx="461187" cy="461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6" name="Picture 24"/>
          <p:cNvPicPr>
            <a:picLocks/>
          </p:cNvPicPr>
          <p:nvPr/>
        </p:nvPicPr>
        <p:blipFill>
          <a:blip r:embed="rId22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77420" y="4059610"/>
            <a:ext cx="461187" cy="461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7" name="Picture 26"/>
          <p:cNvPicPr>
            <a:picLocks/>
          </p:cNvPicPr>
          <p:nvPr/>
        </p:nvPicPr>
        <p:blipFill>
          <a:blip r:embed="rId23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356569" y="1630515"/>
            <a:ext cx="461187" cy="461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8" name="Picture 28"/>
          <p:cNvPicPr>
            <a:picLocks/>
          </p:cNvPicPr>
          <p:nvPr/>
        </p:nvPicPr>
        <p:blipFill>
          <a:blip r:embed="rId24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356569" y="2116334"/>
            <a:ext cx="461187" cy="461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9" name="Picture 30"/>
          <p:cNvPicPr>
            <a:picLocks/>
          </p:cNvPicPr>
          <p:nvPr/>
        </p:nvPicPr>
        <p:blipFill>
          <a:blip r:embed="rId25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356569" y="2602154"/>
            <a:ext cx="461187" cy="461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0" name="Picture 33"/>
          <p:cNvPicPr>
            <a:picLocks/>
          </p:cNvPicPr>
          <p:nvPr/>
        </p:nvPicPr>
        <p:blipFill>
          <a:blip r:embed="rId26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356569" y="3573792"/>
            <a:ext cx="461187" cy="461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1" name="Picture 36"/>
          <p:cNvPicPr>
            <a:picLocks/>
          </p:cNvPicPr>
          <p:nvPr/>
        </p:nvPicPr>
        <p:blipFill>
          <a:blip r:embed="rId27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356569" y="4059610"/>
            <a:ext cx="461187" cy="461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2" name="Picture 38"/>
          <p:cNvPicPr>
            <a:picLocks/>
          </p:cNvPicPr>
          <p:nvPr/>
        </p:nvPicPr>
        <p:blipFill>
          <a:blip r:embed="rId28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77420" y="2602154"/>
            <a:ext cx="461187" cy="461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4" name="Picture 15"/>
          <p:cNvPicPr>
            <a:picLocks/>
          </p:cNvPicPr>
          <p:nvPr/>
        </p:nvPicPr>
        <p:blipFill>
          <a:blip r:embed="rId29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87658" y="5360626"/>
            <a:ext cx="344403" cy="3447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5" name="TextBox 2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82749" y="5449021"/>
            <a:ext cx="1797819" cy="1922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8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224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nergia de biomassa</a:t>
            </a:r>
          </a:p>
        </p:txBody>
      </p:sp>
      <p:sp>
        <p:nvSpPr>
          <p:cNvPr id="106" name="TextBox 23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41472" y="4664517"/>
            <a:ext cx="2273355" cy="25626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8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erticalização mineral</a:t>
            </a:r>
          </a:p>
        </p:txBody>
      </p:sp>
      <p:sp>
        <p:nvSpPr>
          <p:cNvPr id="108" name="TextBox 23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82749" y="5891637"/>
            <a:ext cx="1797819" cy="1922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8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224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mpensação ambiental</a:t>
            </a:r>
          </a:p>
        </p:txBody>
      </p:sp>
      <p:pic>
        <p:nvPicPr>
          <p:cNvPr id="109" name="Picture 42"/>
          <p:cNvPicPr>
            <a:picLocks/>
          </p:cNvPicPr>
          <p:nvPr/>
        </p:nvPicPr>
        <p:blipFill>
          <a:blip r:embed="rId30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75794" y="4547470"/>
            <a:ext cx="462813" cy="46281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1" name="Picture 47107"/>
          <p:cNvPicPr>
            <a:picLocks/>
          </p:cNvPicPr>
          <p:nvPr/>
        </p:nvPicPr>
        <p:blipFill>
          <a:blip r:embed="rId31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87658" y="5803243"/>
            <a:ext cx="344403" cy="3447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3" name="TextBox 23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946462" y="5449021"/>
            <a:ext cx="1797819" cy="1922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8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224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ercado de Gás Natural</a:t>
            </a:r>
          </a:p>
        </p:txBody>
      </p:sp>
      <p:sp>
        <p:nvSpPr>
          <p:cNvPr id="114" name="TextBox 23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946462" y="5891637"/>
            <a:ext cx="1797819" cy="1922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8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224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esca extrativa</a:t>
            </a:r>
          </a:p>
        </p:txBody>
      </p:sp>
      <p:sp>
        <p:nvSpPr>
          <p:cNvPr id="115" name="TextBox 23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946462" y="6334254"/>
            <a:ext cx="1797819" cy="1922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8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224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andioca</a:t>
            </a:r>
          </a:p>
        </p:txBody>
      </p:sp>
      <p:pic>
        <p:nvPicPr>
          <p:cNvPr id="117" name="Picture 47109"/>
          <p:cNvPicPr>
            <a:picLocks/>
          </p:cNvPicPr>
          <p:nvPr/>
        </p:nvPicPr>
        <p:blipFill>
          <a:blip r:embed="rId32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546867" y="5360626"/>
            <a:ext cx="344403" cy="3447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8" name="Picture 47111"/>
          <p:cNvPicPr>
            <a:picLocks/>
          </p:cNvPicPr>
          <p:nvPr/>
        </p:nvPicPr>
        <p:blipFill>
          <a:blip r:embed="rId33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546867" y="5803243"/>
            <a:ext cx="344403" cy="3447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9" name="Picture 47113"/>
          <p:cNvPicPr>
            <a:picLocks/>
          </p:cNvPicPr>
          <p:nvPr/>
        </p:nvPicPr>
        <p:blipFill>
          <a:blip r:embed="rId34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546867" y="6245859"/>
            <a:ext cx="344403" cy="3447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2" name="TextBox 23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82749" y="6331261"/>
            <a:ext cx="1797819" cy="1922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8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224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erviços ambientais</a:t>
            </a:r>
          </a:p>
        </p:txBody>
      </p:sp>
      <p:sp>
        <p:nvSpPr>
          <p:cNvPr id="123" name="TextBox 23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922248" y="4664517"/>
            <a:ext cx="3493930" cy="25626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8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632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dução de madeira de manejo</a:t>
            </a:r>
          </a:p>
        </p:txBody>
      </p:sp>
      <p:sp>
        <p:nvSpPr>
          <p:cNvPr id="124" name="TextBox 23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271329" y="5449021"/>
            <a:ext cx="1797819" cy="19221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800">
                <a:solidFill>
                  <a:srgbClr val="000000"/>
                </a:solidFill>
                <a:latin typeface="+mn-lt"/>
              </a:defRPr>
            </a:lvl1pPr>
            <a:lvl2pPr marL="739775" lvl="1" indent="-28416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2pPr>
            <a:lvl3pPr marL="1139825" lvl="2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3pPr>
            <a:lvl4pPr marL="1595438" lvl="3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4pPr>
            <a:lvl5pPr marL="2052638" lvl="4" indent="-227013" defTabSz="447675" eaLnBrk="0" hangingPunct="0">
              <a:spcBef>
                <a:spcPts val="3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+mn-lt"/>
              </a:defRPr>
            </a:lvl5pPr>
            <a:lvl6pPr marL="2509010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6pPr>
            <a:lvl7pPr marL="2965193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7pPr>
            <a:lvl8pPr marL="3421374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8pPr>
            <a:lvl9pPr marL="3877559" indent="-228087" defTabSz="448264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200">
                <a:solidFill>
                  <a:srgbClr val="000000"/>
                </a:solidFill>
                <a:latin typeface="+mn-lt"/>
              </a:defRPr>
            </a:lvl9pPr>
          </a:lstStyle>
          <a:p>
            <a:r>
              <a:rPr lang="pt-BR" sz="1224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omento à indústria naval</a:t>
            </a:r>
          </a:p>
        </p:txBody>
      </p:sp>
      <p:pic>
        <p:nvPicPr>
          <p:cNvPr id="125" name="Picture 47117"/>
          <p:cNvPicPr>
            <a:picLocks/>
          </p:cNvPicPr>
          <p:nvPr/>
        </p:nvPicPr>
        <p:blipFill>
          <a:blip r:embed="rId35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87658" y="6241761"/>
            <a:ext cx="344403" cy="3447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6" name="Picture 47119"/>
          <p:cNvPicPr>
            <a:picLocks/>
          </p:cNvPicPr>
          <p:nvPr/>
        </p:nvPicPr>
        <p:blipFill>
          <a:blip r:embed="rId36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356569" y="4544312"/>
            <a:ext cx="462813" cy="46281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7" name="Picture 47121"/>
          <p:cNvPicPr>
            <a:picLocks/>
          </p:cNvPicPr>
          <p:nvPr/>
        </p:nvPicPr>
        <p:blipFill>
          <a:blip r:embed="rId37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906077" y="5360626"/>
            <a:ext cx="344403" cy="34477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8" name="Picture 47123"/>
          <p:cNvPicPr>
            <a:picLocks/>
          </p:cNvPicPr>
          <p:nvPr/>
        </p:nvPicPr>
        <p:blipFill>
          <a:blip r:embed="rId38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356569" y="3087973"/>
            <a:ext cx="461187" cy="461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3" name="Rectangle 5"/>
          <p:cNvSpPr txBox="1"/>
          <p:nvPr>
            <p:custDataLst>
              <p:tags r:id="rId12"/>
            </p:custDataLst>
          </p:nvPr>
        </p:nvSpPr>
        <p:spPr>
          <a:xfrm>
            <a:off x="1878150" y="440643"/>
            <a:ext cx="7004405" cy="691441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</p:spPr>
        <p:txBody>
          <a:bodyPr vert="horz" lIns="0" tIns="73462" rIns="73462" bIns="73462" rtlCol="0" anchor="ctr" anchorCtr="0">
            <a:noAutofit/>
          </a:bodyPr>
          <a:lstStyle>
            <a:defPPr>
              <a:defRPr lang="pt-BR"/>
            </a:defPPr>
            <a:lvl1pPr defTabSz="895350">
              <a:lnSpc>
                <a:spcPct val="90000"/>
              </a:lnSpc>
              <a:buSzPct val="120000"/>
              <a:defRPr sz="2857" b="1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pt-BR" dirty="0"/>
              <a:t>Oportunidades de criação de valor compõem o Plano</a:t>
            </a:r>
          </a:p>
        </p:txBody>
      </p:sp>
    </p:spTree>
    <p:extLst>
      <p:ext uri="{BB962C8B-B14F-4D97-AF65-F5344CB8AC3E}">
        <p14:creationId xmlns:p14="http://schemas.microsoft.com/office/powerpoint/2010/main" val="28370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Picture 52" descr="CORREÇÕES SLIDES-ESQUEMA-02.pn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42" t="38944" r="36538" b="35886"/>
          <a:stretch/>
        </p:blipFill>
        <p:spPr bwMode="auto">
          <a:xfrm>
            <a:off x="3603453" y="3419661"/>
            <a:ext cx="1988304" cy="1865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Rectangle 93"/>
          <p:cNvSpPr/>
          <p:nvPr/>
        </p:nvSpPr>
        <p:spPr>
          <a:xfrm>
            <a:off x="5295779" y="5180637"/>
            <a:ext cx="3646527" cy="150159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6738599" y="2914613"/>
            <a:ext cx="2174551" cy="166565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4709228" y="1466424"/>
            <a:ext cx="3505667" cy="10069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0" name="Rectangle 46"/>
          <p:cNvSpPr txBox="1">
            <a:spLocks/>
          </p:cNvSpPr>
          <p:nvPr/>
        </p:nvSpPr>
        <p:spPr bwMode="gray">
          <a:xfrm>
            <a:off x="5737899" y="1620913"/>
            <a:ext cx="2052735" cy="990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30" tIns="46630" rIns="46630" bIns="4663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0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pt-BR" sz="1428" b="1" dirty="0">
                <a:solidFill>
                  <a:srgbClr val="0029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Criar uma </a:t>
            </a:r>
            <a:br>
              <a:rPr lang="pt-BR" sz="1428" b="1" dirty="0">
                <a:solidFill>
                  <a:srgbClr val="002960"/>
                </a:solidFill>
                <a:latin typeface="Tahoma" panose="020B0604030504040204" pitchFamily="34" charset="0"/>
                <a:cs typeface="Tahoma" panose="020B0604030504040204" pitchFamily="34" charset="0"/>
              </a:rPr>
            </a:br>
            <a:r>
              <a:rPr lang="pt-BR" sz="1428" b="1" dirty="0">
                <a:solidFill>
                  <a:srgbClr val="0029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marca de origem </a:t>
            </a:r>
            <a:r>
              <a:rPr lang="pt-BR" sz="1428" dirty="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para produtos feitos na região Amazônica</a:t>
            </a:r>
          </a:p>
        </p:txBody>
      </p:sp>
      <p:sp>
        <p:nvSpPr>
          <p:cNvPr id="11" name="Rectangle 46"/>
          <p:cNvSpPr txBox="1">
            <a:spLocks/>
          </p:cNvSpPr>
          <p:nvPr/>
        </p:nvSpPr>
        <p:spPr bwMode="gray">
          <a:xfrm>
            <a:off x="7032546" y="2976262"/>
            <a:ext cx="1989613" cy="121518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30" tIns="46630" rIns="46630" bIns="4663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algn="l">
              <a:spcBef>
                <a:spcPct val="30000"/>
              </a:spcBef>
              <a:buClr>
                <a:srgbClr val="002960"/>
              </a:buClr>
            </a:pPr>
            <a:r>
              <a:rPr lang="pt-BR" sz="1428" b="1" dirty="0">
                <a:solidFill>
                  <a:srgbClr val="0029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Desenvolver ambiente atrativo </a:t>
            </a:r>
            <a:r>
              <a:rPr lang="pt-BR" sz="1428" dirty="0">
                <a:latin typeface="Tahoma" panose="020B0604030504040204" pitchFamily="34" charset="0"/>
                <a:cs typeface="Tahoma" panose="020B0604030504040204" pitchFamily="34" charset="0"/>
              </a:rPr>
              <a:t>para</a:t>
            </a:r>
            <a:r>
              <a:rPr lang="pt-BR" sz="1428" b="1" dirty="0">
                <a:solidFill>
                  <a:srgbClr val="0029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investimentos da iniciativa privada</a:t>
            </a:r>
            <a:endParaRPr lang="pt-BR" sz="1428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Rectangle 46"/>
          <p:cNvSpPr txBox="1">
            <a:spLocks/>
          </p:cNvSpPr>
          <p:nvPr/>
        </p:nvSpPr>
        <p:spPr bwMode="gray">
          <a:xfrm>
            <a:off x="6673234" y="5202699"/>
            <a:ext cx="2234802" cy="1663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30" tIns="46630" rIns="46630" bIns="4663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pt-BR" sz="1428" b="1" dirty="0">
                <a:solidFill>
                  <a:srgbClr val="0029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Planejar disponibilidade </a:t>
            </a:r>
            <a:r>
              <a:rPr lang="pt-BR" sz="1428" dirty="0">
                <a:latin typeface="Tahoma" panose="020B0604030504040204" pitchFamily="34" charset="0"/>
                <a:cs typeface="Tahoma" panose="020B0604030504040204" pitchFamily="34" charset="0"/>
              </a:rPr>
              <a:t>de </a:t>
            </a:r>
            <a:r>
              <a:rPr lang="pt-BR" sz="1428" b="1" dirty="0">
                <a:solidFill>
                  <a:srgbClr val="0029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profissionais capacitados </a:t>
            </a:r>
            <a:r>
              <a:rPr lang="pt-BR" sz="1428" dirty="0">
                <a:latin typeface="Tahoma" panose="020B0604030504040204" pitchFamily="34" charset="0"/>
                <a:cs typeface="Tahoma" panose="020B0604030504040204" pitchFamily="34" charset="0"/>
              </a:rPr>
              <a:t>para alavancar desenvolvimento das cadeias</a:t>
            </a:r>
          </a:p>
        </p:txBody>
      </p:sp>
      <p:sp>
        <p:nvSpPr>
          <p:cNvPr id="13" name="Rectangle 46"/>
          <p:cNvSpPr txBox="1">
            <a:spLocks/>
          </p:cNvSpPr>
          <p:nvPr/>
        </p:nvSpPr>
        <p:spPr bwMode="gray">
          <a:xfrm>
            <a:off x="140448" y="2252742"/>
            <a:ext cx="2929204" cy="99098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630" tIns="46630" rIns="46630" bIns="4663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0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pt-BR" sz="1428" dirty="0">
                <a:latin typeface="Tahoma" panose="020B0604030504040204" pitchFamily="34" charset="0"/>
                <a:cs typeface="Tahoma" panose="020B0604030504040204" pitchFamily="34" charset="0"/>
              </a:rPr>
              <a:t>Mobilizar recursos para </a:t>
            </a:r>
            <a:r>
              <a:rPr lang="pt-BR" sz="1428" b="1" dirty="0">
                <a:solidFill>
                  <a:srgbClr val="0020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titular terras consistentemente</a:t>
            </a:r>
            <a:r>
              <a:rPr lang="pt-BR" sz="1428" b="1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1428" dirty="0">
                <a:latin typeface="Tahoma" panose="020B0604030504040204" pitchFamily="34" charset="0"/>
                <a:cs typeface="Tahoma" panose="020B0604030504040204" pitchFamily="34" charset="0"/>
              </a:rPr>
              <a:t>e destravar </a:t>
            </a:r>
            <a:r>
              <a:rPr lang="pt-BR" sz="1428" b="1" dirty="0">
                <a:solidFill>
                  <a:srgbClr val="0020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investimentos</a:t>
            </a:r>
          </a:p>
          <a:p>
            <a:pPr marL="184649" lvl="1" indent="0">
              <a:spcBef>
                <a:spcPts val="0"/>
              </a:spcBef>
              <a:buNone/>
            </a:pPr>
            <a:r>
              <a:rPr lang="pt-BR" sz="1428" dirty="0">
                <a:solidFill>
                  <a:srgbClr val="0020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e</a:t>
            </a:r>
            <a:r>
              <a:rPr lang="pt-BR" sz="1428" b="1" dirty="0">
                <a:solidFill>
                  <a:srgbClr val="0020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produção </a:t>
            </a:r>
            <a:endParaRPr lang="pt-BR" sz="1428" dirty="0">
              <a:solidFill>
                <a:srgbClr val="00206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Rectangle 46"/>
          <p:cNvSpPr txBox="1">
            <a:spLocks/>
          </p:cNvSpPr>
          <p:nvPr/>
        </p:nvSpPr>
        <p:spPr bwMode="gray">
          <a:xfrm>
            <a:off x="222589" y="5430921"/>
            <a:ext cx="2326974" cy="1439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vert="horz" wrap="square" lIns="46630" tIns="46630" rIns="46630" bIns="4663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pt-BR" sz="1428" b="1" dirty="0">
                <a:solidFill>
                  <a:srgbClr val="0020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Otimizar processo de licenciamento ambiental, aprimorando </a:t>
            </a:r>
            <a:r>
              <a:rPr lang="pt-BR" sz="1428" dirty="0">
                <a:latin typeface="Tahoma" panose="020B0604030504040204" pitchFamily="34" charset="0"/>
                <a:cs typeface="Tahoma" panose="020B0604030504040204" pitchFamily="34" charset="0"/>
              </a:rPr>
              <a:t>relação entre </a:t>
            </a:r>
            <a:r>
              <a:rPr lang="pt-BR" sz="1428" b="1" dirty="0">
                <a:solidFill>
                  <a:srgbClr val="0020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meio ambiente e produção</a:t>
            </a:r>
          </a:p>
        </p:txBody>
      </p:sp>
      <p:grpSp>
        <p:nvGrpSpPr>
          <p:cNvPr id="3" name="Group 2"/>
          <p:cNvGrpSpPr>
            <a:grpSpLocks noChangeAspect="1"/>
          </p:cNvGrpSpPr>
          <p:nvPr/>
        </p:nvGrpSpPr>
        <p:grpSpPr>
          <a:xfrm>
            <a:off x="1889946" y="1522231"/>
            <a:ext cx="5476239" cy="5470295"/>
            <a:chOff x="1592989" y="924849"/>
            <a:chExt cx="5690420" cy="5659190"/>
          </a:xfrm>
        </p:grpSpPr>
        <p:grpSp>
          <p:nvGrpSpPr>
            <p:cNvPr id="35" name="Group 34"/>
            <p:cNvGrpSpPr/>
            <p:nvPr/>
          </p:nvGrpSpPr>
          <p:grpSpPr>
            <a:xfrm>
              <a:off x="1592989" y="924849"/>
              <a:ext cx="5690420" cy="5659190"/>
              <a:chOff x="1283956" y="622678"/>
              <a:chExt cx="6046086" cy="6012905"/>
            </a:xfrm>
          </p:grpSpPr>
          <p:sp>
            <p:nvSpPr>
              <p:cNvPr id="29" name="Freeform 34"/>
              <p:cNvSpPr>
                <a:spLocks/>
              </p:cNvSpPr>
              <p:nvPr/>
            </p:nvSpPr>
            <p:spPr bwMode="auto">
              <a:xfrm>
                <a:off x="1283956" y="1567604"/>
                <a:ext cx="2533268" cy="3144946"/>
              </a:xfrm>
              <a:custGeom>
                <a:avLst/>
                <a:gdLst>
                  <a:gd name="T0" fmla="*/ 26 w 742"/>
                  <a:gd name="T1" fmla="*/ 547 h 921"/>
                  <a:gd name="T2" fmla="*/ 146 w 742"/>
                  <a:gd name="T3" fmla="*/ 787 h 921"/>
                  <a:gd name="T4" fmla="*/ 679 w 742"/>
                  <a:gd name="T5" fmla="*/ 916 h 921"/>
                  <a:gd name="T6" fmla="*/ 679 w 742"/>
                  <a:gd name="T7" fmla="*/ 916 h 921"/>
                  <a:gd name="T8" fmla="*/ 742 w 742"/>
                  <a:gd name="T9" fmla="*/ 916 h 921"/>
                  <a:gd name="T10" fmla="*/ 567 w 742"/>
                  <a:gd name="T11" fmla="*/ 547 h 921"/>
                  <a:gd name="T12" fmla="*/ 567 w 742"/>
                  <a:gd name="T13" fmla="*/ 547 h 921"/>
                  <a:gd name="T14" fmla="*/ 525 w 742"/>
                  <a:gd name="T15" fmla="*/ 0 h 921"/>
                  <a:gd name="T16" fmla="*/ 525 w 742"/>
                  <a:gd name="T17" fmla="*/ 0 h 921"/>
                  <a:gd name="T18" fmla="*/ 26 w 742"/>
                  <a:gd name="T19" fmla="*/ 547 h 9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2" h="921">
                    <a:moveTo>
                      <a:pt x="26" y="547"/>
                    </a:moveTo>
                    <a:cubicBezTo>
                      <a:pt x="37" y="633"/>
                      <a:pt x="71" y="718"/>
                      <a:pt x="146" y="787"/>
                    </a:cubicBezTo>
                    <a:cubicBezTo>
                      <a:pt x="146" y="786"/>
                      <a:pt x="274" y="921"/>
                      <a:pt x="679" y="916"/>
                    </a:cubicBezTo>
                    <a:cubicBezTo>
                      <a:pt x="679" y="916"/>
                      <a:pt x="679" y="916"/>
                      <a:pt x="679" y="916"/>
                    </a:cubicBezTo>
                    <a:cubicBezTo>
                      <a:pt x="700" y="916"/>
                      <a:pt x="721" y="917"/>
                      <a:pt x="742" y="916"/>
                    </a:cubicBezTo>
                    <a:cubicBezTo>
                      <a:pt x="660" y="791"/>
                      <a:pt x="602" y="670"/>
                      <a:pt x="567" y="547"/>
                    </a:cubicBezTo>
                    <a:cubicBezTo>
                      <a:pt x="567" y="547"/>
                      <a:pt x="567" y="547"/>
                      <a:pt x="567" y="547"/>
                    </a:cubicBezTo>
                    <a:cubicBezTo>
                      <a:pt x="437" y="163"/>
                      <a:pt x="526" y="0"/>
                      <a:pt x="525" y="0"/>
                    </a:cubicBezTo>
                    <a:cubicBezTo>
                      <a:pt x="525" y="0"/>
                      <a:pt x="525" y="0"/>
                      <a:pt x="525" y="0"/>
                    </a:cubicBezTo>
                    <a:cubicBezTo>
                      <a:pt x="132" y="167"/>
                      <a:pt x="0" y="340"/>
                      <a:pt x="26" y="54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53000">
                    <a:schemeClr val="accent2">
                      <a:lumMod val="75000"/>
                    </a:schemeClr>
                  </a:gs>
                  <a:gs pos="100000">
                    <a:schemeClr val="accent2"/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30" name="Freeform 35"/>
              <p:cNvSpPr>
                <a:spLocks/>
              </p:cNvSpPr>
              <p:nvPr/>
            </p:nvSpPr>
            <p:spPr bwMode="auto">
              <a:xfrm>
                <a:off x="1791763" y="4242251"/>
                <a:ext cx="3201208" cy="2257725"/>
              </a:xfrm>
              <a:custGeom>
                <a:avLst/>
                <a:gdLst>
                  <a:gd name="T0" fmla="*/ 366 w 938"/>
                  <a:gd name="T1" fmla="*/ 644 h 661"/>
                  <a:gd name="T2" fmla="*/ 631 w 938"/>
                  <a:gd name="T3" fmla="*/ 605 h 661"/>
                  <a:gd name="T4" fmla="*/ 918 w 938"/>
                  <a:gd name="T5" fmla="*/ 138 h 661"/>
                  <a:gd name="T6" fmla="*/ 918 w 938"/>
                  <a:gd name="T7" fmla="*/ 138 h 661"/>
                  <a:gd name="T8" fmla="*/ 938 w 938"/>
                  <a:gd name="T9" fmla="*/ 78 h 661"/>
                  <a:gd name="T10" fmla="*/ 533 w 938"/>
                  <a:gd name="T11" fmla="*/ 130 h 661"/>
                  <a:gd name="T12" fmla="*/ 533 w 938"/>
                  <a:gd name="T13" fmla="*/ 130 h 661"/>
                  <a:gd name="T14" fmla="*/ 0 w 938"/>
                  <a:gd name="T15" fmla="*/ 1 h 661"/>
                  <a:gd name="T16" fmla="*/ 0 w 938"/>
                  <a:gd name="T17" fmla="*/ 1 h 661"/>
                  <a:gd name="T18" fmla="*/ 366 w 938"/>
                  <a:gd name="T19" fmla="*/ 644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8" h="661">
                    <a:moveTo>
                      <a:pt x="366" y="644"/>
                    </a:moveTo>
                    <a:cubicBezTo>
                      <a:pt x="451" y="661"/>
                      <a:pt x="542" y="655"/>
                      <a:pt x="631" y="605"/>
                    </a:cubicBezTo>
                    <a:cubicBezTo>
                      <a:pt x="630" y="604"/>
                      <a:pt x="798" y="525"/>
                      <a:pt x="918" y="138"/>
                    </a:cubicBezTo>
                    <a:cubicBezTo>
                      <a:pt x="918" y="138"/>
                      <a:pt x="918" y="138"/>
                      <a:pt x="918" y="138"/>
                    </a:cubicBezTo>
                    <a:cubicBezTo>
                      <a:pt x="925" y="118"/>
                      <a:pt x="932" y="98"/>
                      <a:pt x="938" y="78"/>
                    </a:cubicBezTo>
                    <a:cubicBezTo>
                      <a:pt x="793" y="117"/>
                      <a:pt x="661" y="134"/>
                      <a:pt x="533" y="130"/>
                    </a:cubicBezTo>
                    <a:cubicBezTo>
                      <a:pt x="533" y="130"/>
                      <a:pt x="533" y="130"/>
                      <a:pt x="533" y="130"/>
                    </a:cubicBezTo>
                    <a:cubicBezTo>
                      <a:pt x="128" y="135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7" y="427"/>
                      <a:pt x="161" y="605"/>
                      <a:pt x="366" y="64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rgbClr val="0070C0"/>
                  </a:gs>
                  <a:gs pos="100000">
                    <a:schemeClr val="accent4">
                      <a:lumMod val="60000"/>
                      <a:lumOff val="40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31" name="Freeform 36"/>
              <p:cNvSpPr>
                <a:spLocks/>
              </p:cNvSpPr>
              <p:nvPr/>
            </p:nvSpPr>
            <p:spPr bwMode="auto">
              <a:xfrm>
                <a:off x="3932634" y="3342046"/>
                <a:ext cx="2697729" cy="3293537"/>
              </a:xfrm>
              <a:custGeom>
                <a:avLst/>
                <a:gdLst>
                  <a:gd name="T0" fmla="*/ 726 w 790"/>
                  <a:gd name="T1" fmla="*/ 719 h 965"/>
                  <a:gd name="T2" fmla="*/ 770 w 790"/>
                  <a:gd name="T3" fmla="*/ 455 h 965"/>
                  <a:gd name="T4" fmla="*/ 415 w 790"/>
                  <a:gd name="T5" fmla="*/ 37 h 965"/>
                  <a:gd name="T6" fmla="*/ 415 w 790"/>
                  <a:gd name="T7" fmla="*/ 37 h 965"/>
                  <a:gd name="T8" fmla="*/ 364 w 790"/>
                  <a:gd name="T9" fmla="*/ 0 h 965"/>
                  <a:gd name="T10" fmla="*/ 288 w 790"/>
                  <a:gd name="T11" fmla="*/ 402 h 965"/>
                  <a:gd name="T12" fmla="*/ 288 w 790"/>
                  <a:gd name="T13" fmla="*/ 402 h 965"/>
                  <a:gd name="T14" fmla="*/ 1 w 790"/>
                  <a:gd name="T15" fmla="*/ 869 h 965"/>
                  <a:gd name="T16" fmla="*/ 1 w 790"/>
                  <a:gd name="T17" fmla="*/ 869 h 965"/>
                  <a:gd name="T18" fmla="*/ 726 w 790"/>
                  <a:gd name="T19" fmla="*/ 719 h 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0" h="965">
                    <a:moveTo>
                      <a:pt x="726" y="719"/>
                    </a:moveTo>
                    <a:cubicBezTo>
                      <a:pt x="768" y="643"/>
                      <a:pt x="790" y="555"/>
                      <a:pt x="770" y="455"/>
                    </a:cubicBezTo>
                    <a:cubicBezTo>
                      <a:pt x="770" y="456"/>
                      <a:pt x="746" y="271"/>
                      <a:pt x="415" y="37"/>
                    </a:cubicBezTo>
                    <a:cubicBezTo>
                      <a:pt x="415" y="37"/>
                      <a:pt x="415" y="37"/>
                      <a:pt x="415" y="37"/>
                    </a:cubicBezTo>
                    <a:cubicBezTo>
                      <a:pt x="398" y="25"/>
                      <a:pt x="381" y="12"/>
                      <a:pt x="364" y="0"/>
                    </a:cubicBezTo>
                    <a:cubicBezTo>
                      <a:pt x="357" y="150"/>
                      <a:pt x="332" y="281"/>
                      <a:pt x="288" y="402"/>
                    </a:cubicBezTo>
                    <a:cubicBezTo>
                      <a:pt x="288" y="402"/>
                      <a:pt x="288" y="402"/>
                      <a:pt x="288" y="402"/>
                    </a:cubicBezTo>
                    <a:cubicBezTo>
                      <a:pt x="168" y="789"/>
                      <a:pt x="0" y="868"/>
                      <a:pt x="1" y="869"/>
                    </a:cubicBezTo>
                    <a:cubicBezTo>
                      <a:pt x="1" y="869"/>
                      <a:pt x="1" y="869"/>
                      <a:pt x="1" y="869"/>
                    </a:cubicBezTo>
                    <a:cubicBezTo>
                      <a:pt x="417" y="965"/>
                      <a:pt x="626" y="902"/>
                      <a:pt x="726" y="71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48000">
                    <a:srgbClr val="008000"/>
                  </a:gs>
                  <a:gs pos="100000">
                    <a:srgbClr val="92D050"/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32" name="Freeform 37"/>
              <p:cNvSpPr>
                <a:spLocks/>
              </p:cNvSpPr>
              <p:nvPr/>
            </p:nvSpPr>
            <p:spPr bwMode="auto">
              <a:xfrm>
                <a:off x="4124505" y="1854689"/>
                <a:ext cx="3205537" cy="3052617"/>
              </a:xfrm>
              <a:custGeom>
                <a:avLst/>
                <a:gdLst>
                  <a:gd name="T0" fmla="*/ 796 w 939"/>
                  <a:gd name="T1" fmla="*/ 157 h 894"/>
                  <a:gd name="T2" fmla="*/ 559 w 939"/>
                  <a:gd name="T3" fmla="*/ 34 h 894"/>
                  <a:gd name="T4" fmla="*/ 52 w 939"/>
                  <a:gd name="T5" fmla="*/ 243 h 894"/>
                  <a:gd name="T6" fmla="*/ 52 w 939"/>
                  <a:gd name="T7" fmla="*/ 243 h 894"/>
                  <a:gd name="T8" fmla="*/ 0 w 939"/>
                  <a:gd name="T9" fmla="*/ 279 h 894"/>
                  <a:gd name="T10" fmla="*/ 359 w 939"/>
                  <a:gd name="T11" fmla="*/ 475 h 894"/>
                  <a:gd name="T12" fmla="*/ 359 w 939"/>
                  <a:gd name="T13" fmla="*/ 475 h 894"/>
                  <a:gd name="T14" fmla="*/ 714 w 939"/>
                  <a:gd name="T15" fmla="*/ 893 h 894"/>
                  <a:gd name="T16" fmla="*/ 714 w 939"/>
                  <a:gd name="T17" fmla="*/ 893 h 894"/>
                  <a:gd name="T18" fmla="*/ 796 w 939"/>
                  <a:gd name="T19" fmla="*/ 157 h 8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9" h="894">
                    <a:moveTo>
                      <a:pt x="796" y="157"/>
                    </a:moveTo>
                    <a:cubicBezTo>
                      <a:pt x="737" y="94"/>
                      <a:pt x="660" y="45"/>
                      <a:pt x="559" y="34"/>
                    </a:cubicBezTo>
                    <a:cubicBezTo>
                      <a:pt x="559" y="34"/>
                      <a:pt x="376" y="0"/>
                      <a:pt x="52" y="243"/>
                    </a:cubicBezTo>
                    <a:cubicBezTo>
                      <a:pt x="52" y="243"/>
                      <a:pt x="52" y="243"/>
                      <a:pt x="52" y="243"/>
                    </a:cubicBezTo>
                    <a:cubicBezTo>
                      <a:pt x="34" y="254"/>
                      <a:pt x="17" y="267"/>
                      <a:pt x="0" y="279"/>
                    </a:cubicBezTo>
                    <a:cubicBezTo>
                      <a:pt x="140" y="332"/>
                      <a:pt x="258" y="396"/>
                      <a:pt x="359" y="475"/>
                    </a:cubicBezTo>
                    <a:cubicBezTo>
                      <a:pt x="359" y="475"/>
                      <a:pt x="359" y="475"/>
                      <a:pt x="359" y="475"/>
                    </a:cubicBezTo>
                    <a:cubicBezTo>
                      <a:pt x="690" y="709"/>
                      <a:pt x="714" y="894"/>
                      <a:pt x="714" y="893"/>
                    </a:cubicBezTo>
                    <a:cubicBezTo>
                      <a:pt x="714" y="893"/>
                      <a:pt x="714" y="893"/>
                      <a:pt x="714" y="893"/>
                    </a:cubicBezTo>
                    <a:cubicBezTo>
                      <a:pt x="934" y="527"/>
                      <a:pt x="939" y="309"/>
                      <a:pt x="796" y="15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62000">
                    <a:srgbClr val="CC6600"/>
                  </a:gs>
                  <a:gs pos="100000">
                    <a:srgbClr val="FFC000"/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33" name="Freeform 38"/>
              <p:cNvSpPr>
                <a:spLocks/>
              </p:cNvSpPr>
              <p:nvPr/>
            </p:nvSpPr>
            <p:spPr bwMode="auto">
              <a:xfrm>
                <a:off x="2775640" y="622678"/>
                <a:ext cx="3257472" cy="3017994"/>
              </a:xfrm>
              <a:custGeom>
                <a:avLst/>
                <a:gdLst>
                  <a:gd name="T0" fmla="*/ 279 w 954"/>
                  <a:gd name="T1" fmla="*/ 89 h 884"/>
                  <a:gd name="T2" fmla="*/ 88 w 954"/>
                  <a:gd name="T3" fmla="*/ 277 h 884"/>
                  <a:gd name="T4" fmla="*/ 130 w 954"/>
                  <a:gd name="T5" fmla="*/ 824 h 884"/>
                  <a:gd name="T6" fmla="*/ 130 w 954"/>
                  <a:gd name="T7" fmla="*/ 824 h 884"/>
                  <a:gd name="T8" fmla="*/ 149 w 954"/>
                  <a:gd name="T9" fmla="*/ 884 h 884"/>
                  <a:gd name="T10" fmla="*/ 447 w 954"/>
                  <a:gd name="T11" fmla="*/ 604 h 884"/>
                  <a:gd name="T12" fmla="*/ 447 w 954"/>
                  <a:gd name="T13" fmla="*/ 604 h 884"/>
                  <a:gd name="T14" fmla="*/ 954 w 954"/>
                  <a:gd name="T15" fmla="*/ 395 h 884"/>
                  <a:gd name="T16" fmla="*/ 954 w 954"/>
                  <a:gd name="T17" fmla="*/ 395 h 884"/>
                  <a:gd name="T18" fmla="*/ 279 w 954"/>
                  <a:gd name="T19" fmla="*/ 89 h 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54" h="884">
                    <a:moveTo>
                      <a:pt x="279" y="89"/>
                    </a:moveTo>
                    <a:cubicBezTo>
                      <a:pt x="200" y="126"/>
                      <a:pt x="130" y="184"/>
                      <a:pt x="88" y="277"/>
                    </a:cubicBezTo>
                    <a:cubicBezTo>
                      <a:pt x="89" y="277"/>
                      <a:pt x="0" y="440"/>
                      <a:pt x="130" y="824"/>
                    </a:cubicBezTo>
                    <a:cubicBezTo>
                      <a:pt x="130" y="824"/>
                      <a:pt x="130" y="824"/>
                      <a:pt x="130" y="824"/>
                    </a:cubicBezTo>
                    <a:cubicBezTo>
                      <a:pt x="136" y="844"/>
                      <a:pt x="142" y="864"/>
                      <a:pt x="149" y="884"/>
                    </a:cubicBezTo>
                    <a:cubicBezTo>
                      <a:pt x="243" y="767"/>
                      <a:pt x="340" y="675"/>
                      <a:pt x="447" y="604"/>
                    </a:cubicBezTo>
                    <a:cubicBezTo>
                      <a:pt x="447" y="604"/>
                      <a:pt x="447" y="604"/>
                      <a:pt x="447" y="604"/>
                    </a:cubicBezTo>
                    <a:cubicBezTo>
                      <a:pt x="771" y="361"/>
                      <a:pt x="954" y="395"/>
                      <a:pt x="954" y="395"/>
                    </a:cubicBezTo>
                    <a:cubicBezTo>
                      <a:pt x="954" y="395"/>
                      <a:pt x="954" y="395"/>
                      <a:pt x="954" y="395"/>
                    </a:cubicBezTo>
                    <a:cubicBezTo>
                      <a:pt x="673" y="72"/>
                      <a:pt x="468" y="0"/>
                      <a:pt x="279" y="89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67000"/>
                    </a:schemeClr>
                  </a:gs>
                  <a:gs pos="50000">
                    <a:srgbClr val="640000"/>
                  </a:gs>
                  <a:gs pos="100000">
                    <a:srgbClr val="DC445D"/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</p:grpSp>
        <p:sp>
          <p:nvSpPr>
            <p:cNvPr id="5" name="TextBox 4"/>
            <p:cNvSpPr txBox="1"/>
            <p:nvPr/>
          </p:nvSpPr>
          <p:spPr>
            <a:xfrm>
              <a:off x="5028712" y="5391103"/>
              <a:ext cx="1189497" cy="3976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ctr" defTabSz="895350" eaLnBrk="1" hangingPunct="1">
                <a:buClr>
                  <a:schemeClr val="tx2"/>
                </a:buClr>
                <a:defRPr b="1">
                  <a:solidFill>
                    <a:schemeClr val="bg1"/>
                  </a:solidFill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pt-BR" sz="1224" dirty="0">
                  <a:latin typeface="Tahoma" panose="020B0604030504040204" pitchFamily="34" charset="0"/>
                  <a:cs typeface="Tahoma" panose="020B0604030504040204" pitchFamily="34" charset="0"/>
                </a:rPr>
                <a:t>Capacitação e Formação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705204" y="2093789"/>
              <a:ext cx="1223417" cy="3976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pt-BR" sz="1224" b="1" dirty="0">
                  <a:solidFill>
                    <a:schemeClr val="bg1"/>
                  </a:solidFill>
                  <a:latin typeface="Tahoma" panose="020B0604030504040204" pitchFamily="34" charset="0"/>
                  <a:cs typeface="Tahoma" panose="020B0604030504040204" pitchFamily="34" charset="0"/>
                </a:rPr>
                <a:t>Marca Amazônia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750052" y="3399316"/>
              <a:ext cx="1617516" cy="3976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ctr" defTabSz="895350" eaLnBrk="1" hangingPunct="1">
                <a:buClr>
                  <a:schemeClr val="tx2"/>
                </a:buClr>
                <a:defRPr b="1">
                  <a:solidFill>
                    <a:schemeClr val="bg1"/>
                  </a:solidFill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pt-BR" sz="1224" dirty="0">
                  <a:latin typeface="Tahoma" panose="020B0604030504040204" pitchFamily="34" charset="0"/>
                  <a:cs typeface="Tahoma" panose="020B0604030504040204" pitchFamily="34" charset="0"/>
                </a:rPr>
                <a:t>Regularização Fundiária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701487" y="5577743"/>
              <a:ext cx="1738840" cy="59654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lvl="0" indent="0" algn="ctr" defTabSz="895350" eaLnBrk="1" hangingPunct="1">
                <a:buClr>
                  <a:schemeClr val="tx2"/>
                </a:buClr>
                <a:defRPr b="1">
                  <a:solidFill>
                    <a:schemeClr val="bg1"/>
                  </a:solidFill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pt-BR" sz="1224" dirty="0">
                  <a:latin typeface="Tahoma" panose="020B0604030504040204" pitchFamily="34" charset="0"/>
                  <a:cs typeface="Tahoma" panose="020B0604030504040204" pitchFamily="34" charset="0"/>
                </a:rPr>
                <a:t>Regularização e Licenciamento Ambiental</a:t>
              </a: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auto">
            <a:xfrm>
              <a:off x="3426137" y="2908117"/>
              <a:ext cx="372873" cy="37287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pt-BR" sz="1224" b="1" dirty="0">
                  <a:solidFill>
                    <a:schemeClr val="tx1"/>
                  </a:solidFill>
                  <a:latin typeface="Tahoma" panose="020B0604030504040204" pitchFamily="34" charset="0"/>
                  <a:cs typeface="Tahoma" panose="020B0604030504040204" pitchFamily="34" charset="0"/>
                </a:rPr>
                <a:t>1</a:t>
              </a:r>
            </a:p>
          </p:txBody>
        </p:sp>
        <p:sp>
          <p:nvSpPr>
            <p:cNvPr id="48" name="Oval 47"/>
            <p:cNvSpPr>
              <a:spLocks noChangeArrowheads="1"/>
            </p:cNvSpPr>
            <p:nvPr/>
          </p:nvSpPr>
          <p:spPr bwMode="auto">
            <a:xfrm>
              <a:off x="4746358" y="2730163"/>
              <a:ext cx="372873" cy="37287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pt-BR" sz="1224" b="1" dirty="0">
                  <a:solidFill>
                    <a:schemeClr val="tx1"/>
                  </a:solidFill>
                  <a:latin typeface="Tahoma" panose="020B0604030504040204" pitchFamily="34" charset="0"/>
                  <a:cs typeface="Tahoma" panose="020B0604030504040204" pitchFamily="34" charset="0"/>
                </a:rPr>
                <a:t>2</a:t>
              </a:r>
            </a:p>
          </p:txBody>
        </p:sp>
        <p:sp>
          <p:nvSpPr>
            <p:cNvPr id="49" name="Oval 48"/>
            <p:cNvSpPr>
              <a:spLocks noChangeArrowheads="1"/>
            </p:cNvSpPr>
            <p:nvPr/>
          </p:nvSpPr>
          <p:spPr bwMode="auto">
            <a:xfrm>
              <a:off x="5301921" y="3802393"/>
              <a:ext cx="372873" cy="37287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pt-BR" sz="1224" b="1" dirty="0">
                  <a:solidFill>
                    <a:schemeClr val="tx1"/>
                  </a:solidFill>
                  <a:latin typeface="Tahoma" panose="020B0604030504040204" pitchFamily="34" charset="0"/>
                  <a:cs typeface="Tahoma" panose="020B0604030504040204" pitchFamily="34" charset="0"/>
                </a:rPr>
                <a:t>3</a:t>
              </a:r>
            </a:p>
          </p:txBody>
        </p:sp>
        <p:sp>
          <p:nvSpPr>
            <p:cNvPr id="50" name="Oval 49"/>
            <p:cNvSpPr>
              <a:spLocks noChangeArrowheads="1"/>
            </p:cNvSpPr>
            <p:nvPr/>
          </p:nvSpPr>
          <p:spPr bwMode="auto">
            <a:xfrm>
              <a:off x="3219824" y="4223275"/>
              <a:ext cx="372873" cy="37287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pt-BR" sz="1224" b="1" dirty="0">
                  <a:solidFill>
                    <a:schemeClr val="tx1"/>
                  </a:solidFill>
                  <a:latin typeface="Tahoma" panose="020B0604030504040204" pitchFamily="34" charset="0"/>
                  <a:cs typeface="Tahoma" panose="020B0604030504040204" pitchFamily="34" charset="0"/>
                </a:rPr>
                <a:t>5</a:t>
              </a:r>
            </a:p>
          </p:txBody>
        </p:sp>
        <p:sp>
          <p:nvSpPr>
            <p:cNvPr id="51" name="Oval 50"/>
            <p:cNvSpPr>
              <a:spLocks noChangeArrowheads="1"/>
            </p:cNvSpPr>
            <p:nvPr/>
          </p:nvSpPr>
          <p:spPr bwMode="auto">
            <a:xfrm>
              <a:off x="4341549" y="4873738"/>
              <a:ext cx="372873" cy="37287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pt-BR" sz="1224" b="1" dirty="0">
                  <a:solidFill>
                    <a:schemeClr val="tx1"/>
                  </a:solidFill>
                  <a:latin typeface="Tahoma" panose="020B0604030504040204" pitchFamily="34" charset="0"/>
                  <a:cs typeface="Tahoma" panose="020B0604030504040204" pitchFamily="34" charset="0"/>
                </a:rPr>
                <a:t>4</a:t>
              </a:r>
            </a:p>
          </p:txBody>
        </p:sp>
        <p:sp>
          <p:nvSpPr>
            <p:cNvPr id="47" name="Freeform 52"/>
            <p:cNvSpPr>
              <a:spLocks noEditPoints="1"/>
            </p:cNvSpPr>
            <p:nvPr/>
          </p:nvSpPr>
          <p:spPr bwMode="auto">
            <a:xfrm>
              <a:off x="4013287" y="1440385"/>
              <a:ext cx="607252" cy="607252"/>
            </a:xfrm>
            <a:custGeom>
              <a:avLst/>
              <a:gdLst>
                <a:gd name="T0" fmla="*/ 62 w 102"/>
                <a:gd name="T1" fmla="*/ 51 h 102"/>
                <a:gd name="T2" fmla="*/ 55 w 102"/>
                <a:gd name="T3" fmla="*/ 60 h 102"/>
                <a:gd name="T4" fmla="*/ 48 w 102"/>
                <a:gd name="T5" fmla="*/ 43 h 102"/>
                <a:gd name="T6" fmla="*/ 0 w 102"/>
                <a:gd name="T7" fmla="*/ 0 h 102"/>
                <a:gd name="T8" fmla="*/ 33 w 102"/>
                <a:gd name="T9" fmla="*/ 50 h 102"/>
                <a:gd name="T10" fmla="*/ 32 w 102"/>
                <a:gd name="T11" fmla="*/ 40 h 102"/>
                <a:gd name="T12" fmla="*/ 30 w 102"/>
                <a:gd name="T13" fmla="*/ 34 h 102"/>
                <a:gd name="T14" fmla="*/ 26 w 102"/>
                <a:gd name="T15" fmla="*/ 23 h 102"/>
                <a:gd name="T16" fmla="*/ 32 w 102"/>
                <a:gd name="T17" fmla="*/ 32 h 102"/>
                <a:gd name="T18" fmla="*/ 43 w 102"/>
                <a:gd name="T19" fmla="*/ 53 h 102"/>
                <a:gd name="T20" fmla="*/ 50 w 102"/>
                <a:gd name="T21" fmla="*/ 97 h 102"/>
                <a:gd name="T22" fmla="*/ 55 w 102"/>
                <a:gd name="T23" fmla="*/ 102 h 102"/>
                <a:gd name="T24" fmla="*/ 60 w 102"/>
                <a:gd name="T25" fmla="*/ 97 h 102"/>
                <a:gd name="T26" fmla="*/ 59 w 102"/>
                <a:gd name="T27" fmla="*/ 78 h 102"/>
                <a:gd name="T28" fmla="*/ 65 w 102"/>
                <a:gd name="T29" fmla="*/ 62 h 102"/>
                <a:gd name="T30" fmla="*/ 72 w 102"/>
                <a:gd name="T31" fmla="*/ 50 h 102"/>
                <a:gd name="T32" fmla="*/ 84 w 102"/>
                <a:gd name="T33" fmla="*/ 37 h 102"/>
                <a:gd name="T34" fmla="*/ 74 w 102"/>
                <a:gd name="T35" fmla="*/ 58 h 102"/>
                <a:gd name="T36" fmla="*/ 102 w 102"/>
                <a:gd name="T37" fmla="*/ 18 h 102"/>
                <a:gd name="T38" fmla="*/ 62 w 102"/>
                <a:gd name="T39" fmla="*/ 51 h 102"/>
                <a:gd name="T40" fmla="*/ 62 w 102"/>
                <a:gd name="T41" fmla="*/ 51 h 102"/>
                <a:gd name="T42" fmla="*/ 62 w 102"/>
                <a:gd name="T43" fmla="*/ 51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2" h="102">
                  <a:moveTo>
                    <a:pt x="62" y="51"/>
                  </a:moveTo>
                  <a:cubicBezTo>
                    <a:pt x="60" y="53"/>
                    <a:pt x="57" y="56"/>
                    <a:pt x="55" y="60"/>
                  </a:cubicBezTo>
                  <a:cubicBezTo>
                    <a:pt x="53" y="52"/>
                    <a:pt x="51" y="47"/>
                    <a:pt x="48" y="43"/>
                  </a:cubicBezTo>
                  <a:cubicBezTo>
                    <a:pt x="60" y="1"/>
                    <a:pt x="0" y="0"/>
                    <a:pt x="0" y="0"/>
                  </a:cubicBezTo>
                  <a:cubicBezTo>
                    <a:pt x="0" y="0"/>
                    <a:pt x="2" y="52"/>
                    <a:pt x="33" y="50"/>
                  </a:cubicBezTo>
                  <a:cubicBezTo>
                    <a:pt x="33" y="47"/>
                    <a:pt x="33" y="43"/>
                    <a:pt x="32" y="40"/>
                  </a:cubicBezTo>
                  <a:cubicBezTo>
                    <a:pt x="31" y="38"/>
                    <a:pt x="31" y="36"/>
                    <a:pt x="30" y="34"/>
                  </a:cubicBezTo>
                  <a:cubicBezTo>
                    <a:pt x="28" y="28"/>
                    <a:pt x="26" y="23"/>
                    <a:pt x="26" y="23"/>
                  </a:cubicBezTo>
                  <a:cubicBezTo>
                    <a:pt x="28" y="27"/>
                    <a:pt x="30" y="29"/>
                    <a:pt x="32" y="32"/>
                  </a:cubicBezTo>
                  <a:cubicBezTo>
                    <a:pt x="38" y="42"/>
                    <a:pt x="42" y="49"/>
                    <a:pt x="43" y="53"/>
                  </a:cubicBezTo>
                  <a:cubicBezTo>
                    <a:pt x="47" y="61"/>
                    <a:pt x="50" y="75"/>
                    <a:pt x="50" y="97"/>
                  </a:cubicBezTo>
                  <a:cubicBezTo>
                    <a:pt x="50" y="100"/>
                    <a:pt x="52" y="102"/>
                    <a:pt x="55" y="102"/>
                  </a:cubicBezTo>
                  <a:cubicBezTo>
                    <a:pt x="58" y="102"/>
                    <a:pt x="60" y="100"/>
                    <a:pt x="60" y="97"/>
                  </a:cubicBezTo>
                  <a:cubicBezTo>
                    <a:pt x="60" y="90"/>
                    <a:pt x="59" y="84"/>
                    <a:pt x="59" y="78"/>
                  </a:cubicBezTo>
                  <a:cubicBezTo>
                    <a:pt x="60" y="71"/>
                    <a:pt x="62" y="66"/>
                    <a:pt x="65" y="62"/>
                  </a:cubicBezTo>
                  <a:cubicBezTo>
                    <a:pt x="66" y="60"/>
                    <a:pt x="69" y="55"/>
                    <a:pt x="72" y="50"/>
                  </a:cubicBezTo>
                  <a:cubicBezTo>
                    <a:pt x="76" y="45"/>
                    <a:pt x="80" y="41"/>
                    <a:pt x="84" y="37"/>
                  </a:cubicBezTo>
                  <a:cubicBezTo>
                    <a:pt x="84" y="37"/>
                    <a:pt x="75" y="48"/>
                    <a:pt x="74" y="58"/>
                  </a:cubicBezTo>
                  <a:cubicBezTo>
                    <a:pt x="101" y="60"/>
                    <a:pt x="102" y="18"/>
                    <a:pt x="102" y="18"/>
                  </a:cubicBezTo>
                  <a:cubicBezTo>
                    <a:pt x="102" y="18"/>
                    <a:pt x="54" y="20"/>
                    <a:pt x="62" y="51"/>
                  </a:cubicBezTo>
                  <a:close/>
                  <a:moveTo>
                    <a:pt x="62" y="51"/>
                  </a:moveTo>
                  <a:cubicBezTo>
                    <a:pt x="62" y="51"/>
                    <a:pt x="62" y="51"/>
                    <a:pt x="62" y="51"/>
                  </a:cubicBezTo>
                </a:path>
              </a:pathLst>
            </a:custGeom>
            <a:solidFill>
              <a:schemeClr val="bg1">
                <a:alpha val="50000"/>
              </a:schemeClr>
            </a:solidFill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pt-BR" sz="1224" dirty="0"/>
            </a:p>
          </p:txBody>
        </p:sp>
        <p:grpSp>
          <p:nvGrpSpPr>
            <p:cNvPr id="41997" name="Group 41996"/>
            <p:cNvGrpSpPr/>
            <p:nvPr/>
          </p:nvGrpSpPr>
          <p:grpSpPr>
            <a:xfrm>
              <a:off x="5146706" y="2390353"/>
              <a:ext cx="688453" cy="704708"/>
              <a:chOff x="8399941" y="2154817"/>
              <a:chExt cx="941386" cy="963612"/>
            </a:xfrm>
            <a:solidFill>
              <a:schemeClr val="bg1">
                <a:alpha val="50000"/>
              </a:schemeClr>
            </a:solidFill>
          </p:grpSpPr>
          <p:sp>
            <p:nvSpPr>
              <p:cNvPr id="54" name="Freeform 56"/>
              <p:cNvSpPr>
                <a:spLocks noEditPoints="1"/>
              </p:cNvSpPr>
              <p:nvPr/>
            </p:nvSpPr>
            <p:spPr bwMode="auto">
              <a:xfrm>
                <a:off x="8399941" y="2154817"/>
                <a:ext cx="554039" cy="625475"/>
              </a:xfrm>
              <a:custGeom>
                <a:avLst/>
                <a:gdLst>
                  <a:gd name="T0" fmla="*/ 26 w 146"/>
                  <a:gd name="T1" fmla="*/ 165 h 165"/>
                  <a:gd name="T2" fmla="*/ 22 w 146"/>
                  <a:gd name="T3" fmla="*/ 135 h 165"/>
                  <a:gd name="T4" fmla="*/ 92 w 146"/>
                  <a:gd name="T5" fmla="*/ 42 h 165"/>
                  <a:gd name="T6" fmla="*/ 92 w 146"/>
                  <a:gd name="T7" fmla="*/ 54 h 165"/>
                  <a:gd name="T8" fmla="*/ 146 w 146"/>
                  <a:gd name="T9" fmla="*/ 27 h 165"/>
                  <a:gd name="T10" fmla="*/ 92 w 146"/>
                  <a:gd name="T11" fmla="*/ 0 h 165"/>
                  <a:gd name="T12" fmla="*/ 92 w 146"/>
                  <a:gd name="T13" fmla="*/ 19 h 165"/>
                  <a:gd name="T14" fmla="*/ 0 w 146"/>
                  <a:gd name="T15" fmla="*/ 135 h 165"/>
                  <a:gd name="T16" fmla="*/ 2 w 146"/>
                  <a:gd name="T17" fmla="*/ 158 h 165"/>
                  <a:gd name="T18" fmla="*/ 4 w 146"/>
                  <a:gd name="T19" fmla="*/ 147 h 165"/>
                  <a:gd name="T20" fmla="*/ 26 w 146"/>
                  <a:gd name="T21" fmla="*/ 165 h 165"/>
                  <a:gd name="T22" fmla="*/ 26 w 146"/>
                  <a:gd name="T23" fmla="*/ 165 h 165"/>
                  <a:gd name="T24" fmla="*/ 26 w 146"/>
                  <a:gd name="T25" fmla="*/ 16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6" h="165">
                    <a:moveTo>
                      <a:pt x="26" y="165"/>
                    </a:moveTo>
                    <a:cubicBezTo>
                      <a:pt x="23" y="156"/>
                      <a:pt x="22" y="145"/>
                      <a:pt x="22" y="135"/>
                    </a:cubicBezTo>
                    <a:cubicBezTo>
                      <a:pt x="22" y="92"/>
                      <a:pt x="51" y="54"/>
                      <a:pt x="92" y="42"/>
                    </a:cubicBezTo>
                    <a:cubicBezTo>
                      <a:pt x="92" y="54"/>
                      <a:pt x="92" y="54"/>
                      <a:pt x="92" y="54"/>
                    </a:cubicBezTo>
                    <a:cubicBezTo>
                      <a:pt x="146" y="27"/>
                      <a:pt x="146" y="27"/>
                      <a:pt x="146" y="27"/>
                    </a:cubicBezTo>
                    <a:cubicBezTo>
                      <a:pt x="92" y="0"/>
                      <a:pt x="92" y="0"/>
                      <a:pt x="92" y="0"/>
                    </a:cubicBezTo>
                    <a:cubicBezTo>
                      <a:pt x="92" y="19"/>
                      <a:pt x="92" y="19"/>
                      <a:pt x="92" y="19"/>
                    </a:cubicBezTo>
                    <a:cubicBezTo>
                      <a:pt x="39" y="33"/>
                      <a:pt x="0" y="80"/>
                      <a:pt x="0" y="135"/>
                    </a:cubicBezTo>
                    <a:cubicBezTo>
                      <a:pt x="0" y="143"/>
                      <a:pt x="1" y="151"/>
                      <a:pt x="2" y="158"/>
                    </a:cubicBezTo>
                    <a:cubicBezTo>
                      <a:pt x="4" y="147"/>
                      <a:pt x="4" y="147"/>
                      <a:pt x="4" y="147"/>
                    </a:cubicBezTo>
                    <a:lnTo>
                      <a:pt x="26" y="165"/>
                    </a:lnTo>
                    <a:close/>
                    <a:moveTo>
                      <a:pt x="26" y="165"/>
                    </a:moveTo>
                    <a:cubicBezTo>
                      <a:pt x="26" y="165"/>
                      <a:pt x="26" y="165"/>
                      <a:pt x="26" y="16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55" name="Freeform 57"/>
              <p:cNvSpPr>
                <a:spLocks noEditPoints="1"/>
              </p:cNvSpPr>
              <p:nvPr/>
            </p:nvSpPr>
            <p:spPr bwMode="auto">
              <a:xfrm>
                <a:off x="8931752" y="2245303"/>
                <a:ext cx="409575" cy="717551"/>
              </a:xfrm>
              <a:custGeom>
                <a:avLst/>
                <a:gdLst>
                  <a:gd name="T0" fmla="*/ 61 w 108"/>
                  <a:gd name="T1" fmla="*/ 129 h 189"/>
                  <a:gd name="T2" fmla="*/ 58 w 108"/>
                  <a:gd name="T3" fmla="*/ 189 h 189"/>
                  <a:gd name="T4" fmla="*/ 108 w 108"/>
                  <a:gd name="T5" fmla="*/ 156 h 189"/>
                  <a:gd name="T6" fmla="*/ 92 w 108"/>
                  <a:gd name="T7" fmla="*/ 146 h 189"/>
                  <a:gd name="T8" fmla="*/ 97 w 108"/>
                  <a:gd name="T9" fmla="*/ 111 h 189"/>
                  <a:gd name="T10" fmla="*/ 17 w 108"/>
                  <a:gd name="T11" fmla="*/ 0 h 189"/>
                  <a:gd name="T12" fmla="*/ 26 w 108"/>
                  <a:gd name="T13" fmla="*/ 6 h 189"/>
                  <a:gd name="T14" fmla="*/ 0 w 108"/>
                  <a:gd name="T15" fmla="*/ 17 h 189"/>
                  <a:gd name="T16" fmla="*/ 75 w 108"/>
                  <a:gd name="T17" fmla="*/ 111 h 189"/>
                  <a:gd name="T18" fmla="*/ 72 w 108"/>
                  <a:gd name="T19" fmla="*/ 134 h 189"/>
                  <a:gd name="T20" fmla="*/ 61 w 108"/>
                  <a:gd name="T21" fmla="*/ 129 h 189"/>
                  <a:gd name="T22" fmla="*/ 61 w 108"/>
                  <a:gd name="T23" fmla="*/ 129 h 189"/>
                  <a:gd name="T24" fmla="*/ 61 w 108"/>
                  <a:gd name="T25" fmla="*/ 129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8" h="189">
                    <a:moveTo>
                      <a:pt x="61" y="129"/>
                    </a:moveTo>
                    <a:cubicBezTo>
                      <a:pt x="58" y="189"/>
                      <a:pt x="58" y="189"/>
                      <a:pt x="58" y="189"/>
                    </a:cubicBezTo>
                    <a:cubicBezTo>
                      <a:pt x="108" y="156"/>
                      <a:pt x="108" y="156"/>
                      <a:pt x="108" y="156"/>
                    </a:cubicBezTo>
                    <a:cubicBezTo>
                      <a:pt x="92" y="146"/>
                      <a:pt x="92" y="146"/>
                      <a:pt x="92" y="146"/>
                    </a:cubicBezTo>
                    <a:cubicBezTo>
                      <a:pt x="95" y="135"/>
                      <a:pt x="97" y="124"/>
                      <a:pt x="97" y="111"/>
                    </a:cubicBezTo>
                    <a:cubicBezTo>
                      <a:pt x="97" y="60"/>
                      <a:pt x="63" y="16"/>
                      <a:pt x="17" y="0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43" y="27"/>
                      <a:pt x="75" y="66"/>
                      <a:pt x="75" y="111"/>
                    </a:cubicBezTo>
                    <a:cubicBezTo>
                      <a:pt x="75" y="119"/>
                      <a:pt x="74" y="127"/>
                      <a:pt x="72" y="134"/>
                    </a:cubicBezTo>
                    <a:lnTo>
                      <a:pt x="61" y="129"/>
                    </a:lnTo>
                    <a:close/>
                    <a:moveTo>
                      <a:pt x="61" y="129"/>
                    </a:moveTo>
                    <a:cubicBezTo>
                      <a:pt x="61" y="129"/>
                      <a:pt x="61" y="129"/>
                      <a:pt x="61" y="12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56" name="Freeform 58"/>
              <p:cNvSpPr>
                <a:spLocks noEditPoints="1"/>
              </p:cNvSpPr>
              <p:nvPr/>
            </p:nvSpPr>
            <p:spPr bwMode="auto">
              <a:xfrm>
                <a:off x="8445978" y="2785054"/>
                <a:ext cx="693738" cy="333375"/>
              </a:xfrm>
              <a:custGeom>
                <a:avLst/>
                <a:gdLst>
                  <a:gd name="T0" fmla="*/ 178 w 183"/>
                  <a:gd name="T1" fmla="*/ 35 h 88"/>
                  <a:gd name="T2" fmla="*/ 106 w 183"/>
                  <a:gd name="T3" fmla="*/ 66 h 88"/>
                  <a:gd name="T4" fmla="*/ 40 w 183"/>
                  <a:gd name="T5" fmla="*/ 39 h 88"/>
                  <a:gd name="T6" fmla="*/ 50 w 183"/>
                  <a:gd name="T7" fmla="*/ 33 h 88"/>
                  <a:gd name="T8" fmla="*/ 0 w 183"/>
                  <a:gd name="T9" fmla="*/ 0 h 88"/>
                  <a:gd name="T10" fmla="*/ 4 w 183"/>
                  <a:gd name="T11" fmla="*/ 60 h 88"/>
                  <a:gd name="T12" fmla="*/ 20 w 183"/>
                  <a:gd name="T13" fmla="*/ 50 h 88"/>
                  <a:gd name="T14" fmla="*/ 106 w 183"/>
                  <a:gd name="T15" fmla="*/ 88 h 88"/>
                  <a:gd name="T16" fmla="*/ 183 w 183"/>
                  <a:gd name="T17" fmla="*/ 59 h 88"/>
                  <a:gd name="T18" fmla="*/ 174 w 183"/>
                  <a:gd name="T19" fmla="*/ 62 h 88"/>
                  <a:gd name="T20" fmla="*/ 178 w 183"/>
                  <a:gd name="T21" fmla="*/ 35 h 88"/>
                  <a:gd name="T22" fmla="*/ 178 w 183"/>
                  <a:gd name="T23" fmla="*/ 35 h 88"/>
                  <a:gd name="T24" fmla="*/ 178 w 183"/>
                  <a:gd name="T25" fmla="*/ 35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3" h="88">
                    <a:moveTo>
                      <a:pt x="178" y="35"/>
                    </a:moveTo>
                    <a:cubicBezTo>
                      <a:pt x="160" y="54"/>
                      <a:pt x="135" y="66"/>
                      <a:pt x="106" y="66"/>
                    </a:cubicBezTo>
                    <a:cubicBezTo>
                      <a:pt x="80" y="66"/>
                      <a:pt x="57" y="55"/>
                      <a:pt x="40" y="39"/>
                    </a:cubicBezTo>
                    <a:cubicBezTo>
                      <a:pt x="50" y="33"/>
                      <a:pt x="50" y="33"/>
                      <a:pt x="50" y="3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42" y="73"/>
                      <a:pt x="73" y="88"/>
                      <a:pt x="106" y="88"/>
                    </a:cubicBezTo>
                    <a:cubicBezTo>
                      <a:pt x="136" y="88"/>
                      <a:pt x="162" y="77"/>
                      <a:pt x="183" y="59"/>
                    </a:cubicBezTo>
                    <a:cubicBezTo>
                      <a:pt x="174" y="62"/>
                      <a:pt x="174" y="62"/>
                      <a:pt x="174" y="62"/>
                    </a:cubicBezTo>
                    <a:lnTo>
                      <a:pt x="178" y="35"/>
                    </a:lnTo>
                    <a:close/>
                    <a:moveTo>
                      <a:pt x="178" y="35"/>
                    </a:moveTo>
                    <a:cubicBezTo>
                      <a:pt x="178" y="35"/>
                      <a:pt x="178" y="35"/>
                      <a:pt x="178" y="3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57" name="Freeform 59"/>
              <p:cNvSpPr>
                <a:spLocks noEditPoints="1"/>
              </p:cNvSpPr>
              <p:nvPr/>
            </p:nvSpPr>
            <p:spPr bwMode="auto">
              <a:xfrm>
                <a:off x="8707915" y="2411993"/>
                <a:ext cx="280988" cy="512762"/>
              </a:xfrm>
              <a:custGeom>
                <a:avLst/>
                <a:gdLst>
                  <a:gd name="T0" fmla="*/ 29 w 74"/>
                  <a:gd name="T1" fmla="*/ 0 h 135"/>
                  <a:gd name="T2" fmla="*/ 29 w 74"/>
                  <a:gd name="T3" fmla="*/ 16 h 135"/>
                  <a:gd name="T4" fmla="*/ 1 w 74"/>
                  <a:gd name="T5" fmla="*/ 45 h 135"/>
                  <a:gd name="T6" fmla="*/ 31 w 74"/>
                  <a:gd name="T7" fmla="*/ 75 h 135"/>
                  <a:gd name="T8" fmla="*/ 48 w 74"/>
                  <a:gd name="T9" fmla="*/ 90 h 135"/>
                  <a:gd name="T10" fmla="*/ 32 w 74"/>
                  <a:gd name="T11" fmla="*/ 100 h 135"/>
                  <a:gd name="T12" fmla="*/ 5 w 74"/>
                  <a:gd name="T13" fmla="*/ 93 h 135"/>
                  <a:gd name="T14" fmla="*/ 0 w 74"/>
                  <a:gd name="T15" fmla="*/ 112 h 135"/>
                  <a:gd name="T16" fmla="*/ 28 w 74"/>
                  <a:gd name="T17" fmla="*/ 119 h 135"/>
                  <a:gd name="T18" fmla="*/ 28 w 74"/>
                  <a:gd name="T19" fmla="*/ 135 h 135"/>
                  <a:gd name="T20" fmla="*/ 44 w 74"/>
                  <a:gd name="T21" fmla="*/ 135 h 135"/>
                  <a:gd name="T22" fmla="*/ 44 w 74"/>
                  <a:gd name="T23" fmla="*/ 118 h 135"/>
                  <a:gd name="T24" fmla="*/ 74 w 74"/>
                  <a:gd name="T25" fmla="*/ 88 h 135"/>
                  <a:gd name="T26" fmla="*/ 47 w 74"/>
                  <a:gd name="T27" fmla="*/ 57 h 135"/>
                  <a:gd name="T28" fmla="*/ 27 w 74"/>
                  <a:gd name="T29" fmla="*/ 42 h 135"/>
                  <a:gd name="T30" fmla="*/ 41 w 74"/>
                  <a:gd name="T31" fmla="*/ 33 h 135"/>
                  <a:gd name="T32" fmla="*/ 65 w 74"/>
                  <a:gd name="T33" fmla="*/ 39 h 135"/>
                  <a:gd name="T34" fmla="*/ 70 w 74"/>
                  <a:gd name="T35" fmla="*/ 20 h 135"/>
                  <a:gd name="T36" fmla="*/ 46 w 74"/>
                  <a:gd name="T37" fmla="*/ 14 h 135"/>
                  <a:gd name="T38" fmla="*/ 46 w 74"/>
                  <a:gd name="T39" fmla="*/ 0 h 135"/>
                  <a:gd name="T40" fmla="*/ 29 w 74"/>
                  <a:gd name="T41" fmla="*/ 0 h 135"/>
                  <a:gd name="T42" fmla="*/ 29 w 74"/>
                  <a:gd name="T43" fmla="*/ 0 h 135"/>
                  <a:gd name="T44" fmla="*/ 29 w 74"/>
                  <a:gd name="T45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4" h="135">
                    <a:moveTo>
                      <a:pt x="29" y="0"/>
                    </a:moveTo>
                    <a:cubicBezTo>
                      <a:pt x="29" y="16"/>
                      <a:pt x="29" y="16"/>
                      <a:pt x="29" y="16"/>
                    </a:cubicBezTo>
                    <a:cubicBezTo>
                      <a:pt x="11" y="19"/>
                      <a:pt x="1" y="31"/>
                      <a:pt x="1" y="45"/>
                    </a:cubicBezTo>
                    <a:cubicBezTo>
                      <a:pt x="1" y="61"/>
                      <a:pt x="14" y="70"/>
                      <a:pt x="31" y="75"/>
                    </a:cubicBezTo>
                    <a:cubicBezTo>
                      <a:pt x="43" y="80"/>
                      <a:pt x="48" y="83"/>
                      <a:pt x="48" y="90"/>
                    </a:cubicBezTo>
                    <a:cubicBezTo>
                      <a:pt x="48" y="96"/>
                      <a:pt x="42" y="100"/>
                      <a:pt x="32" y="100"/>
                    </a:cubicBezTo>
                    <a:cubicBezTo>
                      <a:pt x="22" y="100"/>
                      <a:pt x="12" y="96"/>
                      <a:pt x="5" y="93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6" y="115"/>
                      <a:pt x="17" y="118"/>
                      <a:pt x="28" y="119"/>
                    </a:cubicBezTo>
                    <a:cubicBezTo>
                      <a:pt x="28" y="135"/>
                      <a:pt x="28" y="135"/>
                      <a:pt x="28" y="135"/>
                    </a:cubicBezTo>
                    <a:cubicBezTo>
                      <a:pt x="44" y="135"/>
                      <a:pt x="44" y="135"/>
                      <a:pt x="44" y="135"/>
                    </a:cubicBezTo>
                    <a:cubicBezTo>
                      <a:pt x="44" y="118"/>
                      <a:pt x="44" y="118"/>
                      <a:pt x="44" y="118"/>
                    </a:cubicBezTo>
                    <a:cubicBezTo>
                      <a:pt x="63" y="114"/>
                      <a:pt x="74" y="102"/>
                      <a:pt x="74" y="88"/>
                    </a:cubicBezTo>
                    <a:cubicBezTo>
                      <a:pt x="74" y="73"/>
                      <a:pt x="66" y="64"/>
                      <a:pt x="47" y="57"/>
                    </a:cubicBezTo>
                    <a:cubicBezTo>
                      <a:pt x="32" y="52"/>
                      <a:pt x="27" y="48"/>
                      <a:pt x="27" y="42"/>
                    </a:cubicBezTo>
                    <a:cubicBezTo>
                      <a:pt x="27" y="38"/>
                      <a:pt x="30" y="33"/>
                      <a:pt x="41" y="33"/>
                    </a:cubicBezTo>
                    <a:cubicBezTo>
                      <a:pt x="53" y="33"/>
                      <a:pt x="60" y="37"/>
                      <a:pt x="65" y="39"/>
                    </a:cubicBezTo>
                    <a:cubicBezTo>
                      <a:pt x="70" y="20"/>
                      <a:pt x="70" y="20"/>
                      <a:pt x="70" y="20"/>
                    </a:cubicBezTo>
                    <a:cubicBezTo>
                      <a:pt x="64" y="17"/>
                      <a:pt x="57" y="15"/>
                      <a:pt x="46" y="14"/>
                    </a:cubicBezTo>
                    <a:cubicBezTo>
                      <a:pt x="46" y="0"/>
                      <a:pt x="46" y="0"/>
                      <a:pt x="46" y="0"/>
                    </a:cubicBezTo>
                    <a:lnTo>
                      <a:pt x="29" y="0"/>
                    </a:lnTo>
                    <a:close/>
                    <a:moveTo>
                      <a:pt x="29" y="0"/>
                    </a:moveTo>
                    <a:cubicBezTo>
                      <a:pt x="29" y="0"/>
                      <a:pt x="29" y="0"/>
                      <a:pt x="29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</p:grpSp>
        <p:grpSp>
          <p:nvGrpSpPr>
            <p:cNvPr id="41998" name="Group 41997"/>
            <p:cNvGrpSpPr/>
            <p:nvPr/>
          </p:nvGrpSpPr>
          <p:grpSpPr>
            <a:xfrm>
              <a:off x="5311372" y="4660640"/>
              <a:ext cx="624178" cy="624927"/>
              <a:chOff x="9558338" y="5337175"/>
              <a:chExt cx="1323975" cy="1325563"/>
            </a:xfrm>
            <a:solidFill>
              <a:schemeClr val="bg1">
                <a:alpha val="50000"/>
              </a:schemeClr>
            </a:solidFill>
          </p:grpSpPr>
          <p:sp>
            <p:nvSpPr>
              <p:cNvPr id="60" name="Freeform 64"/>
              <p:cNvSpPr>
                <a:spLocks noEditPoints="1"/>
              </p:cNvSpPr>
              <p:nvPr/>
            </p:nvSpPr>
            <p:spPr bwMode="auto">
              <a:xfrm>
                <a:off x="9937751" y="5389563"/>
                <a:ext cx="669925" cy="512763"/>
              </a:xfrm>
              <a:custGeom>
                <a:avLst/>
                <a:gdLst>
                  <a:gd name="T0" fmla="*/ 13 w 51"/>
                  <a:gd name="T1" fmla="*/ 39 h 39"/>
                  <a:gd name="T2" fmla="*/ 28 w 51"/>
                  <a:gd name="T3" fmla="*/ 39 h 39"/>
                  <a:gd name="T4" fmla="*/ 33 w 51"/>
                  <a:gd name="T5" fmla="*/ 28 h 39"/>
                  <a:gd name="T6" fmla="*/ 34 w 51"/>
                  <a:gd name="T7" fmla="*/ 28 h 39"/>
                  <a:gd name="T8" fmla="*/ 43 w 51"/>
                  <a:gd name="T9" fmla="*/ 25 h 39"/>
                  <a:gd name="T10" fmla="*/ 44 w 51"/>
                  <a:gd name="T11" fmla="*/ 24 h 39"/>
                  <a:gd name="T12" fmla="*/ 51 w 51"/>
                  <a:gd name="T13" fmla="*/ 5 h 39"/>
                  <a:gd name="T14" fmla="*/ 47 w 51"/>
                  <a:gd name="T15" fmla="*/ 0 h 39"/>
                  <a:gd name="T16" fmla="*/ 42 w 51"/>
                  <a:gd name="T17" fmla="*/ 4 h 39"/>
                  <a:gd name="T18" fmla="*/ 37 w 51"/>
                  <a:gd name="T19" fmla="*/ 18 h 39"/>
                  <a:gd name="T20" fmla="*/ 35 w 51"/>
                  <a:gd name="T21" fmla="*/ 19 h 39"/>
                  <a:gd name="T22" fmla="*/ 35 w 51"/>
                  <a:gd name="T23" fmla="*/ 19 h 39"/>
                  <a:gd name="T24" fmla="*/ 29 w 51"/>
                  <a:gd name="T25" fmla="*/ 17 h 39"/>
                  <a:gd name="T26" fmla="*/ 7 w 51"/>
                  <a:gd name="T27" fmla="*/ 17 h 39"/>
                  <a:gd name="T28" fmla="*/ 0 w 51"/>
                  <a:gd name="T29" fmla="*/ 25 h 39"/>
                  <a:gd name="T30" fmla="*/ 13 w 51"/>
                  <a:gd name="T31" fmla="*/ 39 h 39"/>
                  <a:gd name="T32" fmla="*/ 13 w 51"/>
                  <a:gd name="T33" fmla="*/ 39 h 39"/>
                  <a:gd name="T34" fmla="*/ 13 w 51"/>
                  <a:gd name="T3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1" h="39">
                    <a:moveTo>
                      <a:pt x="13" y="39"/>
                    </a:moveTo>
                    <a:cubicBezTo>
                      <a:pt x="28" y="39"/>
                      <a:pt x="28" y="39"/>
                      <a:pt x="28" y="39"/>
                    </a:cubicBezTo>
                    <a:cubicBezTo>
                      <a:pt x="28" y="35"/>
                      <a:pt x="30" y="31"/>
                      <a:pt x="33" y="28"/>
                    </a:cubicBezTo>
                    <a:cubicBezTo>
                      <a:pt x="34" y="28"/>
                      <a:pt x="34" y="28"/>
                      <a:pt x="34" y="28"/>
                    </a:cubicBezTo>
                    <a:cubicBezTo>
                      <a:pt x="36" y="28"/>
                      <a:pt x="39" y="28"/>
                      <a:pt x="43" y="25"/>
                    </a:cubicBezTo>
                    <a:cubicBezTo>
                      <a:pt x="43" y="25"/>
                      <a:pt x="43" y="25"/>
                      <a:pt x="44" y="24"/>
                    </a:cubicBezTo>
                    <a:cubicBezTo>
                      <a:pt x="48" y="20"/>
                      <a:pt x="51" y="14"/>
                      <a:pt x="51" y="5"/>
                    </a:cubicBezTo>
                    <a:cubicBezTo>
                      <a:pt x="51" y="2"/>
                      <a:pt x="49" y="0"/>
                      <a:pt x="47" y="0"/>
                    </a:cubicBezTo>
                    <a:cubicBezTo>
                      <a:pt x="44" y="0"/>
                      <a:pt x="42" y="2"/>
                      <a:pt x="42" y="4"/>
                    </a:cubicBezTo>
                    <a:cubicBezTo>
                      <a:pt x="42" y="11"/>
                      <a:pt x="40" y="16"/>
                      <a:pt x="37" y="18"/>
                    </a:cubicBezTo>
                    <a:cubicBezTo>
                      <a:pt x="37" y="19"/>
                      <a:pt x="36" y="19"/>
                      <a:pt x="35" y="19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33" y="17"/>
                      <a:pt x="31" y="17"/>
                      <a:pt x="29" y="17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3" y="17"/>
                      <a:pt x="0" y="21"/>
                      <a:pt x="0" y="25"/>
                    </a:cubicBezTo>
                    <a:cubicBezTo>
                      <a:pt x="7" y="27"/>
                      <a:pt x="12" y="32"/>
                      <a:pt x="13" y="39"/>
                    </a:cubicBezTo>
                    <a:close/>
                    <a:moveTo>
                      <a:pt x="13" y="39"/>
                    </a:moveTo>
                    <a:cubicBezTo>
                      <a:pt x="13" y="39"/>
                      <a:pt x="13" y="39"/>
                      <a:pt x="13" y="3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61" name="Freeform 65"/>
              <p:cNvSpPr>
                <a:spLocks noEditPoints="1"/>
              </p:cNvSpPr>
              <p:nvPr/>
            </p:nvSpPr>
            <p:spPr bwMode="auto">
              <a:xfrm>
                <a:off x="10042526" y="5337175"/>
                <a:ext cx="276225" cy="261938"/>
              </a:xfrm>
              <a:custGeom>
                <a:avLst/>
                <a:gdLst>
                  <a:gd name="T0" fmla="*/ 21 w 21"/>
                  <a:gd name="T1" fmla="*/ 10 h 20"/>
                  <a:gd name="T2" fmla="*/ 10 w 21"/>
                  <a:gd name="T3" fmla="*/ 20 h 20"/>
                  <a:gd name="T4" fmla="*/ 0 w 21"/>
                  <a:gd name="T5" fmla="*/ 10 h 20"/>
                  <a:gd name="T6" fmla="*/ 10 w 21"/>
                  <a:gd name="T7" fmla="*/ 0 h 20"/>
                  <a:gd name="T8" fmla="*/ 21 w 21"/>
                  <a:gd name="T9" fmla="*/ 10 h 20"/>
                  <a:gd name="T10" fmla="*/ 21 w 21"/>
                  <a:gd name="T11" fmla="*/ 10 h 20"/>
                  <a:gd name="T12" fmla="*/ 21 w 21"/>
                  <a:gd name="T13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0">
                    <a:moveTo>
                      <a:pt x="21" y="10"/>
                    </a:moveTo>
                    <a:cubicBezTo>
                      <a:pt x="21" y="16"/>
                      <a:pt x="16" y="20"/>
                      <a:pt x="10" y="20"/>
                    </a:cubicBezTo>
                    <a:cubicBezTo>
                      <a:pt x="4" y="20"/>
                      <a:pt x="0" y="16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6" y="0"/>
                      <a:pt x="21" y="5"/>
                      <a:pt x="21" y="10"/>
                    </a:cubicBezTo>
                    <a:close/>
                    <a:moveTo>
                      <a:pt x="21" y="10"/>
                    </a:moveTo>
                    <a:cubicBezTo>
                      <a:pt x="21" y="10"/>
                      <a:pt x="21" y="10"/>
                      <a:pt x="21" y="1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62" name="Freeform 66"/>
              <p:cNvSpPr>
                <a:spLocks noEditPoints="1"/>
              </p:cNvSpPr>
              <p:nvPr/>
            </p:nvSpPr>
            <p:spPr bwMode="auto">
              <a:xfrm>
                <a:off x="9596438" y="5783263"/>
                <a:ext cx="565150" cy="657225"/>
              </a:xfrm>
              <a:custGeom>
                <a:avLst/>
                <a:gdLst>
                  <a:gd name="T0" fmla="*/ 43 w 43"/>
                  <a:gd name="T1" fmla="*/ 35 h 50"/>
                  <a:gd name="T2" fmla="*/ 35 w 43"/>
                  <a:gd name="T3" fmla="*/ 24 h 50"/>
                  <a:gd name="T4" fmla="*/ 24 w 43"/>
                  <a:gd name="T5" fmla="*/ 24 h 50"/>
                  <a:gd name="T6" fmla="*/ 34 w 43"/>
                  <a:gd name="T7" fmla="*/ 12 h 50"/>
                  <a:gd name="T8" fmla="*/ 22 w 43"/>
                  <a:gd name="T9" fmla="*/ 0 h 50"/>
                  <a:gd name="T10" fmla="*/ 10 w 43"/>
                  <a:gd name="T11" fmla="*/ 12 h 50"/>
                  <a:gd name="T12" fmla="*/ 20 w 43"/>
                  <a:gd name="T13" fmla="*/ 24 h 50"/>
                  <a:gd name="T14" fmla="*/ 9 w 43"/>
                  <a:gd name="T15" fmla="*/ 24 h 50"/>
                  <a:gd name="T16" fmla="*/ 0 w 43"/>
                  <a:gd name="T17" fmla="*/ 34 h 50"/>
                  <a:gd name="T18" fmla="*/ 0 w 43"/>
                  <a:gd name="T19" fmla="*/ 50 h 50"/>
                  <a:gd name="T20" fmla="*/ 43 w 43"/>
                  <a:gd name="T21" fmla="*/ 50 h 50"/>
                  <a:gd name="T22" fmla="*/ 43 w 43"/>
                  <a:gd name="T23" fmla="*/ 35 h 50"/>
                  <a:gd name="T24" fmla="*/ 43 w 43"/>
                  <a:gd name="T25" fmla="*/ 35 h 50"/>
                  <a:gd name="T26" fmla="*/ 43 w 43"/>
                  <a:gd name="T27" fmla="*/ 3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3" h="50">
                    <a:moveTo>
                      <a:pt x="43" y="35"/>
                    </a:moveTo>
                    <a:cubicBezTo>
                      <a:pt x="43" y="27"/>
                      <a:pt x="39" y="24"/>
                      <a:pt x="35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30" y="23"/>
                      <a:pt x="34" y="18"/>
                      <a:pt x="34" y="12"/>
                    </a:cubicBezTo>
                    <a:cubicBezTo>
                      <a:pt x="34" y="5"/>
                      <a:pt x="29" y="0"/>
                      <a:pt x="22" y="0"/>
                    </a:cubicBezTo>
                    <a:cubicBezTo>
                      <a:pt x="15" y="0"/>
                      <a:pt x="10" y="5"/>
                      <a:pt x="10" y="12"/>
                    </a:cubicBezTo>
                    <a:cubicBezTo>
                      <a:pt x="10" y="18"/>
                      <a:pt x="14" y="23"/>
                      <a:pt x="20" y="24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4" y="24"/>
                      <a:pt x="0" y="29"/>
                      <a:pt x="0" y="3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43" y="50"/>
                      <a:pt x="43" y="50"/>
                      <a:pt x="43" y="50"/>
                    </a:cubicBezTo>
                    <a:lnTo>
                      <a:pt x="43" y="35"/>
                    </a:lnTo>
                    <a:close/>
                    <a:moveTo>
                      <a:pt x="43" y="35"/>
                    </a:moveTo>
                    <a:cubicBezTo>
                      <a:pt x="43" y="35"/>
                      <a:pt x="43" y="35"/>
                      <a:pt x="43" y="35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63" name="Freeform 67"/>
              <p:cNvSpPr>
                <a:spLocks noEditPoints="1"/>
              </p:cNvSpPr>
              <p:nvPr/>
            </p:nvSpPr>
            <p:spPr bwMode="auto">
              <a:xfrm>
                <a:off x="10239376" y="5783263"/>
                <a:ext cx="550863" cy="657225"/>
              </a:xfrm>
              <a:custGeom>
                <a:avLst/>
                <a:gdLst>
                  <a:gd name="T0" fmla="*/ 9 w 42"/>
                  <a:gd name="T1" fmla="*/ 12 h 50"/>
                  <a:gd name="T2" fmla="*/ 19 w 42"/>
                  <a:gd name="T3" fmla="*/ 24 h 50"/>
                  <a:gd name="T4" fmla="*/ 9 w 42"/>
                  <a:gd name="T5" fmla="*/ 24 h 50"/>
                  <a:gd name="T6" fmla="*/ 0 w 42"/>
                  <a:gd name="T7" fmla="*/ 34 h 50"/>
                  <a:gd name="T8" fmla="*/ 0 w 42"/>
                  <a:gd name="T9" fmla="*/ 50 h 50"/>
                  <a:gd name="T10" fmla="*/ 42 w 42"/>
                  <a:gd name="T11" fmla="*/ 50 h 50"/>
                  <a:gd name="T12" fmla="*/ 42 w 42"/>
                  <a:gd name="T13" fmla="*/ 35 h 50"/>
                  <a:gd name="T14" fmla="*/ 34 w 42"/>
                  <a:gd name="T15" fmla="*/ 24 h 50"/>
                  <a:gd name="T16" fmla="*/ 34 w 42"/>
                  <a:gd name="T17" fmla="*/ 24 h 50"/>
                  <a:gd name="T18" fmla="*/ 23 w 42"/>
                  <a:gd name="T19" fmla="*/ 24 h 50"/>
                  <a:gd name="T20" fmla="*/ 34 w 42"/>
                  <a:gd name="T21" fmla="*/ 12 h 50"/>
                  <a:gd name="T22" fmla="*/ 21 w 42"/>
                  <a:gd name="T23" fmla="*/ 0 h 50"/>
                  <a:gd name="T24" fmla="*/ 9 w 42"/>
                  <a:gd name="T25" fmla="*/ 12 h 50"/>
                  <a:gd name="T26" fmla="*/ 9 w 42"/>
                  <a:gd name="T27" fmla="*/ 12 h 50"/>
                  <a:gd name="T28" fmla="*/ 9 w 42"/>
                  <a:gd name="T29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" h="50">
                    <a:moveTo>
                      <a:pt x="9" y="12"/>
                    </a:moveTo>
                    <a:cubicBezTo>
                      <a:pt x="9" y="18"/>
                      <a:pt x="14" y="23"/>
                      <a:pt x="19" y="24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4" y="24"/>
                      <a:pt x="0" y="29"/>
                      <a:pt x="0" y="34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42" y="50"/>
                      <a:pt x="42" y="50"/>
                      <a:pt x="42" y="50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2" y="27"/>
                      <a:pt x="39" y="24"/>
                      <a:pt x="34" y="24"/>
                    </a:cubicBezTo>
                    <a:cubicBezTo>
                      <a:pt x="34" y="24"/>
                      <a:pt x="34" y="24"/>
                      <a:pt x="34" y="24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9" y="23"/>
                      <a:pt x="34" y="18"/>
                      <a:pt x="34" y="12"/>
                    </a:cubicBezTo>
                    <a:cubicBezTo>
                      <a:pt x="34" y="5"/>
                      <a:pt x="28" y="0"/>
                      <a:pt x="21" y="0"/>
                    </a:cubicBezTo>
                    <a:cubicBezTo>
                      <a:pt x="15" y="0"/>
                      <a:pt x="9" y="5"/>
                      <a:pt x="9" y="12"/>
                    </a:cubicBezTo>
                    <a:close/>
                    <a:moveTo>
                      <a:pt x="9" y="12"/>
                    </a:moveTo>
                    <a:cubicBezTo>
                      <a:pt x="9" y="12"/>
                      <a:pt x="9" y="12"/>
                      <a:pt x="9" y="1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41984" name="Rectangle 68"/>
              <p:cNvSpPr>
                <a:spLocks noChangeArrowheads="1"/>
              </p:cNvSpPr>
              <p:nvPr/>
            </p:nvSpPr>
            <p:spPr bwMode="auto">
              <a:xfrm>
                <a:off x="9558338" y="6530975"/>
                <a:ext cx="1323975" cy="1317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</p:grpSp>
        <p:grpSp>
          <p:nvGrpSpPr>
            <p:cNvPr id="41996" name="Group 41995"/>
            <p:cNvGrpSpPr/>
            <p:nvPr/>
          </p:nvGrpSpPr>
          <p:grpSpPr>
            <a:xfrm>
              <a:off x="2255067" y="2774683"/>
              <a:ext cx="607486" cy="546516"/>
              <a:chOff x="-1927225" y="5114925"/>
              <a:chExt cx="1312863" cy="1181100"/>
            </a:xfrm>
            <a:solidFill>
              <a:schemeClr val="bg1">
                <a:alpha val="50000"/>
              </a:schemeClr>
            </a:solidFill>
          </p:grpSpPr>
          <p:sp>
            <p:nvSpPr>
              <p:cNvPr id="41987" name="Freeform 72"/>
              <p:cNvSpPr>
                <a:spLocks noEditPoints="1"/>
              </p:cNvSpPr>
              <p:nvPr/>
            </p:nvSpPr>
            <p:spPr bwMode="auto">
              <a:xfrm>
                <a:off x="-1927225" y="5114925"/>
                <a:ext cx="1312863" cy="619125"/>
              </a:xfrm>
              <a:custGeom>
                <a:avLst/>
                <a:gdLst>
                  <a:gd name="T0" fmla="*/ 471 w 478"/>
                  <a:gd name="T1" fmla="*/ 197 h 225"/>
                  <a:gd name="T2" fmla="*/ 249 w 478"/>
                  <a:gd name="T3" fmla="*/ 5 h 225"/>
                  <a:gd name="T4" fmla="*/ 229 w 478"/>
                  <a:gd name="T5" fmla="*/ 5 h 225"/>
                  <a:gd name="T6" fmla="*/ 150 w 478"/>
                  <a:gd name="T7" fmla="*/ 73 h 225"/>
                  <a:gd name="T8" fmla="*/ 150 w 478"/>
                  <a:gd name="T9" fmla="*/ 45 h 225"/>
                  <a:gd name="T10" fmla="*/ 121 w 478"/>
                  <a:gd name="T11" fmla="*/ 16 h 225"/>
                  <a:gd name="T12" fmla="*/ 91 w 478"/>
                  <a:gd name="T13" fmla="*/ 45 h 225"/>
                  <a:gd name="T14" fmla="*/ 91 w 478"/>
                  <a:gd name="T15" fmla="*/ 124 h 225"/>
                  <a:gd name="T16" fmla="*/ 7 w 478"/>
                  <a:gd name="T17" fmla="*/ 197 h 225"/>
                  <a:gd name="T18" fmla="*/ 6 w 478"/>
                  <a:gd name="T19" fmla="*/ 218 h 225"/>
                  <a:gd name="T20" fmla="*/ 27 w 478"/>
                  <a:gd name="T21" fmla="*/ 219 h 225"/>
                  <a:gd name="T22" fmla="*/ 239 w 478"/>
                  <a:gd name="T23" fmla="*/ 35 h 225"/>
                  <a:gd name="T24" fmla="*/ 451 w 478"/>
                  <a:gd name="T25" fmla="*/ 219 h 225"/>
                  <a:gd name="T26" fmla="*/ 461 w 478"/>
                  <a:gd name="T27" fmla="*/ 223 h 225"/>
                  <a:gd name="T28" fmla="*/ 472 w 478"/>
                  <a:gd name="T29" fmla="*/ 218 h 225"/>
                  <a:gd name="T30" fmla="*/ 471 w 478"/>
                  <a:gd name="T31" fmla="*/ 197 h 225"/>
                  <a:gd name="T32" fmla="*/ 471 w 478"/>
                  <a:gd name="T33" fmla="*/ 197 h 225"/>
                  <a:gd name="T34" fmla="*/ 471 w 478"/>
                  <a:gd name="T35" fmla="*/ 197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78" h="225">
                    <a:moveTo>
                      <a:pt x="471" y="197"/>
                    </a:moveTo>
                    <a:cubicBezTo>
                      <a:pt x="249" y="5"/>
                      <a:pt x="249" y="5"/>
                      <a:pt x="249" y="5"/>
                    </a:cubicBezTo>
                    <a:cubicBezTo>
                      <a:pt x="243" y="0"/>
                      <a:pt x="235" y="0"/>
                      <a:pt x="229" y="5"/>
                    </a:cubicBezTo>
                    <a:cubicBezTo>
                      <a:pt x="150" y="73"/>
                      <a:pt x="150" y="73"/>
                      <a:pt x="150" y="73"/>
                    </a:cubicBezTo>
                    <a:cubicBezTo>
                      <a:pt x="150" y="45"/>
                      <a:pt x="150" y="45"/>
                      <a:pt x="150" y="45"/>
                    </a:cubicBezTo>
                    <a:cubicBezTo>
                      <a:pt x="150" y="29"/>
                      <a:pt x="137" y="16"/>
                      <a:pt x="121" y="16"/>
                    </a:cubicBezTo>
                    <a:cubicBezTo>
                      <a:pt x="104" y="16"/>
                      <a:pt x="91" y="29"/>
                      <a:pt x="91" y="45"/>
                    </a:cubicBezTo>
                    <a:cubicBezTo>
                      <a:pt x="91" y="124"/>
                      <a:pt x="91" y="124"/>
                      <a:pt x="91" y="124"/>
                    </a:cubicBezTo>
                    <a:cubicBezTo>
                      <a:pt x="7" y="197"/>
                      <a:pt x="7" y="197"/>
                      <a:pt x="7" y="197"/>
                    </a:cubicBezTo>
                    <a:cubicBezTo>
                      <a:pt x="1" y="202"/>
                      <a:pt x="0" y="212"/>
                      <a:pt x="6" y="218"/>
                    </a:cubicBezTo>
                    <a:cubicBezTo>
                      <a:pt x="11" y="224"/>
                      <a:pt x="21" y="225"/>
                      <a:pt x="27" y="219"/>
                    </a:cubicBezTo>
                    <a:cubicBezTo>
                      <a:pt x="239" y="35"/>
                      <a:pt x="239" y="35"/>
                      <a:pt x="239" y="35"/>
                    </a:cubicBezTo>
                    <a:cubicBezTo>
                      <a:pt x="451" y="219"/>
                      <a:pt x="451" y="219"/>
                      <a:pt x="451" y="219"/>
                    </a:cubicBezTo>
                    <a:cubicBezTo>
                      <a:pt x="454" y="222"/>
                      <a:pt x="457" y="223"/>
                      <a:pt x="461" y="223"/>
                    </a:cubicBezTo>
                    <a:cubicBezTo>
                      <a:pt x="465" y="223"/>
                      <a:pt x="469" y="221"/>
                      <a:pt x="472" y="218"/>
                    </a:cubicBezTo>
                    <a:cubicBezTo>
                      <a:pt x="478" y="212"/>
                      <a:pt x="477" y="202"/>
                      <a:pt x="471" y="197"/>
                    </a:cubicBezTo>
                    <a:close/>
                    <a:moveTo>
                      <a:pt x="471" y="197"/>
                    </a:moveTo>
                    <a:cubicBezTo>
                      <a:pt x="471" y="197"/>
                      <a:pt x="471" y="197"/>
                      <a:pt x="471" y="19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u="sng" dirty="0"/>
              </a:p>
            </p:txBody>
          </p:sp>
          <p:sp>
            <p:nvSpPr>
              <p:cNvPr id="41988" name="Freeform 73"/>
              <p:cNvSpPr>
                <a:spLocks noEditPoints="1"/>
              </p:cNvSpPr>
              <p:nvPr/>
            </p:nvSpPr>
            <p:spPr bwMode="auto">
              <a:xfrm>
                <a:off x="-1758950" y="5403850"/>
                <a:ext cx="976313" cy="892175"/>
              </a:xfrm>
              <a:custGeom>
                <a:avLst/>
                <a:gdLst>
                  <a:gd name="T0" fmla="*/ 197 w 356"/>
                  <a:gd name="T1" fmla="*/ 6 h 325"/>
                  <a:gd name="T2" fmla="*/ 178 w 356"/>
                  <a:gd name="T3" fmla="*/ 0 h 325"/>
                  <a:gd name="T4" fmla="*/ 159 w 356"/>
                  <a:gd name="T5" fmla="*/ 6 h 325"/>
                  <a:gd name="T6" fmla="*/ 11 w 356"/>
                  <a:gd name="T7" fmla="*/ 128 h 325"/>
                  <a:gd name="T8" fmla="*/ 0 w 356"/>
                  <a:gd name="T9" fmla="*/ 151 h 325"/>
                  <a:gd name="T10" fmla="*/ 0 w 356"/>
                  <a:gd name="T11" fmla="*/ 296 h 325"/>
                  <a:gd name="T12" fmla="*/ 30 w 356"/>
                  <a:gd name="T13" fmla="*/ 325 h 325"/>
                  <a:gd name="T14" fmla="*/ 119 w 356"/>
                  <a:gd name="T15" fmla="*/ 325 h 325"/>
                  <a:gd name="T16" fmla="*/ 119 w 356"/>
                  <a:gd name="T17" fmla="*/ 177 h 325"/>
                  <a:gd name="T18" fmla="*/ 237 w 356"/>
                  <a:gd name="T19" fmla="*/ 177 h 325"/>
                  <a:gd name="T20" fmla="*/ 237 w 356"/>
                  <a:gd name="T21" fmla="*/ 325 h 325"/>
                  <a:gd name="T22" fmla="*/ 326 w 356"/>
                  <a:gd name="T23" fmla="*/ 325 h 325"/>
                  <a:gd name="T24" fmla="*/ 356 w 356"/>
                  <a:gd name="T25" fmla="*/ 296 h 325"/>
                  <a:gd name="T26" fmla="*/ 356 w 356"/>
                  <a:gd name="T27" fmla="*/ 151 h 325"/>
                  <a:gd name="T28" fmla="*/ 345 w 356"/>
                  <a:gd name="T29" fmla="*/ 128 h 325"/>
                  <a:gd name="T30" fmla="*/ 197 w 356"/>
                  <a:gd name="T31" fmla="*/ 6 h 325"/>
                  <a:gd name="T32" fmla="*/ 197 w 356"/>
                  <a:gd name="T33" fmla="*/ 6 h 325"/>
                  <a:gd name="T34" fmla="*/ 197 w 356"/>
                  <a:gd name="T35" fmla="*/ 6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6" h="325">
                    <a:moveTo>
                      <a:pt x="197" y="6"/>
                    </a:moveTo>
                    <a:cubicBezTo>
                      <a:pt x="191" y="2"/>
                      <a:pt x="185" y="0"/>
                      <a:pt x="178" y="0"/>
                    </a:cubicBezTo>
                    <a:cubicBezTo>
                      <a:pt x="171" y="0"/>
                      <a:pt x="165" y="2"/>
                      <a:pt x="159" y="6"/>
                    </a:cubicBezTo>
                    <a:cubicBezTo>
                      <a:pt x="11" y="128"/>
                      <a:pt x="11" y="128"/>
                      <a:pt x="11" y="128"/>
                    </a:cubicBezTo>
                    <a:cubicBezTo>
                      <a:pt x="4" y="133"/>
                      <a:pt x="0" y="142"/>
                      <a:pt x="0" y="151"/>
                    </a:cubicBezTo>
                    <a:cubicBezTo>
                      <a:pt x="0" y="296"/>
                      <a:pt x="0" y="296"/>
                      <a:pt x="0" y="296"/>
                    </a:cubicBezTo>
                    <a:cubicBezTo>
                      <a:pt x="0" y="312"/>
                      <a:pt x="14" y="325"/>
                      <a:pt x="30" y="325"/>
                    </a:cubicBezTo>
                    <a:cubicBezTo>
                      <a:pt x="119" y="325"/>
                      <a:pt x="119" y="325"/>
                      <a:pt x="119" y="325"/>
                    </a:cubicBezTo>
                    <a:cubicBezTo>
                      <a:pt x="119" y="177"/>
                      <a:pt x="119" y="177"/>
                      <a:pt x="119" y="177"/>
                    </a:cubicBezTo>
                    <a:cubicBezTo>
                      <a:pt x="237" y="177"/>
                      <a:pt x="237" y="177"/>
                      <a:pt x="237" y="177"/>
                    </a:cubicBezTo>
                    <a:cubicBezTo>
                      <a:pt x="237" y="325"/>
                      <a:pt x="237" y="325"/>
                      <a:pt x="237" y="325"/>
                    </a:cubicBezTo>
                    <a:cubicBezTo>
                      <a:pt x="326" y="325"/>
                      <a:pt x="326" y="325"/>
                      <a:pt x="326" y="325"/>
                    </a:cubicBezTo>
                    <a:cubicBezTo>
                      <a:pt x="342" y="325"/>
                      <a:pt x="356" y="312"/>
                      <a:pt x="356" y="296"/>
                    </a:cubicBezTo>
                    <a:cubicBezTo>
                      <a:pt x="356" y="151"/>
                      <a:pt x="356" y="151"/>
                      <a:pt x="356" y="151"/>
                    </a:cubicBezTo>
                    <a:cubicBezTo>
                      <a:pt x="356" y="142"/>
                      <a:pt x="352" y="133"/>
                      <a:pt x="345" y="128"/>
                    </a:cubicBezTo>
                    <a:lnTo>
                      <a:pt x="197" y="6"/>
                    </a:lnTo>
                    <a:close/>
                    <a:moveTo>
                      <a:pt x="197" y="6"/>
                    </a:moveTo>
                    <a:cubicBezTo>
                      <a:pt x="197" y="6"/>
                      <a:pt x="197" y="6"/>
                      <a:pt x="197" y="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u="sng" dirty="0"/>
              </a:p>
            </p:txBody>
          </p:sp>
        </p:grpSp>
        <p:grpSp>
          <p:nvGrpSpPr>
            <p:cNvPr id="41995" name="Group 41994"/>
            <p:cNvGrpSpPr/>
            <p:nvPr/>
          </p:nvGrpSpPr>
          <p:grpSpPr>
            <a:xfrm>
              <a:off x="3089539" y="4874537"/>
              <a:ext cx="702723" cy="693012"/>
              <a:chOff x="-2286000" y="2171700"/>
              <a:chExt cx="1608137" cy="1585913"/>
            </a:xfrm>
            <a:solidFill>
              <a:schemeClr val="bg1">
                <a:alpha val="50000"/>
              </a:schemeClr>
            </a:solidFill>
          </p:grpSpPr>
          <p:sp>
            <p:nvSpPr>
              <p:cNvPr id="41991" name="Freeform 77"/>
              <p:cNvSpPr>
                <a:spLocks noEditPoints="1"/>
              </p:cNvSpPr>
              <p:nvPr/>
            </p:nvSpPr>
            <p:spPr bwMode="auto">
              <a:xfrm>
                <a:off x="-2286000" y="3059113"/>
                <a:ext cx="1552575" cy="698500"/>
              </a:xfrm>
              <a:custGeom>
                <a:avLst/>
                <a:gdLst>
                  <a:gd name="T0" fmla="*/ 1071 w 1154"/>
                  <a:gd name="T1" fmla="*/ 74 h 519"/>
                  <a:gd name="T2" fmla="*/ 828 w 1154"/>
                  <a:gd name="T3" fmla="*/ 185 h 519"/>
                  <a:gd name="T4" fmla="*/ 558 w 1154"/>
                  <a:gd name="T5" fmla="*/ 195 h 519"/>
                  <a:gd name="T6" fmla="*/ 707 w 1154"/>
                  <a:gd name="T7" fmla="*/ 149 h 519"/>
                  <a:gd name="T8" fmla="*/ 756 w 1154"/>
                  <a:gd name="T9" fmla="*/ 0 h 519"/>
                  <a:gd name="T10" fmla="*/ 507 w 1154"/>
                  <a:gd name="T11" fmla="*/ 37 h 519"/>
                  <a:gd name="T12" fmla="*/ 219 w 1154"/>
                  <a:gd name="T13" fmla="*/ 69 h 519"/>
                  <a:gd name="T14" fmla="*/ 0 w 1154"/>
                  <a:gd name="T15" fmla="*/ 317 h 519"/>
                  <a:gd name="T16" fmla="*/ 209 w 1154"/>
                  <a:gd name="T17" fmla="*/ 519 h 519"/>
                  <a:gd name="T18" fmla="*/ 401 w 1154"/>
                  <a:gd name="T19" fmla="*/ 392 h 519"/>
                  <a:gd name="T20" fmla="*/ 684 w 1154"/>
                  <a:gd name="T21" fmla="*/ 383 h 519"/>
                  <a:gd name="T22" fmla="*/ 785 w 1154"/>
                  <a:gd name="T23" fmla="*/ 367 h 519"/>
                  <a:gd name="T24" fmla="*/ 1146 w 1154"/>
                  <a:gd name="T25" fmla="*/ 134 h 519"/>
                  <a:gd name="T26" fmla="*/ 1071 w 1154"/>
                  <a:gd name="T27" fmla="*/ 74 h 519"/>
                  <a:gd name="T28" fmla="*/ 1071 w 1154"/>
                  <a:gd name="T29" fmla="*/ 74 h 519"/>
                  <a:gd name="T30" fmla="*/ 1071 w 1154"/>
                  <a:gd name="T31" fmla="*/ 74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54" h="519">
                    <a:moveTo>
                      <a:pt x="1071" y="74"/>
                    </a:moveTo>
                    <a:cubicBezTo>
                      <a:pt x="1003" y="79"/>
                      <a:pt x="914" y="146"/>
                      <a:pt x="828" y="185"/>
                    </a:cubicBezTo>
                    <a:cubicBezTo>
                      <a:pt x="722" y="233"/>
                      <a:pt x="558" y="195"/>
                      <a:pt x="558" y="195"/>
                    </a:cubicBezTo>
                    <a:cubicBezTo>
                      <a:pt x="584" y="183"/>
                      <a:pt x="686" y="158"/>
                      <a:pt x="707" y="149"/>
                    </a:cubicBezTo>
                    <a:cubicBezTo>
                      <a:pt x="817" y="101"/>
                      <a:pt x="808" y="0"/>
                      <a:pt x="756" y="0"/>
                    </a:cubicBezTo>
                    <a:cubicBezTo>
                      <a:pt x="686" y="2"/>
                      <a:pt x="646" y="19"/>
                      <a:pt x="507" y="37"/>
                    </a:cubicBezTo>
                    <a:cubicBezTo>
                      <a:pt x="402" y="52"/>
                      <a:pt x="279" y="47"/>
                      <a:pt x="219" y="69"/>
                    </a:cubicBezTo>
                    <a:cubicBezTo>
                      <a:pt x="135" y="101"/>
                      <a:pt x="0" y="317"/>
                      <a:pt x="0" y="317"/>
                    </a:cubicBezTo>
                    <a:cubicBezTo>
                      <a:pt x="209" y="519"/>
                      <a:pt x="209" y="519"/>
                      <a:pt x="209" y="519"/>
                    </a:cubicBezTo>
                    <a:cubicBezTo>
                      <a:pt x="209" y="519"/>
                      <a:pt x="338" y="392"/>
                      <a:pt x="401" y="392"/>
                    </a:cubicBezTo>
                    <a:cubicBezTo>
                      <a:pt x="545" y="392"/>
                      <a:pt x="551" y="390"/>
                      <a:pt x="684" y="383"/>
                    </a:cubicBezTo>
                    <a:cubicBezTo>
                      <a:pt x="740" y="380"/>
                      <a:pt x="752" y="377"/>
                      <a:pt x="785" y="367"/>
                    </a:cubicBezTo>
                    <a:cubicBezTo>
                      <a:pt x="957" y="308"/>
                      <a:pt x="1143" y="153"/>
                      <a:pt x="1146" y="134"/>
                    </a:cubicBezTo>
                    <a:cubicBezTo>
                      <a:pt x="1154" y="91"/>
                      <a:pt x="1107" y="72"/>
                      <a:pt x="1071" y="74"/>
                    </a:cubicBezTo>
                    <a:close/>
                    <a:moveTo>
                      <a:pt x="1071" y="74"/>
                    </a:moveTo>
                    <a:cubicBezTo>
                      <a:pt x="1071" y="74"/>
                      <a:pt x="1071" y="74"/>
                      <a:pt x="1071" y="7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41992" name="Freeform 78"/>
              <p:cNvSpPr>
                <a:spLocks noEditPoints="1"/>
              </p:cNvSpPr>
              <p:nvPr/>
            </p:nvSpPr>
            <p:spPr bwMode="auto">
              <a:xfrm>
                <a:off x="-1255713" y="2211388"/>
                <a:ext cx="577850" cy="569913"/>
              </a:xfrm>
              <a:custGeom>
                <a:avLst/>
                <a:gdLst>
                  <a:gd name="T0" fmla="*/ 16 w 429"/>
                  <a:gd name="T1" fmla="*/ 392 h 424"/>
                  <a:gd name="T2" fmla="*/ 25 w 429"/>
                  <a:gd name="T3" fmla="*/ 388 h 424"/>
                  <a:gd name="T4" fmla="*/ 241 w 429"/>
                  <a:gd name="T5" fmla="*/ 153 h 424"/>
                  <a:gd name="T6" fmla="*/ 52 w 429"/>
                  <a:gd name="T7" fmla="*/ 411 h 424"/>
                  <a:gd name="T8" fmla="*/ 53 w 429"/>
                  <a:gd name="T9" fmla="*/ 419 h 424"/>
                  <a:gd name="T10" fmla="*/ 59 w 429"/>
                  <a:gd name="T11" fmla="*/ 423 h 424"/>
                  <a:gd name="T12" fmla="*/ 78 w 429"/>
                  <a:gd name="T13" fmla="*/ 424 h 424"/>
                  <a:gd name="T14" fmla="*/ 239 w 429"/>
                  <a:gd name="T15" fmla="*/ 357 h 424"/>
                  <a:gd name="T16" fmla="*/ 355 w 429"/>
                  <a:gd name="T17" fmla="*/ 232 h 424"/>
                  <a:gd name="T18" fmla="*/ 429 w 429"/>
                  <a:gd name="T19" fmla="*/ 10 h 424"/>
                  <a:gd name="T20" fmla="*/ 426 w 429"/>
                  <a:gd name="T21" fmla="*/ 3 h 424"/>
                  <a:gd name="T22" fmla="*/ 419 w 429"/>
                  <a:gd name="T23" fmla="*/ 0 h 424"/>
                  <a:gd name="T24" fmla="*/ 122 w 429"/>
                  <a:gd name="T25" fmla="*/ 111 h 424"/>
                  <a:gd name="T26" fmla="*/ 57 w 429"/>
                  <a:gd name="T27" fmla="*/ 190 h 424"/>
                  <a:gd name="T28" fmla="*/ 9 w 429"/>
                  <a:gd name="T29" fmla="*/ 385 h 424"/>
                  <a:gd name="T30" fmla="*/ 16 w 429"/>
                  <a:gd name="T31" fmla="*/ 392 h 424"/>
                  <a:gd name="T32" fmla="*/ 16 w 429"/>
                  <a:gd name="T33" fmla="*/ 392 h 424"/>
                  <a:gd name="T34" fmla="*/ 16 w 429"/>
                  <a:gd name="T35" fmla="*/ 392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29" h="424">
                    <a:moveTo>
                      <a:pt x="16" y="392"/>
                    </a:moveTo>
                    <a:cubicBezTo>
                      <a:pt x="20" y="393"/>
                      <a:pt x="24" y="391"/>
                      <a:pt x="25" y="388"/>
                    </a:cubicBezTo>
                    <a:cubicBezTo>
                      <a:pt x="73" y="311"/>
                      <a:pt x="146" y="217"/>
                      <a:pt x="241" y="153"/>
                    </a:cubicBezTo>
                    <a:cubicBezTo>
                      <a:pt x="152" y="238"/>
                      <a:pt x="90" y="327"/>
                      <a:pt x="52" y="411"/>
                    </a:cubicBezTo>
                    <a:cubicBezTo>
                      <a:pt x="51" y="413"/>
                      <a:pt x="51" y="416"/>
                      <a:pt x="53" y="419"/>
                    </a:cubicBezTo>
                    <a:cubicBezTo>
                      <a:pt x="54" y="421"/>
                      <a:pt x="57" y="423"/>
                      <a:pt x="59" y="423"/>
                    </a:cubicBezTo>
                    <a:cubicBezTo>
                      <a:pt x="65" y="424"/>
                      <a:pt x="72" y="424"/>
                      <a:pt x="78" y="424"/>
                    </a:cubicBezTo>
                    <a:cubicBezTo>
                      <a:pt x="139" y="424"/>
                      <a:pt x="199" y="388"/>
                      <a:pt x="239" y="357"/>
                    </a:cubicBezTo>
                    <a:cubicBezTo>
                      <a:pt x="284" y="322"/>
                      <a:pt x="328" y="275"/>
                      <a:pt x="355" y="232"/>
                    </a:cubicBezTo>
                    <a:cubicBezTo>
                      <a:pt x="397" y="168"/>
                      <a:pt x="423" y="89"/>
                      <a:pt x="429" y="10"/>
                    </a:cubicBezTo>
                    <a:cubicBezTo>
                      <a:pt x="429" y="7"/>
                      <a:pt x="428" y="5"/>
                      <a:pt x="426" y="3"/>
                    </a:cubicBezTo>
                    <a:cubicBezTo>
                      <a:pt x="424" y="1"/>
                      <a:pt x="422" y="0"/>
                      <a:pt x="419" y="0"/>
                    </a:cubicBezTo>
                    <a:cubicBezTo>
                      <a:pt x="359" y="4"/>
                      <a:pt x="210" y="24"/>
                      <a:pt x="122" y="111"/>
                    </a:cubicBezTo>
                    <a:cubicBezTo>
                      <a:pt x="119" y="114"/>
                      <a:pt x="87" y="143"/>
                      <a:pt x="57" y="190"/>
                    </a:cubicBezTo>
                    <a:cubicBezTo>
                      <a:pt x="16" y="255"/>
                      <a:pt x="0" y="322"/>
                      <a:pt x="9" y="385"/>
                    </a:cubicBezTo>
                    <a:cubicBezTo>
                      <a:pt x="10" y="388"/>
                      <a:pt x="13" y="391"/>
                      <a:pt x="16" y="392"/>
                    </a:cubicBezTo>
                    <a:close/>
                    <a:moveTo>
                      <a:pt x="16" y="392"/>
                    </a:moveTo>
                    <a:cubicBezTo>
                      <a:pt x="16" y="392"/>
                      <a:pt x="16" y="392"/>
                      <a:pt x="16" y="39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41993" name="Freeform 79"/>
              <p:cNvSpPr>
                <a:spLocks noEditPoints="1"/>
              </p:cNvSpPr>
              <p:nvPr/>
            </p:nvSpPr>
            <p:spPr bwMode="auto">
              <a:xfrm>
                <a:off x="-1798638" y="2405063"/>
                <a:ext cx="549275" cy="544513"/>
              </a:xfrm>
              <a:custGeom>
                <a:avLst/>
                <a:gdLst>
                  <a:gd name="T0" fmla="*/ 182 w 409"/>
                  <a:gd name="T1" fmla="*/ 340 h 404"/>
                  <a:gd name="T2" fmla="*/ 334 w 409"/>
                  <a:gd name="T3" fmla="*/ 404 h 404"/>
                  <a:gd name="T4" fmla="*/ 352 w 409"/>
                  <a:gd name="T5" fmla="*/ 403 h 404"/>
                  <a:gd name="T6" fmla="*/ 359 w 409"/>
                  <a:gd name="T7" fmla="*/ 399 h 404"/>
                  <a:gd name="T8" fmla="*/ 359 w 409"/>
                  <a:gd name="T9" fmla="*/ 391 h 404"/>
                  <a:gd name="T10" fmla="*/ 180 w 409"/>
                  <a:gd name="T11" fmla="*/ 146 h 404"/>
                  <a:gd name="T12" fmla="*/ 385 w 409"/>
                  <a:gd name="T13" fmla="*/ 369 h 404"/>
                  <a:gd name="T14" fmla="*/ 393 w 409"/>
                  <a:gd name="T15" fmla="*/ 373 h 404"/>
                  <a:gd name="T16" fmla="*/ 400 w 409"/>
                  <a:gd name="T17" fmla="*/ 366 h 404"/>
                  <a:gd name="T18" fmla="*/ 354 w 409"/>
                  <a:gd name="T19" fmla="*/ 181 h 404"/>
                  <a:gd name="T20" fmla="*/ 292 w 409"/>
                  <a:gd name="T21" fmla="*/ 105 h 404"/>
                  <a:gd name="T22" fmla="*/ 9 w 409"/>
                  <a:gd name="T23" fmla="*/ 0 h 404"/>
                  <a:gd name="T24" fmla="*/ 3 w 409"/>
                  <a:gd name="T25" fmla="*/ 2 h 404"/>
                  <a:gd name="T26" fmla="*/ 1 w 409"/>
                  <a:gd name="T27" fmla="*/ 9 h 404"/>
                  <a:gd name="T28" fmla="*/ 70 w 409"/>
                  <a:gd name="T29" fmla="*/ 221 h 404"/>
                  <a:gd name="T30" fmla="*/ 182 w 409"/>
                  <a:gd name="T31" fmla="*/ 340 h 404"/>
                  <a:gd name="T32" fmla="*/ 182 w 409"/>
                  <a:gd name="T33" fmla="*/ 340 h 404"/>
                  <a:gd name="T34" fmla="*/ 182 w 409"/>
                  <a:gd name="T35" fmla="*/ 34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9" h="404">
                    <a:moveTo>
                      <a:pt x="182" y="340"/>
                    </a:moveTo>
                    <a:cubicBezTo>
                      <a:pt x="220" y="369"/>
                      <a:pt x="277" y="404"/>
                      <a:pt x="334" y="404"/>
                    </a:cubicBezTo>
                    <a:cubicBezTo>
                      <a:pt x="341" y="404"/>
                      <a:pt x="347" y="404"/>
                      <a:pt x="352" y="403"/>
                    </a:cubicBezTo>
                    <a:cubicBezTo>
                      <a:pt x="355" y="403"/>
                      <a:pt x="357" y="401"/>
                      <a:pt x="359" y="399"/>
                    </a:cubicBezTo>
                    <a:cubicBezTo>
                      <a:pt x="360" y="396"/>
                      <a:pt x="360" y="394"/>
                      <a:pt x="359" y="391"/>
                    </a:cubicBezTo>
                    <a:cubicBezTo>
                      <a:pt x="323" y="311"/>
                      <a:pt x="264" y="227"/>
                      <a:pt x="180" y="146"/>
                    </a:cubicBezTo>
                    <a:cubicBezTo>
                      <a:pt x="270" y="207"/>
                      <a:pt x="339" y="296"/>
                      <a:pt x="385" y="369"/>
                    </a:cubicBezTo>
                    <a:cubicBezTo>
                      <a:pt x="387" y="372"/>
                      <a:pt x="390" y="374"/>
                      <a:pt x="393" y="373"/>
                    </a:cubicBezTo>
                    <a:cubicBezTo>
                      <a:pt x="397" y="373"/>
                      <a:pt x="399" y="370"/>
                      <a:pt x="400" y="366"/>
                    </a:cubicBezTo>
                    <a:cubicBezTo>
                      <a:pt x="409" y="307"/>
                      <a:pt x="393" y="243"/>
                      <a:pt x="354" y="181"/>
                    </a:cubicBezTo>
                    <a:cubicBezTo>
                      <a:pt x="326" y="136"/>
                      <a:pt x="295" y="108"/>
                      <a:pt x="292" y="105"/>
                    </a:cubicBezTo>
                    <a:cubicBezTo>
                      <a:pt x="209" y="22"/>
                      <a:pt x="67" y="4"/>
                      <a:pt x="9" y="0"/>
                    </a:cubicBezTo>
                    <a:cubicBezTo>
                      <a:pt x="7" y="0"/>
                      <a:pt x="5" y="1"/>
                      <a:pt x="3" y="2"/>
                    </a:cubicBezTo>
                    <a:cubicBezTo>
                      <a:pt x="1" y="4"/>
                      <a:pt x="0" y="6"/>
                      <a:pt x="1" y="9"/>
                    </a:cubicBezTo>
                    <a:cubicBezTo>
                      <a:pt x="6" y="84"/>
                      <a:pt x="31" y="160"/>
                      <a:pt x="70" y="221"/>
                    </a:cubicBezTo>
                    <a:cubicBezTo>
                      <a:pt x="97" y="262"/>
                      <a:pt x="138" y="306"/>
                      <a:pt x="182" y="340"/>
                    </a:cubicBezTo>
                    <a:close/>
                    <a:moveTo>
                      <a:pt x="182" y="340"/>
                    </a:moveTo>
                    <a:cubicBezTo>
                      <a:pt x="182" y="340"/>
                      <a:pt x="182" y="340"/>
                      <a:pt x="182" y="34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  <p:sp>
            <p:nvSpPr>
              <p:cNvPr id="41994" name="Freeform 80"/>
              <p:cNvSpPr>
                <a:spLocks noEditPoints="1"/>
              </p:cNvSpPr>
              <p:nvPr/>
            </p:nvSpPr>
            <p:spPr bwMode="auto">
              <a:xfrm>
                <a:off x="-1606550" y="2171700"/>
                <a:ext cx="366713" cy="361950"/>
              </a:xfrm>
              <a:custGeom>
                <a:avLst/>
                <a:gdLst>
                  <a:gd name="T0" fmla="*/ 121 w 272"/>
                  <a:gd name="T1" fmla="*/ 226 h 269"/>
                  <a:gd name="T2" fmla="*/ 222 w 272"/>
                  <a:gd name="T3" fmla="*/ 269 h 269"/>
                  <a:gd name="T4" fmla="*/ 234 w 272"/>
                  <a:gd name="T5" fmla="*/ 269 h 269"/>
                  <a:gd name="T6" fmla="*/ 239 w 272"/>
                  <a:gd name="T7" fmla="*/ 266 h 269"/>
                  <a:gd name="T8" fmla="*/ 239 w 272"/>
                  <a:gd name="T9" fmla="*/ 261 h 269"/>
                  <a:gd name="T10" fmla="*/ 119 w 272"/>
                  <a:gd name="T11" fmla="*/ 97 h 269"/>
                  <a:gd name="T12" fmla="*/ 256 w 272"/>
                  <a:gd name="T13" fmla="*/ 246 h 269"/>
                  <a:gd name="T14" fmla="*/ 262 w 272"/>
                  <a:gd name="T15" fmla="*/ 249 h 269"/>
                  <a:gd name="T16" fmla="*/ 266 w 272"/>
                  <a:gd name="T17" fmla="*/ 244 h 269"/>
                  <a:gd name="T18" fmla="*/ 236 w 272"/>
                  <a:gd name="T19" fmla="*/ 121 h 269"/>
                  <a:gd name="T20" fmla="*/ 194 w 272"/>
                  <a:gd name="T21" fmla="*/ 70 h 269"/>
                  <a:gd name="T22" fmla="*/ 6 w 272"/>
                  <a:gd name="T23" fmla="*/ 0 h 269"/>
                  <a:gd name="T24" fmla="*/ 2 w 272"/>
                  <a:gd name="T25" fmla="*/ 2 h 269"/>
                  <a:gd name="T26" fmla="*/ 0 w 272"/>
                  <a:gd name="T27" fmla="*/ 6 h 269"/>
                  <a:gd name="T28" fmla="*/ 46 w 272"/>
                  <a:gd name="T29" fmla="*/ 147 h 269"/>
                  <a:gd name="T30" fmla="*/ 121 w 272"/>
                  <a:gd name="T31" fmla="*/ 226 h 269"/>
                  <a:gd name="T32" fmla="*/ 121 w 272"/>
                  <a:gd name="T33" fmla="*/ 226 h 269"/>
                  <a:gd name="T34" fmla="*/ 121 w 272"/>
                  <a:gd name="T35" fmla="*/ 226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2" h="269">
                    <a:moveTo>
                      <a:pt x="121" y="226"/>
                    </a:moveTo>
                    <a:cubicBezTo>
                      <a:pt x="146" y="246"/>
                      <a:pt x="184" y="269"/>
                      <a:pt x="222" y="269"/>
                    </a:cubicBezTo>
                    <a:cubicBezTo>
                      <a:pt x="226" y="269"/>
                      <a:pt x="231" y="269"/>
                      <a:pt x="234" y="269"/>
                    </a:cubicBezTo>
                    <a:cubicBezTo>
                      <a:pt x="236" y="268"/>
                      <a:pt x="238" y="267"/>
                      <a:pt x="239" y="266"/>
                    </a:cubicBezTo>
                    <a:cubicBezTo>
                      <a:pt x="239" y="264"/>
                      <a:pt x="239" y="262"/>
                      <a:pt x="239" y="261"/>
                    </a:cubicBezTo>
                    <a:cubicBezTo>
                      <a:pt x="215" y="208"/>
                      <a:pt x="175" y="151"/>
                      <a:pt x="119" y="97"/>
                    </a:cubicBezTo>
                    <a:cubicBezTo>
                      <a:pt x="179" y="138"/>
                      <a:pt x="225" y="197"/>
                      <a:pt x="256" y="246"/>
                    </a:cubicBezTo>
                    <a:cubicBezTo>
                      <a:pt x="257" y="248"/>
                      <a:pt x="259" y="249"/>
                      <a:pt x="262" y="249"/>
                    </a:cubicBezTo>
                    <a:cubicBezTo>
                      <a:pt x="264" y="248"/>
                      <a:pt x="266" y="246"/>
                      <a:pt x="266" y="244"/>
                    </a:cubicBezTo>
                    <a:cubicBezTo>
                      <a:pt x="272" y="205"/>
                      <a:pt x="262" y="162"/>
                      <a:pt x="236" y="121"/>
                    </a:cubicBezTo>
                    <a:cubicBezTo>
                      <a:pt x="217" y="91"/>
                      <a:pt x="196" y="72"/>
                      <a:pt x="194" y="70"/>
                    </a:cubicBezTo>
                    <a:cubicBezTo>
                      <a:pt x="139" y="15"/>
                      <a:pt x="44" y="3"/>
                      <a:pt x="6" y="0"/>
                    </a:cubicBezTo>
                    <a:cubicBezTo>
                      <a:pt x="4" y="0"/>
                      <a:pt x="3" y="1"/>
                      <a:pt x="2" y="2"/>
                    </a:cubicBezTo>
                    <a:cubicBezTo>
                      <a:pt x="0" y="3"/>
                      <a:pt x="0" y="4"/>
                      <a:pt x="0" y="6"/>
                    </a:cubicBezTo>
                    <a:cubicBezTo>
                      <a:pt x="4" y="56"/>
                      <a:pt x="20" y="107"/>
                      <a:pt x="46" y="147"/>
                    </a:cubicBezTo>
                    <a:cubicBezTo>
                      <a:pt x="64" y="174"/>
                      <a:pt x="92" y="204"/>
                      <a:pt x="121" y="226"/>
                    </a:cubicBezTo>
                    <a:close/>
                    <a:moveTo>
                      <a:pt x="121" y="226"/>
                    </a:moveTo>
                    <a:cubicBezTo>
                      <a:pt x="121" y="226"/>
                      <a:pt x="121" y="226"/>
                      <a:pt x="121" y="22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1224" dirty="0"/>
              </a:p>
            </p:txBody>
          </p:sp>
        </p:grpSp>
        <p:sp>
          <p:nvSpPr>
            <p:cNvPr id="58" name="TextBox 6"/>
            <p:cNvSpPr txBox="1"/>
            <p:nvPr/>
          </p:nvSpPr>
          <p:spPr>
            <a:xfrm>
              <a:off x="5573778" y="3138985"/>
              <a:ext cx="1485980" cy="59654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/>
              <a:r>
                <a:rPr lang="pt-BR" sz="1224" b="1" dirty="0">
                  <a:solidFill>
                    <a:schemeClr val="bg1"/>
                  </a:solidFill>
                  <a:latin typeface="Tahoma" panose="020B0604030504040204" pitchFamily="34" charset="0"/>
                  <a:cs typeface="Tahoma" panose="020B0604030504040204" pitchFamily="34" charset="0"/>
                </a:rPr>
                <a:t>Incentivos fiscais e Atração de Investimentos</a:t>
              </a:r>
            </a:p>
          </p:txBody>
        </p:sp>
      </p:grpSp>
      <p:sp>
        <p:nvSpPr>
          <p:cNvPr id="97" name="Rectangle 5"/>
          <p:cNvSpPr txBox="1"/>
          <p:nvPr>
            <p:custDataLst>
              <p:tags r:id="rId3"/>
            </p:custDataLst>
          </p:nvPr>
        </p:nvSpPr>
        <p:spPr>
          <a:xfrm>
            <a:off x="2216379" y="477987"/>
            <a:ext cx="6129205" cy="469084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350" eaLnBrk="1" hangingPunct="1">
              <a:buSzPct val="120000"/>
              <a:tabLst>
                <a:tab pos="357188" algn="l"/>
              </a:tabLst>
              <a:defRPr sz="4000" b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defTabSz="895350" eaLnBrk="1" hangingPunct="1">
              <a:defRPr sz="1900" b="1">
                <a:solidFill>
                  <a:schemeClr val="tx2"/>
                </a:solidFill>
              </a:defRPr>
            </a:lvl2pPr>
            <a:lvl3pPr defTabSz="895350" eaLnBrk="1" hangingPunct="1">
              <a:defRPr sz="1900" b="1">
                <a:solidFill>
                  <a:schemeClr val="tx2"/>
                </a:solidFill>
              </a:defRPr>
            </a:lvl3pPr>
            <a:lvl4pPr defTabSz="895350" eaLnBrk="1" hangingPunct="1">
              <a:defRPr sz="1900" b="1">
                <a:solidFill>
                  <a:schemeClr val="tx2"/>
                </a:solidFill>
              </a:defRPr>
            </a:lvl4pPr>
            <a:lvl5pPr defTabSz="895350" eaLnBrk="1" hangingPunct="1">
              <a:defRPr sz="1900" b="1">
                <a:solidFill>
                  <a:schemeClr val="tx2"/>
                </a:solidFill>
              </a:defRPr>
            </a:lvl5pPr>
            <a:lvl6pPr marL="4572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144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716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28800" defTabSz="89535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lang="pt-BR" sz="367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ções estratégicas para o desenvolvimento do Pará</a:t>
            </a:r>
          </a:p>
        </p:txBody>
      </p:sp>
      <p:sp>
        <p:nvSpPr>
          <p:cNvPr id="52" name="Retângulo 51"/>
          <p:cNvSpPr/>
          <p:nvPr/>
        </p:nvSpPr>
        <p:spPr>
          <a:xfrm>
            <a:off x="8585327" y="6519963"/>
            <a:ext cx="299885" cy="2278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609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7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9" name="think-cell Slide" r:id="rId6" imgW="38100" imgH="38100" progId="">
                  <p:embed/>
                </p:oleObj>
              </mc:Choice>
              <mc:Fallback>
                <p:oleObj name="think-cell Slide" r:id="rId6" imgW="38100" imgH="3810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56535" y="1628800"/>
            <a:ext cx="7128792" cy="3895486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srgbClr val="808080">
                <a:alpha val="32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3462" rIns="73462" bIns="73462" anchor="ctr"/>
          <a:lstStyle>
            <a:lvl1pPr lvl="0" defTabSz="895350">
              <a:buSzPct val="120000"/>
              <a:defRPr>
                <a:latin typeface="+mn-lt"/>
              </a:defRPr>
            </a:lvl1pPr>
            <a:lvl2pPr marL="144463" lvl="1" indent="-142875" defTabSz="895350">
              <a:buSzPct val="120000"/>
              <a:buChar char="•"/>
              <a:defRPr>
                <a:latin typeface="+mn-lt"/>
              </a:defRPr>
            </a:lvl2pPr>
            <a:lvl3pPr marL="295275" lvl="2" indent="-149225" defTabSz="895350">
              <a:buChar char="–"/>
              <a:defRPr>
                <a:latin typeface="+mn-lt"/>
              </a:defRPr>
            </a:lvl3pPr>
            <a:lvl4pPr marL="431800" lvl="3" indent="-134938" defTabSz="895350">
              <a:buSzPct val="89000"/>
              <a:buChar char="•"/>
              <a:defRPr>
                <a:latin typeface="+mn-lt"/>
              </a:defRPr>
            </a:lvl4pPr>
            <a:lvl5pPr marL="582613" lvl="4" indent="-149225" defTabSz="895350">
              <a:buSzPct val="75000"/>
              <a:buChar char="–"/>
              <a:defRPr>
                <a:latin typeface="+mn-lt"/>
              </a:defRPr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>
                <a:latin typeface="+mn-lt"/>
              </a:defRPr>
            </a:lvl9pPr>
          </a:lstStyle>
          <a:p>
            <a:pPr eaLnBrk="1" hangingPunct="1">
              <a:defRPr/>
            </a:pPr>
            <a:r>
              <a:rPr lang="pt-BR" sz="3673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Em mais de</a:t>
            </a:r>
          </a:p>
          <a:p>
            <a:pPr eaLnBrk="1" hangingPunct="1">
              <a:defRPr/>
            </a:pPr>
            <a:r>
              <a:rPr lang="pt-BR" sz="4897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70</a:t>
            </a:r>
            <a:r>
              <a:rPr lang="pt-BR" sz="3673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iniciativas,</a:t>
            </a:r>
            <a:endParaRPr lang="pt-BR" sz="3673" b="1" dirty="0">
              <a:solidFill>
                <a:schemeClr val="tx1">
                  <a:lumMod val="85000"/>
                  <a:lumOff val="15000"/>
                </a:schemeClr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pt-BR" sz="4897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280</a:t>
            </a:r>
            <a:r>
              <a:rPr lang="pt-BR" sz="3673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ações e</a:t>
            </a:r>
            <a:endParaRPr lang="pt-BR" sz="3673" b="1" dirty="0">
              <a:solidFill>
                <a:schemeClr val="tx1">
                  <a:lumMod val="85000"/>
                  <a:lumOff val="15000"/>
                </a:schemeClr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pt-BR" sz="4489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1.400 </a:t>
            </a:r>
            <a:r>
              <a:rPr lang="pt-BR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marcos de implementação</a:t>
            </a:r>
          </a:p>
          <a:p>
            <a:pPr eaLnBrk="1" hangingPunct="1">
              <a:defRPr/>
            </a:pPr>
            <a:endParaRPr lang="pt-BR" sz="2800" b="1" dirty="0">
              <a:solidFill>
                <a:schemeClr val="tx1">
                  <a:lumMod val="85000"/>
                  <a:lumOff val="15000"/>
                </a:schemeClr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  <a:p>
            <a:pPr eaLnBrk="1" hangingPunct="1">
              <a:defRPr/>
            </a:pPr>
            <a:r>
              <a:rPr lang="pt-BR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E firmados a partir de</a:t>
            </a:r>
          </a:p>
          <a:p>
            <a:pPr eaLnBrk="1" hangingPunct="1">
              <a:defRPr/>
            </a:pPr>
            <a:r>
              <a:rPr lang="pt-BR" sz="5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20</a:t>
            </a:r>
            <a:r>
              <a:rPr lang="pt-BR" sz="3673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Acordos de Resultados</a:t>
            </a:r>
            <a:endParaRPr lang="pt-BR" sz="3673" b="1" dirty="0">
              <a:solidFill>
                <a:schemeClr val="tx1">
                  <a:lumMod val="85000"/>
                  <a:lumOff val="15000"/>
                </a:schemeClr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323528" y="404664"/>
            <a:ext cx="6953564" cy="57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3526" eaLnBrk="1" hangingPunct="1">
              <a:spcAft>
                <a:spcPts val="0"/>
              </a:spcAft>
              <a:tabLst>
                <a:tab pos="364439" algn="l"/>
              </a:tabLst>
              <a:defRPr/>
            </a:pPr>
            <a:r>
              <a:rPr lang="pt-BR" sz="3673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m Plano que se desdobra</a:t>
            </a:r>
          </a:p>
        </p:txBody>
      </p:sp>
      <p:sp>
        <p:nvSpPr>
          <p:cNvPr id="6" name="Retângulo 5"/>
          <p:cNvSpPr/>
          <p:nvPr/>
        </p:nvSpPr>
        <p:spPr>
          <a:xfrm>
            <a:off x="8585327" y="6519963"/>
            <a:ext cx="299885" cy="2278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60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endParaRPr lang="pt-BR"/>
          </a:p>
        </p:txBody>
      </p:sp>
      <p:pic>
        <p:nvPicPr>
          <p:cNvPr id="67586" name="Picture 2" descr="http://chungcin.com/wp-content/uploads/2015/08/pc_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52989" y="1"/>
            <a:ext cx="10296719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5"/>
          <p:cNvSpPr txBox="1">
            <a:spLocks noChangeArrowheads="1"/>
          </p:cNvSpPr>
          <p:nvPr/>
        </p:nvSpPr>
        <p:spPr bwMode="gray">
          <a:xfrm>
            <a:off x="824757" y="353105"/>
            <a:ext cx="7871924" cy="3780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r">
              <a:buSzPct val="120000"/>
              <a:buNone/>
              <a:defRPr/>
            </a:pPr>
            <a:r>
              <a:rPr lang="pt-BR" sz="2857" dirty="0">
                <a:solidFill>
                  <a:schemeClr val="bg1"/>
                </a:solidFill>
                <a:latin typeface="+mj-lt"/>
                <a:cs typeface="Tahoma" panose="020B0604030504040204" pitchFamily="34" charset="0"/>
              </a:rPr>
              <a:t>As oportunidades contribuem significativamente na trajetória em direção a meta de </a:t>
            </a:r>
            <a:r>
              <a:rPr lang="pt-BR" sz="3265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crescimento</a:t>
            </a:r>
            <a:r>
              <a:rPr lang="pt-BR" sz="2857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 de</a:t>
            </a:r>
            <a:r>
              <a:rPr lang="pt-BR" sz="2857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 </a:t>
            </a:r>
            <a:r>
              <a:rPr lang="pt-BR" sz="4489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5,3%</a:t>
            </a:r>
            <a:r>
              <a:rPr lang="pt-BR" sz="3265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 ao ano</a:t>
            </a:r>
            <a:r>
              <a:rPr lang="pt-BR" sz="2857" dirty="0">
                <a:solidFill>
                  <a:schemeClr val="bg1"/>
                </a:solidFill>
                <a:latin typeface="+mj-lt"/>
                <a:cs typeface="Tahoma" panose="020B0604030504040204" pitchFamily="34" charset="0"/>
              </a:rPr>
              <a:t>, para </a:t>
            </a:r>
            <a:r>
              <a:rPr lang="pt-BR" sz="3265" b="1" dirty="0">
                <a:solidFill>
                  <a:schemeClr val="bg1"/>
                </a:solidFill>
                <a:latin typeface="+mj-lt"/>
                <a:cs typeface="Tahoma" panose="020B0604030504040204" pitchFamily="34" charset="0"/>
              </a:rPr>
              <a:t> </a:t>
            </a:r>
            <a:r>
              <a:rPr lang="pt-BR" sz="3265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igualar o PIB per capita nacional,</a:t>
            </a:r>
            <a:r>
              <a:rPr lang="pt-BR" sz="2857" dirty="0">
                <a:solidFill>
                  <a:schemeClr val="bg1"/>
                </a:solidFill>
                <a:latin typeface="+mj-lt"/>
                <a:cs typeface="Tahoma" panose="020B0604030504040204" pitchFamily="34" charset="0"/>
              </a:rPr>
              <a:t> com expectativa de </a:t>
            </a:r>
            <a:r>
              <a:rPr lang="pt-BR" sz="3265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criar </a:t>
            </a:r>
            <a:r>
              <a:rPr lang="pt-BR" sz="4489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3 milhões </a:t>
            </a:r>
            <a:r>
              <a:rPr lang="pt-BR" sz="3265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de </a:t>
            </a:r>
            <a:r>
              <a:rPr lang="pt-BR" sz="4489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empregos</a:t>
            </a:r>
            <a:r>
              <a:rPr lang="pt-BR" sz="3265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  </a:t>
            </a:r>
            <a:r>
              <a:rPr lang="pt-BR" sz="3265" dirty="0">
                <a:solidFill>
                  <a:schemeClr val="bg1"/>
                </a:solidFill>
                <a:latin typeface="+mj-lt"/>
                <a:cs typeface="Tahoma" panose="020B0604030504040204" pitchFamily="34" charset="0"/>
              </a:rPr>
              <a:t>e</a:t>
            </a:r>
            <a:r>
              <a:rPr lang="pt-BR" sz="3265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 </a:t>
            </a:r>
            <a:r>
              <a:rPr lang="pt-BR" sz="3265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incremento de</a:t>
            </a:r>
          </a:p>
          <a:p>
            <a:pPr marL="0" lvl="1" indent="0" algn="r">
              <a:buSzPct val="120000"/>
              <a:buNone/>
              <a:defRPr/>
            </a:pPr>
            <a:r>
              <a:rPr lang="pt-BR" sz="3265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 </a:t>
            </a:r>
            <a:r>
              <a:rPr lang="pt-BR" sz="4489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R$ 70 Bi no PIB</a:t>
            </a:r>
            <a:r>
              <a:rPr lang="pt-BR" sz="3265" b="1" dirty="0">
                <a:solidFill>
                  <a:srgbClr val="FFC000"/>
                </a:solidFill>
                <a:latin typeface="+mj-lt"/>
                <a:cs typeface="Tahoma" panose="020B0604030504040204" pitchFamily="34" charset="0"/>
              </a:rPr>
              <a:t> paraense </a:t>
            </a:r>
            <a:r>
              <a:rPr lang="pt-BR" sz="2857" dirty="0">
                <a:solidFill>
                  <a:schemeClr val="bg1"/>
                </a:solidFill>
                <a:latin typeface="+mj-lt"/>
                <a:cs typeface="Tahoma" panose="020B0604030504040204" pitchFamily="34" charset="0"/>
              </a:rPr>
              <a:t>até 2030</a:t>
            </a:r>
          </a:p>
        </p:txBody>
      </p:sp>
    </p:spTree>
    <p:extLst>
      <p:ext uri="{BB962C8B-B14F-4D97-AF65-F5344CB8AC3E}">
        <p14:creationId xmlns:p14="http://schemas.microsoft.com/office/powerpoint/2010/main" val="3525922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3"/>
          <p:cNvSpPr txBox="1">
            <a:spLocks/>
          </p:cNvSpPr>
          <p:nvPr/>
        </p:nvSpPr>
        <p:spPr bwMode="auto">
          <a:xfrm>
            <a:off x="2195736" y="4868178"/>
            <a:ext cx="7930271" cy="1363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ctr" defTabSz="913526" eaLnBrk="1" hangingPunct="1">
              <a:tabLst>
                <a:tab pos="364439" algn="l"/>
              </a:tabLst>
              <a:defRPr/>
            </a:pPr>
            <a:r>
              <a:rPr lang="pt-BR" sz="2449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rPr>
              <a:t>Para maiores informações, acesse o site oficial:</a:t>
            </a:r>
          </a:p>
          <a:p>
            <a:pPr algn="ctr" defTabSz="913526" eaLnBrk="1" hangingPunct="1">
              <a:tabLst>
                <a:tab pos="364439" algn="l"/>
              </a:tabLst>
              <a:defRPr/>
            </a:pPr>
            <a:endParaRPr lang="pt-BR" sz="2449" b="1" kern="0" dirty="0">
              <a:solidFill>
                <a:schemeClr val="tx2">
                  <a:lumMod val="90000"/>
                  <a:lumOff val="10000"/>
                </a:schemeClr>
              </a:solidFill>
              <a:latin typeface="+mj-lt"/>
              <a:ea typeface="+mj-ea"/>
              <a:cs typeface="+mj-cs"/>
            </a:endParaRPr>
          </a:p>
          <a:p>
            <a:pPr algn="ctr" defTabSz="913526" eaLnBrk="1" hangingPunct="1">
              <a:tabLst>
                <a:tab pos="364439" algn="l"/>
              </a:tabLst>
              <a:defRPr/>
            </a:pPr>
            <a:r>
              <a:rPr lang="pt-BR" sz="3673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rPr>
              <a:t>www.para2030.com.br</a:t>
            </a:r>
          </a:p>
        </p:txBody>
      </p:sp>
      <p:pic>
        <p:nvPicPr>
          <p:cNvPr id="4" name="Picture 8" descr="Capa Apresentacao-02.jpg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" t="68495" r="71058" b="4771"/>
          <a:stretch/>
        </p:blipFill>
        <p:spPr bwMode="auto">
          <a:xfrm>
            <a:off x="266002" y="4047923"/>
            <a:ext cx="3189353" cy="2616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rma livre 1"/>
          <p:cNvSpPr/>
          <p:nvPr/>
        </p:nvSpPr>
        <p:spPr>
          <a:xfrm>
            <a:off x="2885977" y="3992258"/>
            <a:ext cx="655033" cy="509880"/>
          </a:xfrm>
          <a:custGeom>
            <a:avLst/>
            <a:gdLst>
              <a:gd name="connsiteX0" fmla="*/ 595423 w 641993"/>
              <a:gd name="connsiteY0" fmla="*/ 21265 h 499730"/>
              <a:gd name="connsiteX1" fmla="*/ 595423 w 641993"/>
              <a:gd name="connsiteY1" fmla="*/ 21265 h 499730"/>
              <a:gd name="connsiteX2" fmla="*/ 489098 w 641993"/>
              <a:gd name="connsiteY2" fmla="*/ 10633 h 499730"/>
              <a:gd name="connsiteX3" fmla="*/ 435935 w 641993"/>
              <a:gd name="connsiteY3" fmla="*/ 0 h 499730"/>
              <a:gd name="connsiteX4" fmla="*/ 74428 w 641993"/>
              <a:gd name="connsiteY4" fmla="*/ 10633 h 499730"/>
              <a:gd name="connsiteX5" fmla="*/ 0 w 641993"/>
              <a:gd name="connsiteY5" fmla="*/ 63796 h 499730"/>
              <a:gd name="connsiteX6" fmla="*/ 10633 w 641993"/>
              <a:gd name="connsiteY6" fmla="*/ 329609 h 499730"/>
              <a:gd name="connsiteX7" fmla="*/ 63795 w 641993"/>
              <a:gd name="connsiteY7" fmla="*/ 372140 h 499730"/>
              <a:gd name="connsiteX8" fmla="*/ 127591 w 641993"/>
              <a:gd name="connsiteY8" fmla="*/ 404037 h 499730"/>
              <a:gd name="connsiteX9" fmla="*/ 191386 w 641993"/>
              <a:gd name="connsiteY9" fmla="*/ 414670 h 499730"/>
              <a:gd name="connsiteX10" fmla="*/ 276447 w 641993"/>
              <a:gd name="connsiteY10" fmla="*/ 435935 h 499730"/>
              <a:gd name="connsiteX11" fmla="*/ 318977 w 641993"/>
              <a:gd name="connsiteY11" fmla="*/ 446568 h 499730"/>
              <a:gd name="connsiteX12" fmla="*/ 382772 w 641993"/>
              <a:gd name="connsiteY12" fmla="*/ 467833 h 499730"/>
              <a:gd name="connsiteX13" fmla="*/ 446567 w 641993"/>
              <a:gd name="connsiteY13" fmla="*/ 499730 h 499730"/>
              <a:gd name="connsiteX14" fmla="*/ 637953 w 641993"/>
              <a:gd name="connsiteY14" fmla="*/ 276447 h 499730"/>
              <a:gd name="connsiteX15" fmla="*/ 627321 w 641993"/>
              <a:gd name="connsiteY15" fmla="*/ 63796 h 499730"/>
              <a:gd name="connsiteX16" fmla="*/ 595423 w 641993"/>
              <a:gd name="connsiteY16" fmla="*/ 21265 h 499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41993" h="499730">
                <a:moveTo>
                  <a:pt x="595423" y="21265"/>
                </a:moveTo>
                <a:lnTo>
                  <a:pt x="595423" y="21265"/>
                </a:lnTo>
                <a:cubicBezTo>
                  <a:pt x="559981" y="17721"/>
                  <a:pt x="524404" y="15340"/>
                  <a:pt x="489098" y="10633"/>
                </a:cubicBezTo>
                <a:cubicBezTo>
                  <a:pt x="471185" y="8245"/>
                  <a:pt x="454007" y="0"/>
                  <a:pt x="435935" y="0"/>
                </a:cubicBezTo>
                <a:cubicBezTo>
                  <a:pt x="315381" y="0"/>
                  <a:pt x="194930" y="7089"/>
                  <a:pt x="74428" y="10633"/>
                </a:cubicBezTo>
                <a:cubicBezTo>
                  <a:pt x="0" y="35442"/>
                  <a:pt x="17722" y="10633"/>
                  <a:pt x="0" y="63796"/>
                </a:cubicBezTo>
                <a:cubicBezTo>
                  <a:pt x="3544" y="152400"/>
                  <a:pt x="1186" y="241438"/>
                  <a:pt x="10633" y="329609"/>
                </a:cubicBezTo>
                <a:cubicBezTo>
                  <a:pt x="14691" y="367485"/>
                  <a:pt x="40318" y="360402"/>
                  <a:pt x="63795" y="372140"/>
                </a:cubicBezTo>
                <a:cubicBezTo>
                  <a:pt x="109676" y="395081"/>
                  <a:pt x="79485" y="393347"/>
                  <a:pt x="127591" y="404037"/>
                </a:cubicBezTo>
                <a:cubicBezTo>
                  <a:pt x="148636" y="408714"/>
                  <a:pt x="170306" y="410153"/>
                  <a:pt x="191386" y="414670"/>
                </a:cubicBezTo>
                <a:cubicBezTo>
                  <a:pt x="219964" y="420794"/>
                  <a:pt x="248093" y="428847"/>
                  <a:pt x="276447" y="435935"/>
                </a:cubicBezTo>
                <a:cubicBezTo>
                  <a:pt x="290624" y="439479"/>
                  <a:pt x="305114" y="441947"/>
                  <a:pt x="318977" y="446568"/>
                </a:cubicBezTo>
                <a:cubicBezTo>
                  <a:pt x="340242" y="453656"/>
                  <a:pt x="364121" y="455399"/>
                  <a:pt x="382772" y="467833"/>
                </a:cubicBezTo>
                <a:cubicBezTo>
                  <a:pt x="423995" y="495315"/>
                  <a:pt x="402547" y="485057"/>
                  <a:pt x="446567" y="499730"/>
                </a:cubicBezTo>
                <a:cubicBezTo>
                  <a:pt x="686566" y="485613"/>
                  <a:pt x="637953" y="548576"/>
                  <a:pt x="637953" y="276447"/>
                </a:cubicBezTo>
                <a:cubicBezTo>
                  <a:pt x="637953" y="205475"/>
                  <a:pt x="635456" y="134300"/>
                  <a:pt x="627321" y="63796"/>
                </a:cubicBezTo>
                <a:cubicBezTo>
                  <a:pt x="619572" y="-3362"/>
                  <a:pt x="600739" y="28353"/>
                  <a:pt x="595423" y="21265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>
              <a:solidFill>
                <a:schemeClr val="tx1"/>
              </a:solidFill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8585327" y="6519963"/>
            <a:ext cx="299885" cy="2278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 err="1">
              <a:solidFill>
                <a:schemeClr val="tx1"/>
              </a:solidFill>
            </a:endParaRPr>
          </a:p>
        </p:txBody>
      </p:sp>
      <p:sp>
        <p:nvSpPr>
          <p:cNvPr id="6" name="Retângulo 1"/>
          <p:cNvSpPr>
            <a:spLocks noChangeArrowheads="1"/>
          </p:cNvSpPr>
          <p:nvPr/>
        </p:nvSpPr>
        <p:spPr bwMode="auto">
          <a:xfrm>
            <a:off x="236928" y="2834535"/>
            <a:ext cx="856932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pt-BR" altLang="pt-BR" sz="2000" b="1" dirty="0">
                <a:cs typeface="Arial" panose="020B0604020202020204" pitchFamily="34" charset="0"/>
              </a:rPr>
              <a:t>ADNAN DEMACHKI</a:t>
            </a:r>
            <a:endParaRPr lang="pt-BR" altLang="pt-BR" sz="2000" dirty="0">
              <a:cs typeface="Arial" panose="020B0604020202020204" pitchFamily="34" charset="0"/>
            </a:endParaRPr>
          </a:p>
          <a:p>
            <a:pPr algn="ctr"/>
            <a:r>
              <a:rPr lang="pt-BR" altLang="pt-BR" sz="2000" dirty="0"/>
              <a:t>Secretário de Desenvolvimento Econômico, Mineração e Energia</a:t>
            </a:r>
          </a:p>
          <a:p>
            <a:pPr algn="ctr"/>
            <a:r>
              <a:rPr lang="pt-BR" altLang="pt-BR" sz="2000" dirty="0"/>
              <a:t>SEDEME</a:t>
            </a:r>
          </a:p>
        </p:txBody>
      </p:sp>
      <p:sp>
        <p:nvSpPr>
          <p:cNvPr id="7" name="TextBox 1"/>
          <p:cNvSpPr txBox="1">
            <a:spLocks noChangeArrowheads="1"/>
          </p:cNvSpPr>
          <p:nvPr/>
        </p:nvSpPr>
        <p:spPr bwMode="auto">
          <a:xfrm>
            <a:off x="1839035" y="1242281"/>
            <a:ext cx="550912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altLang="pt-BR" sz="4800" b="1" dirty="0"/>
              <a:t>Muito Obrigado!</a:t>
            </a:r>
          </a:p>
        </p:txBody>
      </p:sp>
    </p:spTree>
    <p:extLst>
      <p:ext uri="{BB962C8B-B14F-4D97-AF65-F5344CB8AC3E}">
        <p14:creationId xmlns:p14="http://schemas.microsoft.com/office/powerpoint/2010/main" val="327664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CaixaDeTexto 1"/>
          <p:cNvSpPr txBox="1">
            <a:spLocks noChangeArrowheads="1"/>
          </p:cNvSpPr>
          <p:nvPr/>
        </p:nvSpPr>
        <p:spPr bwMode="auto">
          <a:xfrm>
            <a:off x="0" y="115888"/>
            <a:ext cx="89644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BR" altLang="pt-BR" sz="28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calização estratégica</a:t>
            </a:r>
            <a:endParaRPr lang="pt-BR" altLang="pt-BR" sz="20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059" name="CaixaDeTexto 8"/>
          <p:cNvSpPr txBox="1">
            <a:spLocks noChangeArrowheads="1"/>
          </p:cNvSpPr>
          <p:nvPr/>
        </p:nvSpPr>
        <p:spPr bwMode="auto">
          <a:xfrm>
            <a:off x="166034" y="914190"/>
            <a:ext cx="3397854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buFontTx/>
              <a:buAutoNum type="arabicPeriod"/>
            </a:pPr>
            <a:r>
              <a:rPr lang="pt-BR" altLang="pt-BR" b="1" dirty="0">
                <a:solidFill>
                  <a:srgbClr val="0D0D0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ta de entrada da Amazônia</a:t>
            </a:r>
          </a:p>
          <a:p>
            <a:pPr algn="just" eaLnBrk="1" hangingPunct="1">
              <a:buFontTx/>
              <a:buAutoNum type="arabicPeriod"/>
            </a:pPr>
            <a:endParaRPr lang="pt-BR" altLang="pt-BR" b="1" dirty="0">
              <a:solidFill>
                <a:srgbClr val="0D0D0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 eaLnBrk="1" hangingPunct="1">
              <a:buFontTx/>
              <a:buAutoNum type="arabicPeriod"/>
            </a:pPr>
            <a:r>
              <a:rPr lang="pt-BR" altLang="pt-BR" b="1" dirty="0">
                <a:solidFill>
                  <a:srgbClr val="0D0D0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Ótima Localização (Menor distância aos mercados europeu, norte americano e asiático)</a:t>
            </a:r>
          </a:p>
        </p:txBody>
      </p:sp>
      <p:pic>
        <p:nvPicPr>
          <p:cNvPr id="6" name="Imagem 5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63888" y="834215"/>
            <a:ext cx="5544616" cy="252277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1233474"/>
              </p:ext>
            </p:extLst>
          </p:nvPr>
        </p:nvGraphicFramePr>
        <p:xfrm>
          <a:off x="166035" y="3058833"/>
          <a:ext cx="3901909" cy="1386840"/>
        </p:xfrm>
        <a:graphic>
          <a:graphicData uri="http://schemas.openxmlformats.org/drawingml/2006/table">
            <a:tbl>
              <a:tblPr/>
              <a:tblGrid>
                <a:gridCol w="879052">
                  <a:extLst>
                    <a:ext uri="{9D8B030D-6E8A-4147-A177-3AD203B41FA5}">
                      <a16:colId xmlns:a16="http://schemas.microsoft.com/office/drawing/2014/main" val="3558479733"/>
                    </a:ext>
                  </a:extLst>
                </a:gridCol>
                <a:gridCol w="1022569">
                  <a:extLst>
                    <a:ext uri="{9D8B030D-6E8A-4147-A177-3AD203B41FA5}">
                      <a16:colId xmlns:a16="http://schemas.microsoft.com/office/drawing/2014/main" val="2492945971"/>
                    </a:ext>
                  </a:extLst>
                </a:gridCol>
                <a:gridCol w="1336514">
                  <a:extLst>
                    <a:ext uri="{9D8B030D-6E8A-4147-A177-3AD203B41FA5}">
                      <a16:colId xmlns:a16="http://schemas.microsoft.com/office/drawing/2014/main" val="1953284834"/>
                    </a:ext>
                  </a:extLst>
                </a:gridCol>
                <a:gridCol w="663774">
                  <a:extLst>
                    <a:ext uri="{9D8B030D-6E8A-4147-A177-3AD203B41FA5}">
                      <a16:colId xmlns:a16="http://schemas.microsoft.com/office/drawing/2014/main" val="3087257970"/>
                    </a:ext>
                  </a:extLst>
                </a:gridCol>
              </a:tblGrid>
              <a:tr h="236851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UROPA - ROTTERDAM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9100422"/>
                  </a:ext>
                </a:extLst>
              </a:tr>
              <a:tr h="20814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ta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EANO ATLÂNTIC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686584"/>
                  </a:ext>
                </a:extLst>
              </a:tr>
              <a:tr h="20814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igem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tin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m / Mil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0029648"/>
                  </a:ext>
                </a:extLst>
              </a:tr>
              <a:tr h="20814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to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Rotterdam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43 / 6.24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2473468"/>
                  </a:ext>
                </a:extLst>
              </a:tr>
              <a:tr h="20814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anaguá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281 / 6.38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6491714"/>
                  </a:ext>
                </a:extLst>
              </a:tr>
              <a:tr h="23685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ará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.746 / 4.8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935298"/>
                  </a:ext>
                </a:extLst>
              </a:tr>
            </a:tbl>
          </a:graphicData>
        </a:graphic>
      </p:graphicFrame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3825235"/>
              </p:ext>
            </p:extLst>
          </p:nvPr>
        </p:nvGraphicFramePr>
        <p:xfrm>
          <a:off x="166034" y="4656551"/>
          <a:ext cx="3901910" cy="1386840"/>
        </p:xfrm>
        <a:graphic>
          <a:graphicData uri="http://schemas.openxmlformats.org/drawingml/2006/table">
            <a:tbl>
              <a:tblPr/>
              <a:tblGrid>
                <a:gridCol w="879052">
                  <a:extLst>
                    <a:ext uri="{9D8B030D-6E8A-4147-A177-3AD203B41FA5}">
                      <a16:colId xmlns:a16="http://schemas.microsoft.com/office/drawing/2014/main" val="1991088218"/>
                    </a:ext>
                  </a:extLst>
                </a:gridCol>
                <a:gridCol w="1022569">
                  <a:extLst>
                    <a:ext uri="{9D8B030D-6E8A-4147-A177-3AD203B41FA5}">
                      <a16:colId xmlns:a16="http://schemas.microsoft.com/office/drawing/2014/main" val="3890599145"/>
                    </a:ext>
                  </a:extLst>
                </a:gridCol>
                <a:gridCol w="1336516">
                  <a:extLst>
                    <a:ext uri="{9D8B030D-6E8A-4147-A177-3AD203B41FA5}">
                      <a16:colId xmlns:a16="http://schemas.microsoft.com/office/drawing/2014/main" val="1087208065"/>
                    </a:ext>
                  </a:extLst>
                </a:gridCol>
                <a:gridCol w="663773">
                  <a:extLst>
                    <a:ext uri="{9D8B030D-6E8A-4147-A177-3AD203B41FA5}">
                      <a16:colId xmlns:a16="http://schemas.microsoft.com/office/drawing/2014/main" val="1948719580"/>
                    </a:ext>
                  </a:extLst>
                </a:gridCol>
              </a:tblGrid>
              <a:tr h="210497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MÉRICA DO NORTE - MIAMI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6781598"/>
                  </a:ext>
                </a:extLst>
              </a:tr>
              <a:tr h="180426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ta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EANO ATLÂNTIC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619585"/>
                  </a:ext>
                </a:extLst>
              </a:tr>
              <a:tr h="180426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igem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tin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m / Mil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268229"/>
                  </a:ext>
                </a:extLst>
              </a:tr>
              <a:tr h="180426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to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Miam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725 / 5.4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4244798"/>
                  </a:ext>
                </a:extLst>
              </a:tr>
              <a:tr h="180426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anaguá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975 / 5.57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756706"/>
                  </a:ext>
                </a:extLst>
              </a:tr>
              <a:tr h="216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ará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.723 / 2.93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778594"/>
                  </a:ext>
                </a:extLst>
              </a:tr>
            </a:tbl>
          </a:graphicData>
        </a:graphic>
      </p:graphicFrame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6826580"/>
              </p:ext>
            </p:extLst>
          </p:nvPr>
        </p:nvGraphicFramePr>
        <p:xfrm>
          <a:off x="4514020" y="3284984"/>
          <a:ext cx="4464496" cy="1386840"/>
        </p:xfrm>
        <a:graphic>
          <a:graphicData uri="http://schemas.openxmlformats.org/drawingml/2006/table">
            <a:tbl>
              <a:tblPr/>
              <a:tblGrid>
                <a:gridCol w="942255">
                  <a:extLst>
                    <a:ext uri="{9D8B030D-6E8A-4147-A177-3AD203B41FA5}">
                      <a16:colId xmlns:a16="http://schemas.microsoft.com/office/drawing/2014/main" val="654872484"/>
                    </a:ext>
                  </a:extLst>
                </a:gridCol>
                <a:gridCol w="1378129">
                  <a:extLst>
                    <a:ext uri="{9D8B030D-6E8A-4147-A177-3AD203B41FA5}">
                      <a16:colId xmlns:a16="http://schemas.microsoft.com/office/drawing/2014/main" val="3468776453"/>
                    </a:ext>
                  </a:extLst>
                </a:gridCol>
                <a:gridCol w="1432613">
                  <a:extLst>
                    <a:ext uri="{9D8B030D-6E8A-4147-A177-3AD203B41FA5}">
                      <a16:colId xmlns:a16="http://schemas.microsoft.com/office/drawing/2014/main" val="3689446473"/>
                    </a:ext>
                  </a:extLst>
                </a:gridCol>
                <a:gridCol w="711499">
                  <a:extLst>
                    <a:ext uri="{9D8B030D-6E8A-4147-A177-3AD203B41FA5}">
                      <a16:colId xmlns:a16="http://schemas.microsoft.com/office/drawing/2014/main" val="1743153379"/>
                    </a:ext>
                  </a:extLst>
                </a:gridCol>
              </a:tblGrid>
              <a:tr h="223511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ÁSIA - XANGAI/SHANGHAI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576925"/>
                  </a:ext>
                </a:extLst>
              </a:tr>
              <a:tr h="19641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ta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NAL DO PANAMÁ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7724982"/>
                  </a:ext>
                </a:extLst>
              </a:tr>
              <a:tr h="19641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igem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tin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m / Mil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9729666"/>
                  </a:ext>
                </a:extLst>
              </a:tr>
              <a:tr h="19641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to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angai / Shangha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68 / 14.95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6068729"/>
                  </a:ext>
                </a:extLst>
              </a:tr>
              <a:tr h="19641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anaguá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375 / 15.14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451154"/>
                  </a:ext>
                </a:extLst>
              </a:tr>
              <a:tr h="223511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ará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9.546 / 12.14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1094595"/>
                  </a:ext>
                </a:extLst>
              </a:tr>
            </a:tbl>
          </a:graphicData>
        </a:graphic>
      </p:graphicFrame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140"/>
              </p:ext>
            </p:extLst>
          </p:nvPr>
        </p:nvGraphicFramePr>
        <p:xfrm>
          <a:off x="4514020" y="4869160"/>
          <a:ext cx="4464496" cy="1135380"/>
        </p:xfrm>
        <a:graphic>
          <a:graphicData uri="http://schemas.openxmlformats.org/drawingml/2006/table">
            <a:tbl>
              <a:tblPr/>
              <a:tblGrid>
                <a:gridCol w="924982">
                  <a:extLst>
                    <a:ext uri="{9D8B030D-6E8A-4147-A177-3AD203B41FA5}">
                      <a16:colId xmlns:a16="http://schemas.microsoft.com/office/drawing/2014/main" val="1949641401"/>
                    </a:ext>
                  </a:extLst>
                </a:gridCol>
                <a:gridCol w="1365246">
                  <a:extLst>
                    <a:ext uri="{9D8B030D-6E8A-4147-A177-3AD203B41FA5}">
                      <a16:colId xmlns:a16="http://schemas.microsoft.com/office/drawing/2014/main" val="198096235"/>
                    </a:ext>
                  </a:extLst>
                </a:gridCol>
                <a:gridCol w="1497274">
                  <a:extLst>
                    <a:ext uri="{9D8B030D-6E8A-4147-A177-3AD203B41FA5}">
                      <a16:colId xmlns:a16="http://schemas.microsoft.com/office/drawing/2014/main" val="241846562"/>
                    </a:ext>
                  </a:extLst>
                </a:gridCol>
                <a:gridCol w="676994">
                  <a:extLst>
                    <a:ext uri="{9D8B030D-6E8A-4147-A177-3AD203B41FA5}">
                      <a16:colId xmlns:a16="http://schemas.microsoft.com/office/drawing/2014/main" val="1516303374"/>
                    </a:ext>
                  </a:extLst>
                </a:gridCol>
              </a:tblGrid>
              <a:tr h="19434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ta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BO DA BOA ESPERANÇ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4203191"/>
                  </a:ext>
                </a:extLst>
              </a:tr>
              <a:tr h="19434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igem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tin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m / Mil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639886"/>
                  </a:ext>
                </a:extLst>
              </a:tr>
              <a:tr h="19434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ntos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angai / Shanghai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260 / 12.58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6237093"/>
                  </a:ext>
                </a:extLst>
              </a:tr>
              <a:tr h="19434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anaguá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577 / 12.78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676676"/>
                  </a:ext>
                </a:extLst>
              </a:tr>
              <a:tr h="233217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ará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4.722 / 15.36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430745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50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50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3000"/>
                            </p:stCondLst>
                            <p:childTnLst>
                              <p:par>
                                <p:cTn id="1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000"/>
                            </p:stCondLst>
                            <p:childTnLst>
                              <p:par>
                                <p:cTn id="2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059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082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9978269"/>
              </p:ext>
            </p:extLst>
          </p:nvPr>
        </p:nvGraphicFramePr>
        <p:xfrm>
          <a:off x="4427984" y="2546046"/>
          <a:ext cx="4246116" cy="36182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2" name="PHOTO-PAINT" r:id="rId3" imgW="9742857" imgH="8609524" progId="">
                  <p:embed/>
                </p:oleObj>
              </mc:Choice>
              <mc:Fallback>
                <p:oleObj name="PHOTO-PAINT" r:id="rId3" imgW="9742857" imgH="8609524" progId="">
                  <p:embed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27984" y="2546046"/>
                        <a:ext cx="4246116" cy="361821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083" name="Grupo 1"/>
          <p:cNvGrpSpPr>
            <a:grpSpLocks/>
          </p:cNvGrpSpPr>
          <p:nvPr/>
        </p:nvGrpSpPr>
        <p:grpSpPr bwMode="auto">
          <a:xfrm>
            <a:off x="323528" y="2996952"/>
            <a:ext cx="3816424" cy="2880320"/>
            <a:chOff x="684213" y="3221708"/>
            <a:chExt cx="3554412" cy="2664742"/>
          </a:xfrm>
        </p:grpSpPr>
        <p:pic>
          <p:nvPicPr>
            <p:cNvPr id="53257" name="Picture 9" descr="ala3ki0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213" y="3221708"/>
              <a:ext cx="3554412" cy="229485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  <a:extLst/>
          </p:spPr>
        </p:pic>
        <p:sp>
          <p:nvSpPr>
            <p:cNvPr id="46088" name="Rectangle 10"/>
            <p:cNvSpPr>
              <a:spLocks noChangeArrowheads="1"/>
            </p:cNvSpPr>
            <p:nvPr/>
          </p:nvSpPr>
          <p:spPr bwMode="auto">
            <a:xfrm>
              <a:off x="1835150" y="5516563"/>
              <a:ext cx="1069975" cy="369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r>
                <a:rPr lang="en-US" altLang="pt-BR" b="1"/>
                <a:t>PA - 150</a:t>
              </a:r>
              <a:endParaRPr lang="pt-BR" altLang="pt-BR" b="1"/>
            </a:p>
          </p:txBody>
        </p:sp>
      </p:grpSp>
      <p:sp>
        <p:nvSpPr>
          <p:cNvPr id="12294" name="Retângulo 6"/>
          <p:cNvSpPr>
            <a:spLocks noChangeArrowheads="1"/>
          </p:cNvSpPr>
          <p:nvPr/>
        </p:nvSpPr>
        <p:spPr bwMode="auto">
          <a:xfrm>
            <a:off x="183663" y="669925"/>
            <a:ext cx="8353425" cy="196361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marL="95250" indent="-95250" eaLnBrk="1" hangingPunct="1">
              <a:defRPr/>
            </a:pPr>
            <a:endParaRPr lang="en-US" sz="28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+mn-ea"/>
            </a:endParaRPr>
          </a:p>
          <a:p>
            <a:pPr marL="285750" indent="-285750" eaLnBrk="1" hangingPunct="1">
              <a:lnSpc>
                <a:spcPct val="130000"/>
              </a:lnSpc>
              <a:buFont typeface="Wingdings" pitchFamily="2" charset="2"/>
              <a:buChar char="q"/>
              <a:defRPr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 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Cerca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 de 5.000 km de 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estradas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 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pavimentadas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+mn-ea"/>
            </a:endParaRPr>
          </a:p>
          <a:p>
            <a:pPr marL="742950" lvl="1" indent="-285750" eaLnBrk="1" hangingPunct="1">
              <a:lnSpc>
                <a:spcPct val="130000"/>
              </a:lnSpc>
              <a:buFont typeface="Wingdings" charset="2"/>
              <a:buChar char="§"/>
              <a:defRPr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4 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rodovias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 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federais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 com 1.792 km de 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extensão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+mn-ea"/>
            </a:endParaRPr>
          </a:p>
          <a:p>
            <a:pPr marL="742950" lvl="1" indent="-285750" eaLnBrk="1" hangingPunct="1">
              <a:lnSpc>
                <a:spcPct val="130000"/>
              </a:lnSpc>
              <a:buFont typeface="Wingdings" charset="2"/>
              <a:buChar char="§"/>
              <a:defRPr/>
            </a:pP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3.070 km de 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extensão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 de 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rodovias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 </a:t>
            </a:r>
            <a:r>
              <a:rPr lang="en-US" sz="24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+mn-ea"/>
              </a:rPr>
              <a:t>estaduais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+mn-ea"/>
            </a:endParaRPr>
          </a:p>
        </p:txBody>
      </p:sp>
      <p:sp>
        <p:nvSpPr>
          <p:cNvPr id="46085" name="CaixaDeTexto 1"/>
          <p:cNvSpPr txBox="1">
            <a:spLocks noChangeArrowheads="1"/>
          </p:cNvSpPr>
          <p:nvPr/>
        </p:nvSpPr>
        <p:spPr bwMode="auto">
          <a:xfrm>
            <a:off x="123098" y="148356"/>
            <a:ext cx="8532813" cy="424732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defTabSz="895350" eaLnBrk="1" hangingPunct="1">
              <a:lnSpc>
                <a:spcPct val="90000"/>
              </a:lnSpc>
              <a:buSzPct val="120000"/>
              <a:tabLst>
                <a:tab pos="357188" algn="l"/>
              </a:tabLst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pt-BR" altLang="pt-BR" dirty="0"/>
              <a:t>Infraestrutura - RODOVIA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6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229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229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229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229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29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229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229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229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229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4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4257" y="3861048"/>
            <a:ext cx="2510706" cy="1561876"/>
          </a:xfrm>
          <a:prstGeom prst="rect">
            <a:avLst/>
          </a:prstGeom>
          <a:noFill/>
          <a:ln>
            <a:noFill/>
          </a:ln>
          <a:effectLst>
            <a:softEdge rad="1016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07" name="Text Box 10"/>
          <p:cNvSpPr txBox="1">
            <a:spLocks noChangeArrowheads="1"/>
          </p:cNvSpPr>
          <p:nvPr/>
        </p:nvSpPr>
        <p:spPr bwMode="auto">
          <a:xfrm>
            <a:off x="73778" y="864159"/>
            <a:ext cx="4970128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95250" indent="-952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altLang="pt-BR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altLang="pt-BR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eroporto</a:t>
            </a:r>
            <a:r>
              <a:rPr lang="en-US" altLang="pt-BR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altLang="pt-BR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rnacional</a:t>
            </a:r>
            <a:r>
              <a:rPr lang="en-US" altLang="pt-BR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e</a:t>
            </a:r>
            <a:r>
              <a:rPr lang="pt-BR" altLang="pt-BR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elém</a:t>
            </a:r>
          </a:p>
          <a:p>
            <a:pPr algn="ctr" eaLnBrk="1" hangingPunct="1">
              <a:spcAft>
                <a:spcPts val="1200"/>
              </a:spcAft>
            </a:pPr>
            <a:r>
              <a:rPr lang="en-US" altLang="pt-BR" sz="2000" dirty="0" err="1"/>
              <a:t>Maior</a:t>
            </a:r>
            <a:r>
              <a:rPr lang="en-US" altLang="pt-BR" sz="2000" dirty="0"/>
              <a:t> </a:t>
            </a:r>
            <a:r>
              <a:rPr lang="en-US" altLang="pt-BR" sz="2000" dirty="0" err="1"/>
              <a:t>aeroporto</a:t>
            </a:r>
            <a:r>
              <a:rPr lang="en-US" altLang="pt-BR" sz="2000" dirty="0"/>
              <a:t> da </a:t>
            </a:r>
            <a:r>
              <a:rPr lang="en-US" altLang="pt-BR" sz="2000" dirty="0" err="1"/>
              <a:t>Região</a:t>
            </a:r>
            <a:r>
              <a:rPr lang="en-US" altLang="pt-BR" sz="2000" dirty="0"/>
              <a:t> Norte do Brasil</a:t>
            </a:r>
          </a:p>
        </p:txBody>
      </p:sp>
      <p:pic>
        <p:nvPicPr>
          <p:cNvPr id="55301" name="Imagem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78" y="1719221"/>
            <a:ext cx="2554006" cy="1696049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sp>
        <p:nvSpPr>
          <p:cNvPr id="47109" name="CaixaDeTexto 1"/>
          <p:cNvSpPr txBox="1">
            <a:spLocks noChangeArrowheads="1"/>
          </p:cNvSpPr>
          <p:nvPr/>
        </p:nvSpPr>
        <p:spPr bwMode="auto">
          <a:xfrm>
            <a:off x="107950" y="115888"/>
            <a:ext cx="9061450" cy="424732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defTabSz="895350" eaLnBrk="1" hangingPunct="1">
              <a:lnSpc>
                <a:spcPct val="90000"/>
              </a:lnSpc>
              <a:buSzPct val="120000"/>
              <a:tabLst>
                <a:tab pos="357188" algn="l"/>
              </a:tabLst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pt-BR" altLang="pt-BR" dirty="0"/>
              <a:t>Infraestrutura - AEROPORTOS</a:t>
            </a:r>
          </a:p>
        </p:txBody>
      </p:sp>
      <p:pic>
        <p:nvPicPr>
          <p:cNvPr id="55300" name="Imagem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783" y="1687756"/>
            <a:ext cx="2596277" cy="1727513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6619" y="3861048"/>
            <a:ext cx="2843213" cy="163281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7112" name="Text Box 10"/>
          <p:cNvSpPr txBox="1">
            <a:spLocks noChangeArrowheads="1"/>
          </p:cNvSpPr>
          <p:nvPr/>
        </p:nvSpPr>
        <p:spPr bwMode="auto">
          <a:xfrm>
            <a:off x="216619" y="3573016"/>
            <a:ext cx="27193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altLang="pt-BR" dirty="0" err="1"/>
              <a:t>Aeroporto</a:t>
            </a:r>
            <a:r>
              <a:rPr lang="en-US" altLang="pt-BR" dirty="0"/>
              <a:t> </a:t>
            </a:r>
            <a:r>
              <a:rPr lang="pt-BR" altLang="pt-BR" dirty="0"/>
              <a:t>de Marabá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49267" y="1682524"/>
            <a:ext cx="2843213" cy="16024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7114" name="Text Box 10"/>
          <p:cNvSpPr txBox="1">
            <a:spLocks noChangeArrowheads="1"/>
          </p:cNvSpPr>
          <p:nvPr/>
        </p:nvSpPr>
        <p:spPr bwMode="auto">
          <a:xfrm>
            <a:off x="5940586" y="1268760"/>
            <a:ext cx="316547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altLang="pt-BR" dirty="0" err="1"/>
              <a:t>Aeroporto</a:t>
            </a:r>
            <a:r>
              <a:rPr lang="en-US" altLang="pt-BR" dirty="0"/>
              <a:t> de Santarém</a:t>
            </a:r>
            <a:endParaRPr lang="pt-BR" altLang="pt-BR" b="1" dirty="0"/>
          </a:p>
        </p:txBody>
      </p:sp>
      <p:sp>
        <p:nvSpPr>
          <p:cNvPr id="47115" name="Text Box 10"/>
          <p:cNvSpPr txBox="1">
            <a:spLocks noChangeArrowheads="1"/>
          </p:cNvSpPr>
          <p:nvPr/>
        </p:nvSpPr>
        <p:spPr bwMode="auto">
          <a:xfrm>
            <a:off x="6300192" y="3573016"/>
            <a:ext cx="27051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altLang="pt-BR" dirty="0" err="1"/>
              <a:t>Aeroporto</a:t>
            </a:r>
            <a:r>
              <a:rPr lang="en-US" altLang="pt-BR" dirty="0"/>
              <a:t> de </a:t>
            </a:r>
            <a:r>
              <a:rPr lang="en-US" altLang="pt-BR" dirty="0" err="1"/>
              <a:t>Itaituba</a:t>
            </a:r>
            <a:endParaRPr lang="pt-BR" altLang="pt-BR" b="1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1154" y="3866332"/>
            <a:ext cx="2507150" cy="15565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7117" name="Text Box 10"/>
          <p:cNvSpPr txBox="1">
            <a:spLocks noChangeArrowheads="1"/>
          </p:cNvSpPr>
          <p:nvPr/>
        </p:nvSpPr>
        <p:spPr bwMode="auto">
          <a:xfrm>
            <a:off x="3307060" y="3573016"/>
            <a:ext cx="27051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altLang="pt-BR" dirty="0" err="1"/>
              <a:t>Aeroporto</a:t>
            </a:r>
            <a:r>
              <a:rPr lang="en-US" altLang="pt-BR" dirty="0"/>
              <a:t> de Altamira</a:t>
            </a:r>
            <a:endParaRPr lang="pt-BR" altLang="pt-BR" b="1" dirty="0"/>
          </a:p>
        </p:txBody>
      </p:sp>
      <p:sp>
        <p:nvSpPr>
          <p:cNvPr id="16" name="CaixaDeTexto 1"/>
          <p:cNvSpPr txBox="1">
            <a:spLocks noChangeArrowheads="1"/>
          </p:cNvSpPr>
          <p:nvPr/>
        </p:nvSpPr>
        <p:spPr bwMode="auto">
          <a:xfrm>
            <a:off x="0" y="5589240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BR" altLang="pt-BR" sz="28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ior infraestrutura aeroportuária do norte do Brasi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7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55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55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75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7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25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7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75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7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25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7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7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750"/>
                            </p:stCondLst>
                            <p:childTnLst>
                              <p:par>
                                <p:cTn id="43" presetID="27" presetClass="emph" presetSubtype="0" repeatCount="indefinite" fill="remove" grpId="0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44" dur="1500" autoRev="1" fill="remov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5" dur="1500" autoRev="1" fill="remove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6" dur="1500" autoRev="1" fill="remove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7" dur="1500" autoRev="1" fill="remove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107" grpId="0"/>
      <p:bldP spid="47112" grpId="0"/>
      <p:bldP spid="47114" grpId="0"/>
      <p:bldP spid="47115" grpId="0"/>
      <p:bldP spid="47117" grpId="0"/>
      <p:bldP spid="1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8" name="Retângulo 1"/>
          <p:cNvSpPr>
            <a:spLocks noChangeArrowheads="1"/>
          </p:cNvSpPr>
          <p:nvPr/>
        </p:nvSpPr>
        <p:spPr bwMode="auto">
          <a:xfrm>
            <a:off x="304455" y="116632"/>
            <a:ext cx="7399783" cy="424732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 eaLnBrk="1" hangingPunct="1">
              <a:lnSpc>
                <a:spcPct val="90000"/>
              </a:lnSpc>
              <a:buSzPct val="120000"/>
              <a:tabLst>
                <a:tab pos="357188" algn="l"/>
              </a:tabLst>
            </a:pPr>
            <a:r>
              <a:rPr lang="pt-BR" alt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CURSOS HÍDRICOS</a:t>
            </a: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l="43474" t="1463" r="10776" b="19205"/>
          <a:stretch/>
        </p:blipFill>
        <p:spPr>
          <a:xfrm>
            <a:off x="107504" y="764704"/>
            <a:ext cx="5563514" cy="5426706"/>
          </a:xfrm>
          <a:prstGeom prst="rect">
            <a:avLst/>
          </a:prstGeom>
        </p:spPr>
      </p:pic>
      <p:sp>
        <p:nvSpPr>
          <p:cNvPr id="11" name="Retângulo com Único Canto Aparado 10"/>
          <p:cNvSpPr/>
          <p:nvPr/>
        </p:nvSpPr>
        <p:spPr>
          <a:xfrm>
            <a:off x="4860032" y="4031521"/>
            <a:ext cx="3886299" cy="676378"/>
          </a:xfrm>
          <a:prstGeom prst="snip1Rect">
            <a:avLst/>
          </a:prstGeom>
          <a:noFill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marL="342900" indent="-339725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just">
              <a:spcBef>
                <a:spcPts val="490"/>
              </a:spcBef>
              <a:buSzPct val="90000"/>
              <a:defRPr/>
            </a:pPr>
            <a:r>
              <a:rPr 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62% </a:t>
            </a:r>
            <a:r>
              <a:rPr lang="pt-BR" sz="18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do total de água doce da Amazônia </a:t>
            </a:r>
          </a:p>
        </p:txBody>
      </p:sp>
      <p:sp>
        <p:nvSpPr>
          <p:cNvPr id="12" name="Retângulo com Único Canto Aparado 11"/>
          <p:cNvSpPr/>
          <p:nvPr/>
        </p:nvSpPr>
        <p:spPr>
          <a:xfrm>
            <a:off x="5508091" y="2388145"/>
            <a:ext cx="4130692" cy="420070"/>
          </a:xfrm>
          <a:prstGeom prst="snip1Rect">
            <a:avLst/>
          </a:prstGeom>
          <a:noFill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339154" indent="-336042" algn="just" fontAlgn="auto">
              <a:spcBef>
                <a:spcPts val="490"/>
              </a:spcBef>
              <a:spcAft>
                <a:spcPts val="0"/>
              </a:spcAft>
              <a:buSzPct val="90000"/>
              <a:tabLst>
                <a:tab pos="336042" algn="l"/>
                <a:tab pos="774764" algn="l"/>
                <a:tab pos="1215041" algn="l"/>
                <a:tab pos="1655318" algn="l"/>
                <a:tab pos="2095596" algn="l"/>
                <a:tab pos="2535873" algn="l"/>
                <a:tab pos="2976150" algn="l"/>
                <a:tab pos="3416427" algn="l"/>
                <a:tab pos="3856705" algn="l"/>
                <a:tab pos="4296982" algn="l"/>
                <a:tab pos="4737259" algn="l"/>
                <a:tab pos="5177536" algn="l"/>
                <a:tab pos="5617814" algn="l"/>
                <a:tab pos="6058091" algn="l"/>
                <a:tab pos="6498368" algn="l"/>
                <a:tab pos="6938645" algn="l"/>
                <a:tab pos="7378923" algn="l"/>
                <a:tab pos="7819200" algn="l"/>
                <a:tab pos="8259477" algn="l"/>
                <a:tab pos="8699754" algn="l"/>
                <a:tab pos="9140032" algn="l"/>
              </a:tabLst>
              <a:defRPr/>
            </a:pPr>
            <a:r>
              <a:rPr 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40% </a:t>
            </a:r>
            <a:r>
              <a:rPr lang="pt-BR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o estoque nacional </a:t>
            </a:r>
          </a:p>
        </p:txBody>
      </p:sp>
      <p:sp>
        <p:nvSpPr>
          <p:cNvPr id="19" name="Retângulo com Único Canto Aparado 18"/>
          <p:cNvSpPr/>
          <p:nvPr/>
        </p:nvSpPr>
        <p:spPr>
          <a:xfrm>
            <a:off x="5255796" y="3260849"/>
            <a:ext cx="4130692" cy="420070"/>
          </a:xfrm>
          <a:prstGeom prst="snip1Rect">
            <a:avLst/>
          </a:prstGeom>
          <a:noFill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marL="342900" indent="-339725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just">
              <a:spcBef>
                <a:spcPts val="490"/>
              </a:spcBef>
              <a:buSzPct val="90000"/>
              <a:defRPr/>
            </a:pPr>
            <a:r>
              <a:rPr 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3,2%  </a:t>
            </a:r>
            <a:r>
              <a:rPr lang="pt-BR" sz="18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de água do Planeta</a:t>
            </a:r>
          </a:p>
        </p:txBody>
      </p:sp>
      <p:sp>
        <p:nvSpPr>
          <p:cNvPr id="20" name="Retângulo com Único Canto Aparado 19"/>
          <p:cNvSpPr/>
          <p:nvPr/>
        </p:nvSpPr>
        <p:spPr>
          <a:xfrm>
            <a:off x="4211960" y="1417406"/>
            <a:ext cx="4130692" cy="420070"/>
          </a:xfrm>
          <a:prstGeom prst="snip1Rect">
            <a:avLst/>
          </a:prstGeom>
          <a:noFill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marL="342900" indent="-339725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just">
              <a:spcBef>
                <a:spcPts val="490"/>
              </a:spcBef>
              <a:buSzPct val="90000"/>
              <a:defRPr/>
            </a:pPr>
            <a:r>
              <a:rPr 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&gt; 20 mil km </a:t>
            </a:r>
            <a:r>
              <a:rPr lang="pt-BR" sz="18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de vias navegáveis</a:t>
            </a:r>
          </a:p>
        </p:txBody>
      </p:sp>
      <p:sp>
        <p:nvSpPr>
          <p:cNvPr id="21" name="Retângulo com Único Canto Aparado 20"/>
          <p:cNvSpPr/>
          <p:nvPr/>
        </p:nvSpPr>
        <p:spPr>
          <a:xfrm>
            <a:off x="4434860" y="5167680"/>
            <a:ext cx="4130692" cy="953636"/>
          </a:xfrm>
          <a:prstGeom prst="snip1Rect">
            <a:avLst/>
          </a:prstGeom>
          <a:noFill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marL="342900" indent="-339725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  <a:tab pos="790575" algn="l"/>
                <a:tab pos="1239838" algn="l"/>
                <a:tab pos="1689100" algn="l"/>
                <a:tab pos="2138363" algn="l"/>
                <a:tab pos="2587625" algn="l"/>
                <a:tab pos="3036888" algn="l"/>
                <a:tab pos="3486150" algn="l"/>
                <a:tab pos="3935413" algn="l"/>
                <a:tab pos="4384675" algn="l"/>
                <a:tab pos="4833938" algn="l"/>
                <a:tab pos="5283200" algn="l"/>
                <a:tab pos="5732463" algn="l"/>
                <a:tab pos="6181725" algn="l"/>
                <a:tab pos="6630988" algn="l"/>
                <a:tab pos="7080250" algn="l"/>
                <a:tab pos="7529513" algn="l"/>
                <a:tab pos="7978775" algn="l"/>
                <a:tab pos="8428038" algn="l"/>
                <a:tab pos="8877300" algn="l"/>
                <a:tab pos="9326563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ts val="490"/>
              </a:spcBef>
              <a:buSzPct val="90000"/>
              <a:defRPr/>
            </a:pPr>
            <a:r>
              <a:rPr lang="pt-BR" sz="3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25% </a:t>
            </a:r>
            <a:r>
              <a:rPr lang="pt-BR" sz="18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de todo o potencial hidrelétrico brasileiro, dos quais 85% ainda não aproveitado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3" name="CaixaDeTexto 1"/>
          <p:cNvSpPr txBox="1">
            <a:spLocks noChangeArrowheads="1"/>
          </p:cNvSpPr>
          <p:nvPr/>
        </p:nvSpPr>
        <p:spPr bwMode="auto">
          <a:xfrm>
            <a:off x="238065" y="116632"/>
            <a:ext cx="8820472" cy="424732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defTabSz="895350" eaLnBrk="1" hangingPunct="1">
              <a:lnSpc>
                <a:spcPct val="90000"/>
              </a:lnSpc>
              <a:buSzPct val="120000"/>
              <a:tabLst>
                <a:tab pos="357188" algn="l"/>
              </a:tabLst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pt-BR" altLang="pt-BR" dirty="0"/>
              <a:t>Investimentos Previstos até 2020 – U$</a:t>
            </a:r>
          </a:p>
        </p:txBody>
      </p:sp>
      <p:sp>
        <p:nvSpPr>
          <p:cNvPr id="7" name="Text Box 6"/>
          <p:cNvSpPr txBox="1"/>
          <p:nvPr/>
        </p:nvSpPr>
        <p:spPr>
          <a:xfrm>
            <a:off x="251520" y="6385733"/>
            <a:ext cx="3311525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pt-BR" sz="1200" b="1" kern="0" dirty="0">
                <a:solidFill>
                  <a:schemeClr val="bg1"/>
                </a:solidFill>
                <a:latin typeface="Arial"/>
                <a:ea typeface="+mn-ea"/>
                <a:cs typeface="Arial" pitchFamily="34"/>
              </a:rPr>
              <a:t>Fonte: REDES/FIEPA, 2016</a:t>
            </a:r>
          </a:p>
        </p:txBody>
      </p:sp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7358721"/>
              </p:ext>
            </p:extLst>
          </p:nvPr>
        </p:nvGraphicFramePr>
        <p:xfrm>
          <a:off x="179512" y="1279844"/>
          <a:ext cx="8784976" cy="4597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3000"/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 uiExpand="1">
        <p:bldSub>
          <a:bldChart bld="series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6"/>
          <p:cNvSpPr txBox="1"/>
          <p:nvPr/>
        </p:nvSpPr>
        <p:spPr>
          <a:xfrm>
            <a:off x="249933" y="6381328"/>
            <a:ext cx="3311525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eaLnBrk="1" fontAlgn="auto" hangingPunct="1">
              <a:spcBef>
                <a:spcPts val="800"/>
              </a:spcBef>
              <a:spcAft>
                <a:spcPts val="0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pt-BR" sz="1200" b="1" kern="0" dirty="0">
                <a:solidFill>
                  <a:schemeClr val="bg1"/>
                </a:solidFill>
                <a:latin typeface="Arial"/>
                <a:ea typeface="+mn-ea"/>
                <a:cs typeface="Arial" pitchFamily="34"/>
              </a:rPr>
              <a:t>Fonte: PDF/FIEPA</a:t>
            </a:r>
          </a:p>
        </p:txBody>
      </p:sp>
      <p:sp>
        <p:nvSpPr>
          <p:cNvPr id="57347" name="ZoneTexte 3"/>
          <p:cNvSpPr txBox="1">
            <a:spLocks noChangeArrowheads="1"/>
          </p:cNvSpPr>
          <p:nvPr/>
        </p:nvSpPr>
        <p:spPr bwMode="auto">
          <a:xfrm>
            <a:off x="6516216" y="5491384"/>
            <a:ext cx="216058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fr-CH" altLang="pt-BR" sz="1600" b="1" dirty="0">
                <a:solidFill>
                  <a:schemeClr val="bg1">
                    <a:lumMod val="65000"/>
                  </a:schemeClr>
                </a:solidFill>
              </a:rPr>
              <a:t>Período: 2015 - 2020</a:t>
            </a:r>
          </a:p>
        </p:txBody>
      </p:sp>
      <p:sp>
        <p:nvSpPr>
          <p:cNvPr id="57386" name="CaixaDeTexto 1"/>
          <p:cNvSpPr txBox="1">
            <a:spLocks noChangeArrowheads="1"/>
          </p:cNvSpPr>
          <p:nvPr/>
        </p:nvSpPr>
        <p:spPr bwMode="auto">
          <a:xfrm>
            <a:off x="899368" y="118373"/>
            <a:ext cx="69850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BR" altLang="pt-BR" sz="3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tureza dos Investimentos</a:t>
            </a: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612926"/>
              </p:ext>
            </p:extLst>
          </p:nvPr>
        </p:nvGraphicFramePr>
        <p:xfrm>
          <a:off x="107504" y="1628800"/>
          <a:ext cx="8856984" cy="3513697"/>
        </p:xfrm>
        <a:graphic>
          <a:graphicData uri="http://schemas.openxmlformats.org/drawingml/2006/table">
            <a:tbl>
              <a:tblPr/>
              <a:tblGrid>
                <a:gridCol w="5040560">
                  <a:extLst>
                    <a:ext uri="{9D8B030D-6E8A-4147-A177-3AD203B41FA5}">
                      <a16:colId xmlns:a16="http://schemas.microsoft.com/office/drawing/2014/main" val="2429986191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4045339455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3611922715"/>
                    </a:ext>
                  </a:extLst>
                </a:gridCol>
              </a:tblGrid>
              <a:tr h="95378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SEGMENTO (</a:t>
                      </a:r>
                      <a:r>
                        <a:rPr lang="pt-BR" sz="2400" b="1" i="0" u="none" strike="noStrike" dirty="0" err="1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Segment</a:t>
                      </a:r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INVESTIMENTO (</a:t>
                      </a:r>
                      <a:r>
                        <a:rPr lang="pt-BR" sz="2400" b="1" i="0" u="none" strike="noStrike" dirty="0" err="1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Investiments</a:t>
                      </a:r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) U$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154681"/>
                  </a:ext>
                </a:extLst>
              </a:tr>
              <a:tr h="354262"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raestrutura e Logística (Infrastructure and Logistics)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2 b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7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0281928"/>
                  </a:ext>
                </a:extLst>
              </a:tr>
              <a:tr h="354262"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gia (Energy)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9 b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1136675"/>
                  </a:ext>
                </a:extLst>
              </a:tr>
              <a:tr h="354262"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neração (Mining)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3 b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0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442870"/>
                  </a:ext>
                </a:extLst>
              </a:tr>
              <a:tr h="354262"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ústrias em Geral (General industry)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 b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2704110"/>
                  </a:ext>
                </a:extLst>
              </a:tr>
              <a:tr h="354262"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ronegócio (Agribusiness)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 b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801349"/>
                  </a:ext>
                </a:extLst>
              </a:tr>
              <a:tr h="354262"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tróleo e Gás (Oil and Gas)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m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118780"/>
                  </a:ext>
                </a:extLst>
              </a:tr>
              <a:tr h="422391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b="1" i="0" u="none" strike="noStrike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1" i="0" u="none" strike="noStrike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51 b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b="1" i="0" u="none" strike="noStrike" dirty="0">
                          <a:solidFill>
                            <a:srgbClr val="FF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1606081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250" fill="hold"/>
                                        <p:tgtEl>
                                          <p:spTgt spid="573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573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250"/>
                                        <p:tgtEl>
                                          <p:spTgt spid="57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34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1" name="Retângulo 3"/>
          <p:cNvSpPr>
            <a:spLocks noChangeArrowheads="1"/>
          </p:cNvSpPr>
          <p:nvPr/>
        </p:nvSpPr>
        <p:spPr bwMode="auto">
          <a:xfrm>
            <a:off x="0" y="115888"/>
            <a:ext cx="8964613" cy="424732"/>
          </a:xfrm>
          <a:prstGeom prst="rect">
            <a:avLst/>
          </a:prstGeom>
          <a:noFill/>
          <a:ln>
            <a:noFill/>
          </a:ln>
          <a:effectLst>
            <a:outerShdw blurRad="101600" dist="889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3462" rIns="73462" bIns="73462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 eaLnBrk="1" hangingPunct="1">
              <a:lnSpc>
                <a:spcPct val="90000"/>
              </a:lnSpc>
              <a:buSzPct val="120000"/>
              <a:tabLst>
                <a:tab pos="357188" algn="l"/>
              </a:tabLst>
            </a:pPr>
            <a:r>
              <a:rPr lang="pt-BR" alt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CURSOS MINERAIS NO ESTADO DO PARÁ</a:t>
            </a:r>
          </a:p>
        </p:txBody>
      </p:sp>
      <p:grpSp>
        <p:nvGrpSpPr>
          <p:cNvPr id="2" name="Agrupar 1"/>
          <p:cNvGrpSpPr/>
          <p:nvPr/>
        </p:nvGrpSpPr>
        <p:grpSpPr>
          <a:xfrm>
            <a:off x="357188" y="692150"/>
            <a:ext cx="8916987" cy="5502275"/>
            <a:chOff x="357188" y="692150"/>
            <a:chExt cx="8916987" cy="5502275"/>
          </a:xfrm>
        </p:grpSpPr>
        <p:grpSp>
          <p:nvGrpSpPr>
            <p:cNvPr id="58370" name="Grupo 25"/>
            <p:cNvGrpSpPr>
              <a:grpSpLocks/>
            </p:cNvGrpSpPr>
            <p:nvPr/>
          </p:nvGrpSpPr>
          <p:grpSpPr bwMode="auto">
            <a:xfrm>
              <a:off x="357188" y="692150"/>
              <a:ext cx="8916987" cy="5502275"/>
              <a:chOff x="479376" y="1196753"/>
              <a:chExt cx="11891864" cy="4670950"/>
            </a:xfrm>
          </p:grpSpPr>
          <p:grpSp>
            <p:nvGrpSpPr>
              <p:cNvPr id="58379" name="Group 38"/>
              <p:cNvGrpSpPr>
                <a:grpSpLocks/>
              </p:cNvGrpSpPr>
              <p:nvPr/>
            </p:nvGrpSpPr>
            <p:grpSpPr bwMode="auto">
              <a:xfrm>
                <a:off x="479376" y="1196753"/>
                <a:ext cx="11891864" cy="4670950"/>
                <a:chOff x="489138" y="1142976"/>
                <a:chExt cx="8277209" cy="4180977"/>
              </a:xfrm>
            </p:grpSpPr>
            <p:pic>
              <p:nvPicPr>
                <p:cNvPr id="58386" name="Picture 1"/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9138" y="1142976"/>
                  <a:ext cx="4610975" cy="4180977"/>
                </a:xfrm>
                <a:prstGeom prst="rect">
                  <a:avLst/>
                </a:prstGeom>
                <a:no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4" name="Oval 13"/>
                <p:cNvSpPr>
                  <a:spLocks noChangeArrowheads="1"/>
                </p:cNvSpPr>
                <p:nvPr/>
              </p:nvSpPr>
              <p:spPr bwMode="auto">
                <a:xfrm>
                  <a:off x="1396875" y="2025975"/>
                  <a:ext cx="272615" cy="284683"/>
                </a:xfrm>
                <a:prstGeom prst="ellipse">
                  <a:avLst/>
                </a:prstGeom>
                <a:blipFill dpi="0" rotWithShape="1">
                  <a:blip r:embed="rId3"/>
                  <a:srcRect/>
                  <a:tile tx="0" ty="0" sx="100000" sy="100000" flip="none" algn="tl"/>
                </a:blipFill>
                <a:ln w="9525">
                  <a:solidFill>
                    <a:srgbClr val="4A7EBB"/>
                  </a:solidFill>
                  <a:round/>
                  <a:headEnd/>
                  <a:tailEnd/>
                </a:ln>
                <a:effectLst>
                  <a:outerShdw blurRad="40000" dist="23000" dir="5400000" rotWithShape="0">
                    <a:srgbClr val="808080">
                      <a:alpha val="34998"/>
                    </a:srgbClr>
                  </a:outerShdw>
                </a:effectLst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solidFill>
                      <a:schemeClr val="lt1"/>
                    </a:solidFill>
                    <a:latin typeface="+mn-lt"/>
                    <a:ea typeface="+mn-ea"/>
                  </a:endParaRPr>
                </a:p>
              </p:txBody>
            </p:sp>
            <p:sp>
              <p:nvSpPr>
                <p:cNvPr id="5" name="Oval 14"/>
                <p:cNvSpPr>
                  <a:spLocks noChangeArrowheads="1"/>
                </p:cNvSpPr>
                <p:nvPr/>
              </p:nvSpPr>
              <p:spPr bwMode="auto">
                <a:xfrm>
                  <a:off x="1492659" y="2494013"/>
                  <a:ext cx="271142" cy="284683"/>
                </a:xfrm>
                <a:prstGeom prst="ellipse">
                  <a:avLst/>
                </a:prstGeom>
                <a:blipFill dpi="0" rotWithShape="1">
                  <a:blip r:embed="rId3"/>
                  <a:srcRect/>
                  <a:tile tx="0" ty="0" sx="100000" sy="100000" flip="none" algn="tl"/>
                </a:blipFill>
                <a:ln w="9525">
                  <a:solidFill>
                    <a:srgbClr val="4A7EBB"/>
                  </a:solidFill>
                  <a:round/>
                  <a:headEnd/>
                  <a:tailEnd/>
                </a:ln>
                <a:effectLst>
                  <a:outerShdw blurRad="40000" dist="23000" dir="5400000" rotWithShape="0">
                    <a:srgbClr val="808080">
                      <a:alpha val="34998"/>
                    </a:srgbClr>
                  </a:outerShdw>
                </a:effectLst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>
                    <a:solidFill>
                      <a:schemeClr val="lt1"/>
                    </a:solidFill>
                    <a:latin typeface="+mn-lt"/>
                    <a:ea typeface="+mn-ea"/>
                  </a:endParaRPr>
                </a:p>
              </p:txBody>
            </p:sp>
            <p:cxnSp>
              <p:nvCxnSpPr>
                <p:cNvPr id="6" name="Straight Arrow Connector 5"/>
                <p:cNvCxnSpPr>
                  <a:cxnSpLocks noChangeShapeType="1"/>
                </p:cNvCxnSpPr>
                <p:nvPr/>
              </p:nvCxnSpPr>
              <p:spPr bwMode="auto">
                <a:xfrm flipV="1">
                  <a:off x="3636747" y="3446977"/>
                  <a:ext cx="1816948" cy="670693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arrow" w="med" len="med"/>
                </a:ln>
                <a:effectLst>
                  <a:outerShdw blurRad="40000" dist="20000" dir="5400000" rotWithShape="0">
                    <a:srgbClr val="808080">
                      <a:alpha val="37999"/>
                    </a:srgb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7" name="Straight Arrow Connector 7"/>
                <p:cNvCxnSpPr>
                  <a:cxnSpLocks noChangeShapeType="1"/>
                </p:cNvCxnSpPr>
                <p:nvPr/>
              </p:nvCxnSpPr>
              <p:spPr bwMode="auto">
                <a:xfrm flipV="1">
                  <a:off x="3527701" y="3958441"/>
                  <a:ext cx="1925994" cy="115803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arrow" w="med" len="med"/>
                </a:ln>
                <a:effectLst>
                  <a:outerShdw blurRad="40000" dist="20000" dir="5400000" rotWithShape="0">
                    <a:srgbClr val="808080">
                      <a:alpha val="37999"/>
                    </a:srgb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8" name="Straight Arrow Connector 9"/>
                <p:cNvCxnSpPr>
                  <a:cxnSpLocks noChangeShapeType="1"/>
                </p:cNvCxnSpPr>
                <p:nvPr/>
              </p:nvCxnSpPr>
              <p:spPr bwMode="auto">
                <a:xfrm>
                  <a:off x="3678008" y="3994629"/>
                  <a:ext cx="1775687" cy="581428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arrow" w="med" len="med"/>
                </a:ln>
                <a:effectLst>
                  <a:outerShdw blurRad="40000" dist="20000" dir="5400000" rotWithShape="0">
                    <a:srgbClr val="808080">
                      <a:alpha val="37999"/>
                    </a:srgb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sp>
              <p:nvSpPr>
                <p:cNvPr id="58392" name="TextBox 10"/>
                <p:cNvSpPr txBox="1">
                  <a:spLocks noChangeArrowheads="1"/>
                </p:cNvSpPr>
                <p:nvPr/>
              </p:nvSpPr>
              <p:spPr bwMode="auto">
                <a:xfrm>
                  <a:off x="5544336" y="3156957"/>
                  <a:ext cx="2331612" cy="53797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r>
                    <a:rPr lang="en-US" altLang="pt-BR" sz="1600" b="1">
                      <a:cs typeface="Arial" panose="020B0604020202020204" pitchFamily="34" charset="0"/>
                    </a:rPr>
                    <a:t>FERRO</a:t>
                  </a:r>
                  <a:r>
                    <a:rPr lang="en-US" altLang="pt-BR" sz="1200">
                      <a:cs typeface="Arial" panose="020B0604020202020204" pitchFamily="34" charset="0"/>
                    </a:rPr>
                    <a:t>   </a:t>
                  </a:r>
                </a:p>
                <a:p>
                  <a:r>
                    <a:rPr lang="en-US" altLang="pt-BR" sz="1200" b="1">
                      <a:cs typeface="Arial" panose="020B0604020202020204" pitchFamily="34" charset="0"/>
                      <a:sym typeface="Arial" panose="020B0604020202020204" pitchFamily="34" charset="0"/>
                    </a:rPr>
                    <a:t>2ª Maior reserva do BR (18 %)        </a:t>
                  </a:r>
                </a:p>
                <a:p>
                  <a:r>
                    <a:rPr lang="en-US" altLang="pt-BR" sz="1200" b="1">
                      <a:cs typeface="Arial" panose="020B0604020202020204" pitchFamily="34" charset="0"/>
                      <a:sym typeface="Arial" panose="020B0604020202020204" pitchFamily="34" charset="0"/>
                    </a:rPr>
                    <a:t>2ª Produtor do BR (32%)</a:t>
                  </a:r>
                </a:p>
              </p:txBody>
            </p:sp>
            <p:sp>
              <p:nvSpPr>
                <p:cNvPr id="58393" name="TextBox 23"/>
                <p:cNvSpPr txBox="1">
                  <a:spLocks noChangeArrowheads="1"/>
                </p:cNvSpPr>
                <p:nvPr/>
              </p:nvSpPr>
              <p:spPr bwMode="auto">
                <a:xfrm>
                  <a:off x="5544336" y="3759202"/>
                  <a:ext cx="2139631" cy="5964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>
                    <a:spcBef>
                      <a:spcPts val="300"/>
                    </a:spcBef>
                  </a:pPr>
                  <a:r>
                    <a:rPr lang="en-US" altLang="pt-BR" sz="1600" b="1">
                      <a:cs typeface="Arial" panose="020B0604020202020204" pitchFamily="34" charset="0"/>
                    </a:rPr>
                    <a:t>COBRE</a:t>
                  </a:r>
                  <a:r>
                    <a:rPr lang="en-US" altLang="pt-BR" sz="1200">
                      <a:cs typeface="Arial" panose="020B0604020202020204" pitchFamily="34" charset="0"/>
                    </a:rPr>
                    <a:t>  </a:t>
                  </a:r>
                </a:p>
                <a:p>
                  <a:pPr>
                    <a:spcBef>
                      <a:spcPts val="300"/>
                    </a:spcBef>
                  </a:pPr>
                  <a:r>
                    <a:rPr lang="en-US" altLang="pt-BR" sz="1200">
                      <a:cs typeface="Arial" panose="020B0604020202020204" pitchFamily="34" charset="0"/>
                    </a:rPr>
                    <a:t> </a:t>
                  </a:r>
                  <a:r>
                    <a:rPr lang="en-US" altLang="pt-BR" sz="1200" b="1">
                      <a:cs typeface="Arial" panose="020B0604020202020204" pitchFamily="34" charset="0"/>
                      <a:sym typeface="Arial" panose="020B0604020202020204" pitchFamily="34" charset="0"/>
                    </a:rPr>
                    <a:t>Maior reserva do BR (85%)</a:t>
                  </a:r>
                </a:p>
                <a:p>
                  <a:pPr>
                    <a:spcBef>
                      <a:spcPts val="300"/>
                    </a:spcBef>
                  </a:pPr>
                  <a:r>
                    <a:rPr lang="en-US" altLang="pt-BR" sz="1200" b="1">
                      <a:cs typeface="Arial" panose="020B0604020202020204" pitchFamily="34" charset="0"/>
                      <a:sym typeface="Arial" panose="020B0604020202020204" pitchFamily="34" charset="0"/>
                    </a:rPr>
                    <a:t>1º Produtor do BR (46%)</a:t>
                  </a:r>
                </a:p>
              </p:txBody>
            </p:sp>
            <p:sp>
              <p:nvSpPr>
                <p:cNvPr id="58394" name="TextBox 24"/>
                <p:cNvSpPr txBox="1">
                  <a:spLocks noChangeArrowheads="1"/>
                </p:cNvSpPr>
                <p:nvPr/>
              </p:nvSpPr>
              <p:spPr bwMode="auto">
                <a:xfrm>
                  <a:off x="5507433" y="4510182"/>
                  <a:ext cx="1701143" cy="73679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>
                    <a:spcBef>
                      <a:spcPts val="300"/>
                    </a:spcBef>
                  </a:pPr>
                  <a:r>
                    <a:rPr lang="en-US" altLang="pt-BR" sz="1600" b="1">
                      <a:cs typeface="Arial" panose="020B0604020202020204" pitchFamily="34" charset="0"/>
                    </a:rPr>
                    <a:t>NÍQUEL</a:t>
                  </a:r>
                  <a:r>
                    <a:rPr lang="en-US" altLang="pt-BR" sz="1200" b="1">
                      <a:cs typeface="Arial" panose="020B0604020202020204" pitchFamily="34" charset="0"/>
                    </a:rPr>
                    <a:t>  </a:t>
                  </a:r>
                </a:p>
                <a:p>
                  <a:pPr>
                    <a:spcBef>
                      <a:spcPts val="300"/>
                    </a:spcBef>
                  </a:pPr>
                  <a:r>
                    <a:rPr lang="en-US" altLang="pt-BR" sz="1200" b="1">
                      <a:cs typeface="Arial" panose="020B0604020202020204" pitchFamily="34" charset="0"/>
                    </a:rPr>
                    <a:t>2ª</a:t>
                  </a:r>
                  <a:r>
                    <a:rPr lang="en-US" altLang="pt-BR" sz="1200">
                      <a:cs typeface="Arial" panose="020B0604020202020204" pitchFamily="34" charset="0"/>
                    </a:rPr>
                    <a:t> </a:t>
                  </a:r>
                  <a:r>
                    <a:rPr lang="en-US" altLang="pt-BR" sz="1200" b="1">
                      <a:cs typeface="Arial" panose="020B0604020202020204" pitchFamily="34" charset="0"/>
                      <a:sym typeface="Arial" panose="020B0604020202020204" pitchFamily="34" charset="0"/>
                    </a:rPr>
                    <a:t>Maior reserva do BR (35%)</a:t>
                  </a:r>
                </a:p>
                <a:p>
                  <a:pPr>
                    <a:spcBef>
                      <a:spcPts val="300"/>
                    </a:spcBef>
                  </a:pPr>
                  <a:r>
                    <a:rPr lang="en-US" altLang="pt-BR" sz="1200" b="1">
                      <a:cs typeface="Arial" panose="020B0604020202020204" pitchFamily="34" charset="0"/>
                      <a:sym typeface="Arial" panose="020B0604020202020204" pitchFamily="34" charset="0"/>
                    </a:rPr>
                    <a:t>3º Produtor do BR</a:t>
                  </a:r>
                </a:p>
              </p:txBody>
            </p:sp>
            <p:sp>
              <p:nvSpPr>
                <p:cNvPr id="58395" name="TextBox 25"/>
                <p:cNvSpPr txBox="1">
                  <a:spLocks noChangeArrowheads="1"/>
                </p:cNvSpPr>
                <p:nvPr/>
              </p:nvSpPr>
              <p:spPr bwMode="auto">
                <a:xfrm>
                  <a:off x="7074899" y="4426262"/>
                  <a:ext cx="1691448" cy="87714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pPr>
                    <a:spcBef>
                      <a:spcPts val="300"/>
                    </a:spcBef>
                  </a:pPr>
                  <a:r>
                    <a:rPr lang="en-US" altLang="pt-BR" sz="1600" b="1">
                      <a:cs typeface="Arial" panose="020B0604020202020204" pitchFamily="34" charset="0"/>
                    </a:rPr>
                    <a:t>MANGANÊS</a:t>
                  </a:r>
                  <a:r>
                    <a:rPr lang="en-US" altLang="pt-BR" sz="1200" b="1">
                      <a:cs typeface="Arial" panose="020B0604020202020204" pitchFamily="34" charset="0"/>
                    </a:rPr>
                    <a:t>  </a:t>
                  </a:r>
                </a:p>
                <a:p>
                  <a:pPr>
                    <a:spcBef>
                      <a:spcPts val="300"/>
                    </a:spcBef>
                  </a:pPr>
                  <a:r>
                    <a:rPr lang="en-US" altLang="pt-BR" sz="1200" b="1">
                      <a:solidFill>
                        <a:srgbClr val="000000"/>
                      </a:solidFill>
                      <a:cs typeface="Arial" panose="020B0604020202020204" pitchFamily="34" charset="0"/>
                      <a:sym typeface="Arial" panose="020B0604020202020204" pitchFamily="34" charset="0"/>
                    </a:rPr>
                    <a:t>Maior reserva do BR (46%)</a:t>
                  </a:r>
                </a:p>
                <a:p>
                  <a:pPr>
                    <a:spcBef>
                      <a:spcPts val="300"/>
                    </a:spcBef>
                  </a:pPr>
                  <a:r>
                    <a:rPr lang="en-US" altLang="pt-BR" sz="1200" b="1">
                      <a:solidFill>
                        <a:srgbClr val="000000"/>
                      </a:solidFill>
                      <a:cs typeface="Arial" panose="020B0604020202020204" pitchFamily="34" charset="0"/>
                      <a:sym typeface="Arial" panose="020B0604020202020204" pitchFamily="34" charset="0"/>
                    </a:rPr>
                    <a:t>1º Produtor do BR (82%)</a:t>
                  </a:r>
                </a:p>
              </p:txBody>
            </p:sp>
            <p:cxnSp>
              <p:nvCxnSpPr>
                <p:cNvPr id="13" name="Straight Arrow Connector 26"/>
                <p:cNvCxnSpPr>
                  <a:cxnSpLocks noChangeShapeType="1"/>
                </p:cNvCxnSpPr>
                <p:nvPr/>
              </p:nvCxnSpPr>
              <p:spPr bwMode="auto">
                <a:xfrm>
                  <a:off x="3866628" y="4042880"/>
                  <a:ext cx="3208026" cy="493370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arrow" w="med" len="med"/>
                </a:ln>
                <a:effectLst>
                  <a:outerShdw blurRad="40000" dist="20000" dir="5400000" rotWithShape="0">
                    <a:srgbClr val="808080">
                      <a:alpha val="37999"/>
                    </a:srgb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4" name="Straight Arrow Connector 33"/>
                <p:cNvCxnSpPr>
                  <a:cxnSpLocks noChangeShapeType="1"/>
                  <a:stCxn id="4" idx="6"/>
                </p:cNvCxnSpPr>
                <p:nvPr/>
              </p:nvCxnSpPr>
              <p:spPr bwMode="auto">
                <a:xfrm flipV="1">
                  <a:off x="1669491" y="2105590"/>
                  <a:ext cx="3818097" cy="62727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arrow" w="med" len="med"/>
                </a:ln>
                <a:effectLst>
                  <a:outerShdw blurRad="40000" dist="20000" dir="5400000" rotWithShape="0">
                    <a:srgbClr val="808080">
                      <a:alpha val="37999"/>
                    </a:srgb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cxnSp>
              <p:nvCxnSpPr>
                <p:cNvPr id="15" name="Straight Arrow Connector 36"/>
                <p:cNvCxnSpPr>
                  <a:cxnSpLocks noChangeShapeType="1"/>
                  <a:stCxn id="5" idx="6"/>
                </p:cNvCxnSpPr>
                <p:nvPr/>
              </p:nvCxnSpPr>
              <p:spPr bwMode="auto">
                <a:xfrm flipV="1">
                  <a:off x="1763801" y="2105590"/>
                  <a:ext cx="3790098" cy="530765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arrow" w="med" len="med"/>
                </a:ln>
                <a:effectLst>
                  <a:outerShdw blurRad="40000" dist="20000" dir="5400000" rotWithShape="0">
                    <a:srgbClr val="808080">
                      <a:alpha val="37999"/>
                    </a:srgb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sp>
              <p:nvSpPr>
                <p:cNvPr id="58399" name="TextBox 42"/>
                <p:cNvSpPr txBox="1">
                  <a:spLocks noChangeArrowheads="1"/>
                </p:cNvSpPr>
                <p:nvPr/>
              </p:nvSpPr>
              <p:spPr bwMode="auto">
                <a:xfrm>
                  <a:off x="5580442" y="1821175"/>
                  <a:ext cx="2020672" cy="53797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r>
                    <a:rPr lang="en-US" altLang="pt-BR" sz="1600" b="1">
                      <a:cs typeface="Arial" panose="020B0604020202020204" pitchFamily="34" charset="0"/>
                    </a:rPr>
                    <a:t>ALUMINIO   </a:t>
                  </a:r>
                </a:p>
                <a:p>
                  <a:r>
                    <a:rPr lang="en-US" altLang="pt-BR" sz="1200" b="1">
                      <a:cs typeface="Arial" panose="020B0604020202020204" pitchFamily="34" charset="0"/>
                      <a:sym typeface="Arial" panose="020B0604020202020204" pitchFamily="34" charset="0"/>
                    </a:rPr>
                    <a:t>Maior reserva do BR (77 %) </a:t>
                  </a:r>
                </a:p>
                <a:p>
                  <a:r>
                    <a:rPr lang="en-US" altLang="pt-BR" sz="1200" b="1">
                      <a:cs typeface="Arial" panose="020B0604020202020204" pitchFamily="34" charset="0"/>
                      <a:sym typeface="Arial" panose="020B0604020202020204" pitchFamily="34" charset="0"/>
                    </a:rPr>
                    <a:t>1ª Produtor do BR (80%)</a:t>
                  </a:r>
                </a:p>
              </p:txBody>
            </p:sp>
            <p:cxnSp>
              <p:nvCxnSpPr>
                <p:cNvPr id="17" name="Straight Arrow Connector 43"/>
                <p:cNvCxnSpPr>
                  <a:cxnSpLocks noChangeShapeType="1"/>
                </p:cNvCxnSpPr>
                <p:nvPr/>
              </p:nvCxnSpPr>
              <p:spPr bwMode="auto">
                <a:xfrm flipV="1">
                  <a:off x="4338180" y="2807647"/>
                  <a:ext cx="1115515" cy="213512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arrow" w="med" len="med"/>
                </a:ln>
                <a:effectLst>
                  <a:outerShdw blurRad="40000" dist="20000" dir="5400000" rotWithShape="0">
                    <a:srgbClr val="808080">
                      <a:alpha val="37999"/>
                    </a:srgb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  <p:sp>
              <p:nvSpPr>
                <p:cNvPr id="58401" name="TextBox 47"/>
                <p:cNvSpPr txBox="1">
                  <a:spLocks noChangeArrowheads="1"/>
                </p:cNvSpPr>
                <p:nvPr/>
              </p:nvSpPr>
              <p:spPr bwMode="auto">
                <a:xfrm>
                  <a:off x="5539677" y="2488437"/>
                  <a:ext cx="2312413" cy="53797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r>
                    <a:rPr lang="en-US" altLang="pt-BR" sz="1600" b="1">
                      <a:cs typeface="Arial" panose="020B0604020202020204" pitchFamily="34" charset="0"/>
                    </a:rPr>
                    <a:t>CAULIM</a:t>
                  </a:r>
                  <a:r>
                    <a:rPr lang="en-US" altLang="pt-BR" sz="1200">
                      <a:cs typeface="Arial" panose="020B0604020202020204" pitchFamily="34" charset="0"/>
                    </a:rPr>
                    <a:t>   </a:t>
                  </a:r>
                </a:p>
                <a:p>
                  <a:r>
                    <a:rPr lang="en-US" altLang="pt-BR" sz="1200" b="1">
                      <a:cs typeface="Arial" panose="020B0604020202020204" pitchFamily="34" charset="0"/>
                      <a:sym typeface="Arial" panose="020B0604020202020204" pitchFamily="34" charset="0"/>
                    </a:rPr>
                    <a:t>2ª Maior reserva do BR (9 %) </a:t>
                  </a:r>
                </a:p>
                <a:p>
                  <a:r>
                    <a:rPr lang="en-US" altLang="pt-BR" sz="1200" b="1">
                      <a:cs typeface="Arial" panose="020B0604020202020204" pitchFamily="34" charset="0"/>
                      <a:sym typeface="Arial" panose="020B0604020202020204" pitchFamily="34" charset="0"/>
                    </a:rPr>
                    <a:t>1ª Produtor do BR (69%)</a:t>
                  </a:r>
                </a:p>
              </p:txBody>
            </p:sp>
            <p:cxnSp>
              <p:nvCxnSpPr>
                <p:cNvPr id="19" name="Straight Arrow Connector 39"/>
                <p:cNvCxnSpPr>
                  <a:cxnSpLocks noChangeShapeType="1"/>
                </p:cNvCxnSpPr>
                <p:nvPr/>
              </p:nvCxnSpPr>
              <p:spPr bwMode="auto">
                <a:xfrm flipV="1">
                  <a:off x="4177558" y="2105590"/>
                  <a:ext cx="1367501" cy="702057"/>
                </a:xfrm>
                <a:prstGeom prst="straightConnector1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 type="arrow" w="med" len="med"/>
                </a:ln>
                <a:effectLst>
                  <a:outerShdw blurRad="40000" dist="20000" dir="5400000" rotWithShape="0">
                    <a:srgbClr val="808080">
                      <a:alpha val="37999"/>
                    </a:srgb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pic>
            <p:nvPicPr>
              <p:cNvPr id="58380" name="Imagem 19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65510" y="3839006"/>
                <a:ext cx="1049544" cy="1086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8381" name="Imagem 20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03912" y="3056155"/>
                <a:ext cx="550057" cy="5304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Elipse 21"/>
              <p:cNvSpPr/>
              <p:nvPr/>
            </p:nvSpPr>
            <p:spPr>
              <a:xfrm>
                <a:off x="1764467" y="3986386"/>
                <a:ext cx="514461" cy="513455"/>
              </a:xfrm>
              <a:prstGeom prst="ellipse">
                <a:avLst/>
              </a:prstGeom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/>
              </a:p>
            </p:txBody>
          </p:sp>
          <p:pic>
            <p:nvPicPr>
              <p:cNvPr id="57359" name="Picture 2"/>
              <p:cNvPicPr>
                <a:picLocks noChangeAspect="1" noChangeArrowheads="1"/>
              </p:cNvPicPr>
              <p:nvPr/>
            </p:nvPicPr>
            <p:blipFill>
              <a:blip r:embed="rId6"/>
              <a:srcRect/>
              <a:stretch>
                <a:fillRect/>
              </a:stretch>
            </p:blipFill>
            <p:spPr bwMode="auto">
              <a:xfrm>
                <a:off x="6212538" y="2941958"/>
                <a:ext cx="230765" cy="23179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pic>
          <p:pic>
            <p:nvPicPr>
              <p:cNvPr id="57360" name="Picture 3"/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3818074" y="3255960"/>
                <a:ext cx="230767" cy="23044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pic>
          <p:pic>
            <p:nvPicPr>
              <p:cNvPr id="57361" name="Picture 3"/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1512531" y="4947259"/>
                <a:ext cx="230765" cy="2304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58372" name="TextBox 42"/>
            <p:cNvSpPr txBox="1">
              <a:spLocks noChangeArrowheads="1"/>
            </p:cNvSpPr>
            <p:nvPr/>
          </p:nvSpPr>
          <p:spPr bwMode="auto">
            <a:xfrm>
              <a:off x="5867400" y="847725"/>
              <a:ext cx="1920875" cy="52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en-US" altLang="pt-BR" sz="1600" b="1" dirty="0">
                  <a:cs typeface="Arial" panose="020B0604020202020204" pitchFamily="34" charset="0"/>
                </a:rPr>
                <a:t>OURO </a:t>
              </a:r>
            </a:p>
            <a:p>
              <a:r>
                <a:rPr lang="en-US" altLang="pt-BR" sz="1200" b="1" dirty="0" err="1">
                  <a:cs typeface="Arial" panose="020B0604020202020204" pitchFamily="34" charset="0"/>
                  <a:sym typeface="Arial" panose="020B0604020202020204" pitchFamily="34" charset="0"/>
                </a:rPr>
                <a:t>Produção</a:t>
              </a:r>
              <a:r>
                <a:rPr lang="en-US" altLang="pt-BR" sz="1200" b="1" dirty="0">
                  <a:cs typeface="Arial" panose="020B0604020202020204" pitchFamily="34" charset="0"/>
                  <a:sym typeface="Arial" panose="020B0604020202020204" pitchFamily="34" charset="0"/>
                </a:rPr>
                <a:t> de 6 TT(2012)</a:t>
              </a:r>
            </a:p>
          </p:txBody>
        </p:sp>
        <p:cxnSp>
          <p:nvCxnSpPr>
            <p:cNvPr id="40" name="Conector de seta reta 39"/>
            <p:cNvCxnSpPr>
              <a:stCxn id="57359" idx="3"/>
              <a:endCxn id="58372" idx="1"/>
            </p:cNvCxnSpPr>
            <p:nvPr/>
          </p:nvCxnSpPr>
          <p:spPr>
            <a:xfrm flipV="1">
              <a:off x="4829175" y="1109663"/>
              <a:ext cx="1038225" cy="1774825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ector de seta reta 42"/>
            <p:cNvCxnSpPr>
              <a:stCxn id="57360" idx="0"/>
              <a:endCxn id="57360" idx="0"/>
            </p:cNvCxnSpPr>
            <p:nvPr/>
          </p:nvCxnSpPr>
          <p:spPr>
            <a:xfrm>
              <a:off x="2947988" y="3117850"/>
              <a:ext cx="0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de seta reta 44"/>
            <p:cNvCxnSpPr>
              <a:endCxn id="58372" idx="1"/>
            </p:cNvCxnSpPr>
            <p:nvPr/>
          </p:nvCxnSpPr>
          <p:spPr>
            <a:xfrm flipV="1">
              <a:off x="2947988" y="1109663"/>
              <a:ext cx="2919412" cy="2144712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de seta reta 47"/>
            <p:cNvCxnSpPr>
              <a:endCxn id="58372" idx="1"/>
            </p:cNvCxnSpPr>
            <p:nvPr/>
          </p:nvCxnSpPr>
          <p:spPr>
            <a:xfrm flipV="1">
              <a:off x="1628775" y="1109663"/>
              <a:ext cx="4238625" cy="2941637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ector de seta reta 49"/>
            <p:cNvCxnSpPr>
              <a:endCxn id="58372" idx="1"/>
            </p:cNvCxnSpPr>
            <p:nvPr/>
          </p:nvCxnSpPr>
          <p:spPr>
            <a:xfrm flipV="1">
              <a:off x="1304925" y="1109663"/>
              <a:ext cx="4562475" cy="4183062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Y6asudcE2kO..0DHK1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ah4zCveUy4gOe1tNAy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Pg._yPokiHEyDPsU9R.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WpH1sxYUGwIdNxxKHQ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Ry9PwY5kGmrOOYmLOH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ckFmS4KE6PEW3B3wpY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Pg._yPokiHEyDPsU9R.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WpH1sxYUGwIdNxxKHQ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H0lDWrPkWXW3Lr5khg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g8KsAwgUW3d.7ezhmc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AhFoykvUyxl1dmAzjy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wiQDVSyEygZKaKBf_n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nPbjOJikOFkFNQGNrO2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7d7rkMxEGNB5cqZLov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Pg._yPokiHEyDPsU9R.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WpH1sxYUGwIdNxxKHQ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mLWk0eT0q1rSdUzQcl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x_aVDMBkCfsZhFr5.fE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RZtQv.306FzOwMXYda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msqHI9z0yR7cp7JcqZ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xV39FBHEqQVkOwa7Qm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Unocp56UWVI7oKMV2x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TCtOlGF0.ymUr8uPcu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oiES0Rc0WeRZgQOoR_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19tkZlJ0qETfIFvbPM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YoMIHhtUa_jTO5Yx6L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JI.hoE.E2D8ivhsqLF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4n.A9mR0ufyWe3QHoi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8Eq1zsBUqYVyAQZ86U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xuIF1hbEK00Cu4QojC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FOoCVUrk2szZRQVIK_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Npysro30uo7SxcadbJ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RUg9qaOkGMWrNYem3h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DQvpcbUkiBfyKuGINh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8A0nNb.06dZLeg.JdR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pC571XN0app6VJE.3bq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f1Rw6FLUiUDnhd8UWC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Pg._yPokiHEyDPsU9R.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WpH1sxYUGwIdNxxKHQ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aEOW07ESQek8paoyo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fjy.LjHkq_CAJ6L6jq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lEbVvWEkiNalBrcP8dd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Pg._yPokiHEyDPsU9R.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WpH1sxYUGwIdNxxKHQ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.fTRVxRUuor0MCrCLMs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bFge865UWU7BVHaWq97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Pg._yPokiHEyDPsU9R.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WpH1sxYUGwIdNxxKHQ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n8jOWTFUad34iPeSYVh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KbYvRavkO_yTm0_H0y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Pg._yPokiHEyDPsU9R.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WpH1sxYUGwIdNxxKHQO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VkUjWN.kaq_R0Ryi9hkA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17</TotalTime>
  <Words>1354</Words>
  <Application>Microsoft Office PowerPoint</Application>
  <PresentationFormat>Apresentação na tela (4:3)</PresentationFormat>
  <Paragraphs>334</Paragraphs>
  <Slides>25</Slides>
  <Notes>12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3</vt:i4>
      </vt:variant>
      <vt:variant>
        <vt:lpstr>Títulos de slides</vt:lpstr>
      </vt:variant>
      <vt:variant>
        <vt:i4>25</vt:i4>
      </vt:variant>
    </vt:vector>
  </HeadingPairs>
  <TitlesOfParts>
    <vt:vector size="40" baseType="lpstr">
      <vt:lpstr>ＭＳ Ｐゴシック</vt:lpstr>
      <vt:lpstr>ＭＳ Ｐゴシック</vt:lpstr>
      <vt:lpstr>Arial</vt:lpstr>
      <vt:lpstr>Arial Unicode MS</vt:lpstr>
      <vt:lpstr>Calibri</vt:lpstr>
      <vt:lpstr>Calibri Light</vt:lpstr>
      <vt:lpstr>Helvetica</vt:lpstr>
      <vt:lpstr>Tahoma</vt:lpstr>
      <vt:lpstr>Times New Roman</vt:lpstr>
      <vt:lpstr>Verdana</vt:lpstr>
      <vt:lpstr>Wingdings</vt:lpstr>
      <vt:lpstr>Tema do Office</vt:lpstr>
      <vt:lpstr>PHOTO-PAINT</vt:lpstr>
      <vt:lpstr>think-cell Slide</vt:lpstr>
      <vt:lpstr>Gráfic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UMA ECONOMIA DINÂMIC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Usuario_01</dc:creator>
  <cp:lastModifiedBy>Rogerio</cp:lastModifiedBy>
  <cp:revision>747</cp:revision>
  <cp:lastPrinted>2016-08-26T11:21:46Z</cp:lastPrinted>
  <dcterms:created xsi:type="dcterms:W3CDTF">2011-11-07T14:59:39Z</dcterms:created>
  <dcterms:modified xsi:type="dcterms:W3CDTF">2016-09-08T12:25:14Z</dcterms:modified>
</cp:coreProperties>
</file>